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  <p:sldMasterId id="2147483694" r:id="rId5"/>
  </p:sldMasterIdLst>
  <p:notesMasterIdLst>
    <p:notesMasterId r:id="rId15"/>
  </p:notesMasterIdLst>
  <p:handoutMasterIdLst>
    <p:handoutMasterId r:id="rId16"/>
  </p:handoutMasterIdLst>
  <p:sldIdLst>
    <p:sldId id="456" r:id="rId6"/>
    <p:sldId id="458" r:id="rId7"/>
    <p:sldId id="459" r:id="rId8"/>
    <p:sldId id="460" r:id="rId9"/>
    <p:sldId id="462" r:id="rId10"/>
    <p:sldId id="464" r:id="rId11"/>
    <p:sldId id="463" r:id="rId12"/>
    <p:sldId id="461" r:id="rId13"/>
    <p:sldId id="339" r:id="rId14"/>
  </p:sldIdLst>
  <p:sldSz cx="9906000" cy="6858000" type="A4"/>
  <p:notesSz cx="6797675" cy="99266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631">
          <p15:clr>
            <a:srgbClr val="A4A3A4"/>
          </p15:clr>
        </p15:guide>
        <p15:guide id="2" orient="horz" pos="935">
          <p15:clr>
            <a:srgbClr val="A4A3A4"/>
          </p15:clr>
        </p15:guide>
        <p15:guide id="3" pos="3120">
          <p15:clr>
            <a:srgbClr val="A4A3A4"/>
          </p15:clr>
        </p15:guide>
        <p15:guide id="4" pos="217">
          <p15:clr>
            <a:srgbClr val="A4A3A4"/>
          </p15:clr>
        </p15:guide>
        <p15:guide id="5" pos="6023">
          <p15:clr>
            <a:srgbClr val="A4A3A4"/>
          </p15:clr>
        </p15:guide>
        <p15:guide id="6" pos="3052">
          <p15:clr>
            <a:srgbClr val="A4A3A4"/>
          </p15:clr>
        </p15:guide>
        <p15:guide id="7" pos="3188">
          <p15:clr>
            <a:srgbClr val="A4A3A4"/>
          </p15:clr>
        </p15:guide>
        <p15:guide id="8" pos="449">
          <p15:clr>
            <a:srgbClr val="A4A3A4"/>
          </p15:clr>
        </p15:guide>
        <p15:guide id="9" pos="579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ONGAI" initials="R" lastIdx="16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69696"/>
    <a:srgbClr val="D1D3B1"/>
    <a:srgbClr val="E8E9D8"/>
    <a:srgbClr val="C9E9E8"/>
    <a:srgbClr val="B7DDD4"/>
    <a:srgbClr val="A91F5B"/>
    <a:srgbClr val="15645F"/>
    <a:srgbClr val="F1F8F6"/>
    <a:srgbClr val="71205F"/>
    <a:srgbClr val="71203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129" autoAdjust="0"/>
    <p:restoredTop sz="66667" autoAdjust="0"/>
  </p:normalViewPr>
  <p:slideViewPr>
    <p:cSldViewPr>
      <p:cViewPr varScale="1">
        <p:scale>
          <a:sx n="90" d="100"/>
          <a:sy n="90" d="100"/>
        </p:scale>
        <p:origin x="1260" y="90"/>
      </p:cViewPr>
      <p:guideLst>
        <p:guide orient="horz" pos="2631"/>
        <p:guide orient="horz" pos="935"/>
        <p:guide pos="3120"/>
        <p:guide pos="217"/>
        <p:guide pos="6023"/>
        <p:guide pos="3052"/>
        <p:guide pos="3188"/>
        <p:guide pos="449"/>
        <p:guide pos="5793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78" d="100"/>
          <a:sy n="78" d="100"/>
        </p:scale>
        <p:origin x="-3942" y="-102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6797675" cy="496332"/>
          </a:xfrm>
          <a:prstGeom prst="rect">
            <a:avLst/>
          </a:prstGeom>
        </p:spPr>
        <p:txBody>
          <a:bodyPr vert="horz" lIns="72000" tIns="180000" rIns="288000" bIns="36000" rtlCol="0"/>
          <a:lstStyle>
            <a:lvl1pPr algn="l">
              <a:defRPr sz="1200"/>
            </a:lvl1pPr>
          </a:lstStyle>
          <a:p>
            <a:pPr algn="r"/>
            <a:endParaRPr lang="en-US" sz="1400" b="1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180000" tIns="36000" rIns="72000" bIns="180000" rtlCol="0" anchor="b"/>
          <a:lstStyle>
            <a:lvl1pPr algn="l">
              <a:defRPr sz="1200"/>
            </a:lvl1pPr>
          </a:lstStyle>
          <a:p>
            <a:r>
              <a:rPr lang="en-US" sz="800" dirty="0"/>
              <a:t>© 2012 Capgemini. All rights reserved.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72000" tIns="36000" rIns="180000" bIns="180000" rtlCol="0" anchor="b"/>
          <a:lstStyle>
            <a:lvl1pPr algn="r">
              <a:defRPr sz="1200"/>
            </a:lvl1pPr>
          </a:lstStyle>
          <a:p>
            <a:fld id="{31BBAEFF-FCA4-4EA1-946D-1EE330CB54A8}" type="slidenum">
              <a:rPr lang="en-US" sz="800" b="1" smtClean="0"/>
              <a:pPr/>
              <a:t>‹#›</a:t>
            </a:fld>
            <a:endParaRPr lang="en-US" sz="800" b="1" dirty="0"/>
          </a:p>
        </p:txBody>
      </p:sp>
    </p:spTree>
    <p:extLst>
      <p:ext uri="{BB962C8B-B14F-4D97-AF65-F5344CB8AC3E}">
        <p14:creationId xmlns:p14="http://schemas.microsoft.com/office/powerpoint/2010/main" val="2677736319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6797675" cy="496332"/>
          </a:xfrm>
          <a:prstGeom prst="rect">
            <a:avLst/>
          </a:prstGeom>
        </p:spPr>
        <p:txBody>
          <a:bodyPr vert="horz" lIns="72000" tIns="180000" rIns="288000" bIns="36000" rtlCol="0"/>
          <a:lstStyle>
            <a:lvl1pPr algn="r">
              <a:defRPr sz="1400" b="1"/>
            </a:lvl1pPr>
          </a:lstStyle>
          <a:p>
            <a:endParaRPr lang="en-US" dirty="0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531813" y="620713"/>
            <a:ext cx="5734050" cy="39703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212405" y="4715153"/>
            <a:ext cx="6372865" cy="45911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180000" tIns="36000" rIns="72000" bIns="180000" rtlCol="0" anchor="b"/>
          <a:lstStyle>
            <a:lvl1pPr algn="l">
              <a:defRPr sz="800"/>
            </a:lvl1pPr>
          </a:lstStyle>
          <a:p>
            <a:r>
              <a:rPr lang="en-US" dirty="0"/>
              <a:t>© 2012 Capgemini. All rights reserved.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72000" tIns="36000" rIns="180000" bIns="180000" rtlCol="0" anchor="b"/>
          <a:lstStyle>
            <a:lvl1pPr algn="r">
              <a:defRPr sz="800" b="1"/>
            </a:lvl1pPr>
          </a:lstStyle>
          <a:p>
            <a:fld id="{CBC04D6F-FB7D-4867-9F14-E5091822240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3859762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80975" indent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363" indent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1338" indent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2313" indent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31813" y="620713"/>
            <a:ext cx="5734050" cy="39703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2012 Capgemini. All rights reserved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BC04D6F-FB7D-4867-9F14-E50918222406}" type="slidenum">
              <a:rPr lang="en-US" smtClean="0"/>
              <a:pPr/>
              <a:t>9</a:t>
            </a:fld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1">
    <p:bg bwMode="invGray">
      <p:bgPr>
        <a:gradFill rotWithShape="1">
          <a:gsLst>
            <a:gs pos="0">
              <a:schemeClr val="bg1">
                <a:tint val="80000"/>
                <a:satMod val="300000"/>
              </a:schemeClr>
            </a:gs>
            <a:gs pos="100000">
              <a:schemeClr val="tx1"/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1" name="Rectangle 7"/>
          <p:cNvSpPr/>
          <p:nvPr userDrawn="1">
            <p:custDataLst>
              <p:tags r:id="rId1"/>
            </p:custDataLst>
          </p:nvPr>
        </p:nvSpPr>
        <p:spPr bwMode="auto">
          <a:xfrm>
            <a:off x="527" y="-1308343"/>
            <a:ext cx="9906317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331 w 10562411"/>
              <a:gd name="connsiteY7" fmla="*/ 2791 h 2958168"/>
              <a:gd name="connsiteX0" fmla="*/ 369416 w 10562411"/>
              <a:gd name="connsiteY0" fmla="*/ 207984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369416 w 10562411"/>
              <a:gd name="connsiteY7" fmla="*/ 207984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463916 w 10562411"/>
              <a:gd name="connsiteY0" fmla="*/ 34490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463916 w 10562411"/>
              <a:gd name="connsiteY7" fmla="*/ 344900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463916 w 10562411"/>
              <a:gd name="connsiteY0" fmla="*/ 442179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463916 w 10562411"/>
              <a:gd name="connsiteY7" fmla="*/ 442179 h 2958168"/>
              <a:gd name="connsiteX0" fmla="*/ 463916 w 10562411"/>
              <a:gd name="connsiteY0" fmla="*/ 442179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463916 w 10562411"/>
              <a:gd name="connsiteY7" fmla="*/ 442179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730 w 10560952"/>
              <a:gd name="connsiteY0" fmla="*/ 0 h 2958168"/>
              <a:gd name="connsiteX1" fmla="*/ 10560196 w 10560952"/>
              <a:gd name="connsiteY1" fmla="*/ 0 h 2958168"/>
              <a:gd name="connsiteX2" fmla="*/ 10559698 w 10560952"/>
              <a:gd name="connsiteY2" fmla="*/ 1476338 h 2958168"/>
              <a:gd name="connsiteX3" fmla="*/ 9287135 w 10560952"/>
              <a:gd name="connsiteY3" fmla="*/ 2153103 h 2958168"/>
              <a:gd name="connsiteX4" fmla="*/ 2316099 w 10560952"/>
              <a:gd name="connsiteY4" fmla="*/ 2159512 h 2958168"/>
              <a:gd name="connsiteX5" fmla="*/ 1179430 w 10560952"/>
              <a:gd name="connsiteY5" fmla="*/ 2958168 h 2958168"/>
              <a:gd name="connsiteX6" fmla="*/ 730 w 10560952"/>
              <a:gd name="connsiteY6" fmla="*/ 2174065 h 2958168"/>
              <a:gd name="connsiteX7" fmla="*/ 730 w 10560952"/>
              <a:gd name="connsiteY7" fmla="*/ 0 h 2958168"/>
              <a:gd name="connsiteX0" fmla="*/ 0 w 10560222"/>
              <a:gd name="connsiteY0" fmla="*/ 0 h 2958168"/>
              <a:gd name="connsiteX1" fmla="*/ 10559466 w 10560222"/>
              <a:gd name="connsiteY1" fmla="*/ 0 h 2958168"/>
              <a:gd name="connsiteX2" fmla="*/ 10558968 w 10560222"/>
              <a:gd name="connsiteY2" fmla="*/ 1476338 h 2958168"/>
              <a:gd name="connsiteX3" fmla="*/ 9286405 w 10560222"/>
              <a:gd name="connsiteY3" fmla="*/ 2153103 h 2958168"/>
              <a:gd name="connsiteX4" fmla="*/ 2315369 w 10560222"/>
              <a:gd name="connsiteY4" fmla="*/ 2159512 h 2958168"/>
              <a:gd name="connsiteX5" fmla="*/ 1178700 w 10560222"/>
              <a:gd name="connsiteY5" fmla="*/ 2958168 h 2958168"/>
              <a:gd name="connsiteX6" fmla="*/ 0 w 10560222"/>
              <a:gd name="connsiteY6" fmla="*/ 2174065 h 2958168"/>
              <a:gd name="connsiteX7" fmla="*/ 0 w 10560222"/>
              <a:gd name="connsiteY7" fmla="*/ 0 h 2958168"/>
              <a:gd name="connsiteX0" fmla="*/ 2 w 10560224"/>
              <a:gd name="connsiteY0" fmla="*/ 0 h 2958168"/>
              <a:gd name="connsiteX1" fmla="*/ 10559468 w 10560224"/>
              <a:gd name="connsiteY1" fmla="*/ 0 h 2958168"/>
              <a:gd name="connsiteX2" fmla="*/ 10558970 w 10560224"/>
              <a:gd name="connsiteY2" fmla="*/ 1476338 h 2958168"/>
              <a:gd name="connsiteX3" fmla="*/ 9286407 w 10560224"/>
              <a:gd name="connsiteY3" fmla="*/ 2153103 h 2958168"/>
              <a:gd name="connsiteX4" fmla="*/ 2315371 w 10560224"/>
              <a:gd name="connsiteY4" fmla="*/ 2159512 h 2958168"/>
              <a:gd name="connsiteX5" fmla="*/ 1178702 w 10560224"/>
              <a:gd name="connsiteY5" fmla="*/ 2958168 h 2958168"/>
              <a:gd name="connsiteX6" fmla="*/ 2 w 10560224"/>
              <a:gd name="connsiteY6" fmla="*/ 2174065 h 2958168"/>
              <a:gd name="connsiteX7" fmla="*/ 0 w 10560224"/>
              <a:gd name="connsiteY7" fmla="*/ 203402 h 2958168"/>
              <a:gd name="connsiteX8" fmla="*/ 2 w 10560224"/>
              <a:gd name="connsiteY8" fmla="*/ 0 h 2958168"/>
              <a:gd name="connsiteX0" fmla="*/ 1759911 w 12320133"/>
              <a:gd name="connsiteY0" fmla="*/ 0 h 2958168"/>
              <a:gd name="connsiteX1" fmla="*/ 12319377 w 12320133"/>
              <a:gd name="connsiteY1" fmla="*/ 0 h 2958168"/>
              <a:gd name="connsiteX2" fmla="*/ 12318879 w 12320133"/>
              <a:gd name="connsiteY2" fmla="*/ 1476338 h 2958168"/>
              <a:gd name="connsiteX3" fmla="*/ 11046316 w 12320133"/>
              <a:gd name="connsiteY3" fmla="*/ 2153103 h 2958168"/>
              <a:gd name="connsiteX4" fmla="*/ 4075280 w 12320133"/>
              <a:gd name="connsiteY4" fmla="*/ 2159512 h 2958168"/>
              <a:gd name="connsiteX5" fmla="*/ 2938611 w 12320133"/>
              <a:gd name="connsiteY5" fmla="*/ 2958168 h 2958168"/>
              <a:gd name="connsiteX6" fmla="*/ 1759911 w 12320133"/>
              <a:gd name="connsiteY6" fmla="*/ 2174065 h 2958168"/>
              <a:gd name="connsiteX7" fmla="*/ 1759911 w 12320133"/>
              <a:gd name="connsiteY7" fmla="*/ 0 h 2958168"/>
              <a:gd name="connsiteX0" fmla="*/ 0 w 10560222"/>
              <a:gd name="connsiteY0" fmla="*/ 0 h 2958168"/>
              <a:gd name="connsiteX1" fmla="*/ 10559466 w 10560222"/>
              <a:gd name="connsiteY1" fmla="*/ 0 h 2958168"/>
              <a:gd name="connsiteX2" fmla="*/ 10558968 w 10560222"/>
              <a:gd name="connsiteY2" fmla="*/ 1476338 h 2958168"/>
              <a:gd name="connsiteX3" fmla="*/ 9286405 w 10560222"/>
              <a:gd name="connsiteY3" fmla="*/ 2153103 h 2958168"/>
              <a:gd name="connsiteX4" fmla="*/ 2315369 w 10560222"/>
              <a:gd name="connsiteY4" fmla="*/ 2159512 h 2958168"/>
              <a:gd name="connsiteX5" fmla="*/ 1178700 w 10560222"/>
              <a:gd name="connsiteY5" fmla="*/ 2958168 h 2958168"/>
              <a:gd name="connsiteX6" fmla="*/ 0 w 10560222"/>
              <a:gd name="connsiteY6" fmla="*/ 2174065 h 2958168"/>
              <a:gd name="connsiteX7" fmla="*/ 0 w 10560222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0222" h="2958168">
                <a:moveTo>
                  <a:pt x="0" y="0"/>
                </a:moveTo>
                <a:lnTo>
                  <a:pt x="10559466" y="0"/>
                </a:lnTo>
                <a:cubicBezTo>
                  <a:pt x="10559979" y="67600"/>
                  <a:pt x="10560222" y="1432923"/>
                  <a:pt x="10558968" y="1476338"/>
                </a:cubicBezTo>
                <a:cubicBezTo>
                  <a:pt x="10081572" y="2148347"/>
                  <a:pt x="9702991" y="2158423"/>
                  <a:pt x="9286405" y="2153103"/>
                </a:cubicBezTo>
                <a:lnTo>
                  <a:pt x="2315369" y="2159512"/>
                </a:lnTo>
                <a:cubicBezTo>
                  <a:pt x="1738155" y="2192654"/>
                  <a:pt x="1370309" y="2495346"/>
                  <a:pt x="1178700" y="2958168"/>
                </a:cubicBezTo>
                <a:cubicBezTo>
                  <a:pt x="880346" y="2254391"/>
                  <a:pt x="278640" y="2173187"/>
                  <a:pt x="0" y="2174065"/>
                </a:cubicBez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lumMod val="85000"/>
                </a:schemeClr>
              </a:gs>
              <a:gs pos="93000">
                <a:schemeClr val="tx1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  <a:effectLst>
            <a:outerShdw blurRad="50800" dist="25400" dir="5400000" algn="t" rotWithShape="0">
              <a:schemeClr val="tx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800" kern="120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73" name="Rectangle 572"/>
          <p:cNvSpPr/>
          <p:nvPr userDrawn="1"/>
        </p:nvSpPr>
        <p:spPr>
          <a:xfrm>
            <a:off x="0" y="6400800"/>
            <a:ext cx="9906000" cy="457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098" name="Rectangle 2"/>
          <p:cNvSpPr>
            <a:spLocks noGrp="1" noChangeArrowheads="1"/>
          </p:cNvSpPr>
          <p:nvPr userDrawn="1">
            <p:ph type="ctrTitle" hasCustomPrompt="1"/>
          </p:nvPr>
        </p:nvSpPr>
        <p:spPr bwMode="auto">
          <a:xfrm>
            <a:off x="4592961" y="3810000"/>
            <a:ext cx="4968552" cy="1296144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396000" rIns="36000" bIns="36000" numCol="1" anchor="t" anchorCtr="0" compatLnSpc="1">
            <a:prstTxWarp prst="textNoShape">
              <a:avLst/>
            </a:prstTxWarp>
          </a:bodyPr>
          <a:lstStyle>
            <a:lvl1pPr marL="0" indent="0" algn="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tabLst/>
              <a:defRPr lang="en-US" sz="3300" b="0" kern="1200" noProof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+mj-ea"/>
                <a:cs typeface="+mj-cs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099" name="Rectangle 3"/>
          <p:cNvSpPr>
            <a:spLocks noGrp="1" noChangeArrowheads="1"/>
          </p:cNvSpPr>
          <p:nvPr userDrawn="1">
            <p:ph type="subTitle" idx="1" hasCustomPrompt="1"/>
          </p:nvPr>
        </p:nvSpPr>
        <p:spPr>
          <a:xfrm>
            <a:off x="4592962" y="5334000"/>
            <a:ext cx="4949031" cy="792162"/>
          </a:xfrm>
          <a:noFill/>
          <a:ln w="9525">
            <a:noFill/>
            <a:miter lim="800000"/>
            <a:headEnd/>
            <a:tailEnd/>
          </a:ln>
          <a:effectLst>
            <a:outerShdw blurRad="12700" dist="127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180000" rIns="0" bIns="0" numCol="1" anchor="t" anchorCtr="0" compatLnSpc="1">
            <a:prstTxWarp prst="textNoShape">
              <a:avLst/>
            </a:prstTxWarp>
          </a:bodyPr>
          <a:lstStyle>
            <a:lvl1pPr marL="3175" indent="0" algn="r" defTabSz="714375" rtl="0" eaLnBrk="1" fontAlgn="base" latinLnBrk="0" hangingPunct="1">
              <a:spcBef>
                <a:spcPts val="600"/>
              </a:spcBef>
              <a:spcAft>
                <a:spcPct val="0"/>
              </a:spcAft>
              <a:buClr>
                <a:schemeClr val="tx2">
                  <a:lumMod val="50000"/>
                </a:schemeClr>
              </a:buClr>
              <a:buFont typeface="Wingdings" pitchFamily="2" charset="2"/>
              <a:buNone/>
              <a:defRPr lang="en-US" sz="2200" kern="1200" baseline="0" noProof="0" dirty="0">
                <a:solidFill>
                  <a:schemeClr val="accent1">
                    <a:lumMod val="75000"/>
                  </a:schemeClr>
                </a:solidFill>
                <a:effectLst/>
                <a:latin typeface="Arial Narrow" pitchFamily="34" charset="0"/>
                <a:ea typeface="+mn-ea"/>
                <a:cs typeface="+mn-cs"/>
              </a:defRPr>
            </a:lvl1pPr>
          </a:lstStyle>
          <a:p>
            <a:r>
              <a:rPr lang="en-US" noProof="0" dirty="0"/>
              <a:t>Click to edit Master sub-title style</a:t>
            </a:r>
          </a:p>
        </p:txBody>
      </p:sp>
      <p:grpSp>
        <p:nvGrpSpPr>
          <p:cNvPr id="576" name="Group 569"/>
          <p:cNvGrpSpPr/>
          <p:nvPr userDrawn="1"/>
        </p:nvGrpSpPr>
        <p:grpSpPr>
          <a:xfrm rot="19517577">
            <a:off x="1590018" y="4387640"/>
            <a:ext cx="2013692" cy="1664126"/>
            <a:chOff x="3517901" y="3217863"/>
            <a:chExt cx="3895725" cy="3219450"/>
          </a:xfrm>
          <a:solidFill>
            <a:schemeClr val="bg2">
              <a:lumMod val="65000"/>
            </a:schemeClr>
          </a:solidFill>
        </p:grpSpPr>
        <p:grpSp>
          <p:nvGrpSpPr>
            <p:cNvPr id="578" name="Group 205"/>
            <p:cNvGrpSpPr>
              <a:grpSpLocks/>
            </p:cNvGrpSpPr>
            <p:nvPr userDrawn="1"/>
          </p:nvGrpSpPr>
          <p:grpSpPr bwMode="auto">
            <a:xfrm>
              <a:off x="3517901" y="3217863"/>
              <a:ext cx="3895725" cy="3219450"/>
              <a:chOff x="2216" y="2027"/>
              <a:chExt cx="2454" cy="2028"/>
            </a:xfrm>
            <a:grpFill/>
          </p:grpSpPr>
          <p:sp>
            <p:nvSpPr>
              <p:cNvPr id="1495" name="Freeform 5"/>
              <p:cNvSpPr>
                <a:spLocks/>
              </p:cNvSpPr>
              <p:nvPr userDrawn="1"/>
            </p:nvSpPr>
            <p:spPr bwMode="auto">
              <a:xfrm>
                <a:off x="4262" y="2477"/>
                <a:ext cx="126" cy="120"/>
              </a:xfrm>
              <a:custGeom>
                <a:avLst/>
                <a:gdLst/>
                <a:ahLst/>
                <a:cxnLst>
                  <a:cxn ang="0">
                    <a:pos x="64" y="0"/>
                  </a:cxn>
                  <a:cxn ang="0">
                    <a:pos x="64" y="0"/>
                  </a:cxn>
                  <a:cxn ang="0">
                    <a:pos x="52" y="0"/>
                  </a:cxn>
                  <a:cxn ang="0">
                    <a:pos x="39" y="4"/>
                  </a:cxn>
                  <a:cxn ang="0">
                    <a:pos x="29" y="10"/>
                  </a:cxn>
                  <a:cxn ang="0">
                    <a:pos x="19" y="18"/>
                  </a:cxn>
                  <a:cxn ang="0">
                    <a:pos x="19" y="18"/>
                  </a:cxn>
                  <a:cxn ang="0">
                    <a:pos x="11" y="28"/>
                  </a:cxn>
                  <a:cxn ang="0">
                    <a:pos x="6" y="38"/>
                  </a:cxn>
                  <a:cxn ang="0">
                    <a:pos x="2" y="47"/>
                  </a:cxn>
                  <a:cxn ang="0">
                    <a:pos x="0" y="59"/>
                  </a:cxn>
                  <a:cxn ang="0">
                    <a:pos x="2" y="71"/>
                  </a:cxn>
                  <a:cxn ang="0">
                    <a:pos x="6" y="83"/>
                  </a:cxn>
                  <a:cxn ang="0">
                    <a:pos x="11" y="93"/>
                  </a:cxn>
                  <a:cxn ang="0">
                    <a:pos x="19" y="102"/>
                  </a:cxn>
                  <a:cxn ang="0">
                    <a:pos x="19" y="102"/>
                  </a:cxn>
                  <a:cxn ang="0">
                    <a:pos x="29" y="110"/>
                  </a:cxn>
                  <a:cxn ang="0">
                    <a:pos x="39" y="114"/>
                  </a:cxn>
                  <a:cxn ang="0">
                    <a:pos x="52" y="118"/>
                  </a:cxn>
                  <a:cxn ang="0">
                    <a:pos x="64" y="120"/>
                  </a:cxn>
                  <a:cxn ang="0">
                    <a:pos x="64" y="120"/>
                  </a:cxn>
                  <a:cxn ang="0">
                    <a:pos x="77" y="118"/>
                  </a:cxn>
                  <a:cxn ang="0">
                    <a:pos x="87" y="114"/>
                  </a:cxn>
                  <a:cxn ang="0">
                    <a:pos x="97" y="110"/>
                  </a:cxn>
                  <a:cxn ang="0">
                    <a:pos x="108" y="102"/>
                  </a:cxn>
                  <a:cxn ang="0">
                    <a:pos x="108" y="102"/>
                  </a:cxn>
                  <a:cxn ang="0">
                    <a:pos x="116" y="93"/>
                  </a:cxn>
                  <a:cxn ang="0">
                    <a:pos x="122" y="83"/>
                  </a:cxn>
                  <a:cxn ang="0">
                    <a:pos x="126" y="71"/>
                  </a:cxn>
                  <a:cxn ang="0">
                    <a:pos x="126" y="59"/>
                  </a:cxn>
                  <a:cxn ang="0">
                    <a:pos x="126" y="47"/>
                  </a:cxn>
                  <a:cxn ang="0">
                    <a:pos x="122" y="38"/>
                  </a:cxn>
                  <a:cxn ang="0">
                    <a:pos x="116" y="28"/>
                  </a:cxn>
                  <a:cxn ang="0">
                    <a:pos x="108" y="18"/>
                  </a:cxn>
                  <a:cxn ang="0">
                    <a:pos x="108" y="18"/>
                  </a:cxn>
                  <a:cxn ang="0">
                    <a:pos x="97" y="10"/>
                  </a:cxn>
                  <a:cxn ang="0">
                    <a:pos x="87" y="4"/>
                  </a:cxn>
                  <a:cxn ang="0">
                    <a:pos x="77" y="0"/>
                  </a:cxn>
                  <a:cxn ang="0">
                    <a:pos x="64" y="0"/>
                  </a:cxn>
                </a:cxnLst>
                <a:rect l="0" t="0" r="r" b="b"/>
                <a:pathLst>
                  <a:path w="126" h="120">
                    <a:moveTo>
                      <a:pt x="64" y="0"/>
                    </a:moveTo>
                    <a:lnTo>
                      <a:pt x="64" y="0"/>
                    </a:lnTo>
                    <a:lnTo>
                      <a:pt x="52" y="0"/>
                    </a:lnTo>
                    <a:lnTo>
                      <a:pt x="39" y="4"/>
                    </a:lnTo>
                    <a:lnTo>
                      <a:pt x="29" y="10"/>
                    </a:lnTo>
                    <a:lnTo>
                      <a:pt x="19" y="18"/>
                    </a:lnTo>
                    <a:lnTo>
                      <a:pt x="19" y="18"/>
                    </a:lnTo>
                    <a:lnTo>
                      <a:pt x="11" y="28"/>
                    </a:lnTo>
                    <a:lnTo>
                      <a:pt x="6" y="38"/>
                    </a:lnTo>
                    <a:lnTo>
                      <a:pt x="2" y="47"/>
                    </a:lnTo>
                    <a:lnTo>
                      <a:pt x="0" y="59"/>
                    </a:lnTo>
                    <a:lnTo>
                      <a:pt x="2" y="71"/>
                    </a:lnTo>
                    <a:lnTo>
                      <a:pt x="6" y="83"/>
                    </a:lnTo>
                    <a:lnTo>
                      <a:pt x="11" y="93"/>
                    </a:lnTo>
                    <a:lnTo>
                      <a:pt x="19" y="102"/>
                    </a:lnTo>
                    <a:lnTo>
                      <a:pt x="19" y="102"/>
                    </a:lnTo>
                    <a:lnTo>
                      <a:pt x="29" y="110"/>
                    </a:lnTo>
                    <a:lnTo>
                      <a:pt x="39" y="114"/>
                    </a:lnTo>
                    <a:lnTo>
                      <a:pt x="52" y="118"/>
                    </a:lnTo>
                    <a:lnTo>
                      <a:pt x="64" y="120"/>
                    </a:lnTo>
                    <a:lnTo>
                      <a:pt x="64" y="120"/>
                    </a:lnTo>
                    <a:lnTo>
                      <a:pt x="77" y="118"/>
                    </a:lnTo>
                    <a:lnTo>
                      <a:pt x="87" y="114"/>
                    </a:lnTo>
                    <a:lnTo>
                      <a:pt x="97" y="110"/>
                    </a:lnTo>
                    <a:lnTo>
                      <a:pt x="108" y="102"/>
                    </a:lnTo>
                    <a:lnTo>
                      <a:pt x="108" y="102"/>
                    </a:lnTo>
                    <a:lnTo>
                      <a:pt x="116" y="93"/>
                    </a:lnTo>
                    <a:lnTo>
                      <a:pt x="122" y="83"/>
                    </a:lnTo>
                    <a:lnTo>
                      <a:pt x="126" y="71"/>
                    </a:lnTo>
                    <a:lnTo>
                      <a:pt x="126" y="59"/>
                    </a:lnTo>
                    <a:lnTo>
                      <a:pt x="126" y="47"/>
                    </a:lnTo>
                    <a:lnTo>
                      <a:pt x="122" y="38"/>
                    </a:lnTo>
                    <a:lnTo>
                      <a:pt x="116" y="28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97" y="10"/>
                    </a:lnTo>
                    <a:lnTo>
                      <a:pt x="87" y="4"/>
                    </a:lnTo>
                    <a:lnTo>
                      <a:pt x="77" y="0"/>
                    </a:lnTo>
                    <a:lnTo>
                      <a:pt x="6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96" name="Freeform 6"/>
              <p:cNvSpPr>
                <a:spLocks/>
              </p:cNvSpPr>
              <p:nvPr userDrawn="1"/>
            </p:nvSpPr>
            <p:spPr bwMode="auto">
              <a:xfrm>
                <a:off x="4262" y="2477"/>
                <a:ext cx="126" cy="120"/>
              </a:xfrm>
              <a:custGeom>
                <a:avLst/>
                <a:gdLst/>
                <a:ahLst/>
                <a:cxnLst>
                  <a:cxn ang="0">
                    <a:pos x="64" y="0"/>
                  </a:cxn>
                  <a:cxn ang="0">
                    <a:pos x="64" y="0"/>
                  </a:cxn>
                  <a:cxn ang="0">
                    <a:pos x="52" y="0"/>
                  </a:cxn>
                  <a:cxn ang="0">
                    <a:pos x="39" y="4"/>
                  </a:cxn>
                  <a:cxn ang="0">
                    <a:pos x="29" y="10"/>
                  </a:cxn>
                  <a:cxn ang="0">
                    <a:pos x="19" y="18"/>
                  </a:cxn>
                  <a:cxn ang="0">
                    <a:pos x="19" y="18"/>
                  </a:cxn>
                  <a:cxn ang="0">
                    <a:pos x="11" y="28"/>
                  </a:cxn>
                  <a:cxn ang="0">
                    <a:pos x="6" y="38"/>
                  </a:cxn>
                  <a:cxn ang="0">
                    <a:pos x="2" y="47"/>
                  </a:cxn>
                  <a:cxn ang="0">
                    <a:pos x="0" y="59"/>
                  </a:cxn>
                  <a:cxn ang="0">
                    <a:pos x="2" y="71"/>
                  </a:cxn>
                  <a:cxn ang="0">
                    <a:pos x="6" y="83"/>
                  </a:cxn>
                  <a:cxn ang="0">
                    <a:pos x="11" y="93"/>
                  </a:cxn>
                  <a:cxn ang="0">
                    <a:pos x="19" y="102"/>
                  </a:cxn>
                  <a:cxn ang="0">
                    <a:pos x="19" y="102"/>
                  </a:cxn>
                  <a:cxn ang="0">
                    <a:pos x="29" y="110"/>
                  </a:cxn>
                  <a:cxn ang="0">
                    <a:pos x="39" y="114"/>
                  </a:cxn>
                  <a:cxn ang="0">
                    <a:pos x="52" y="118"/>
                  </a:cxn>
                  <a:cxn ang="0">
                    <a:pos x="64" y="120"/>
                  </a:cxn>
                  <a:cxn ang="0">
                    <a:pos x="64" y="120"/>
                  </a:cxn>
                  <a:cxn ang="0">
                    <a:pos x="77" y="118"/>
                  </a:cxn>
                  <a:cxn ang="0">
                    <a:pos x="87" y="114"/>
                  </a:cxn>
                  <a:cxn ang="0">
                    <a:pos x="97" y="110"/>
                  </a:cxn>
                  <a:cxn ang="0">
                    <a:pos x="108" y="102"/>
                  </a:cxn>
                  <a:cxn ang="0">
                    <a:pos x="108" y="102"/>
                  </a:cxn>
                  <a:cxn ang="0">
                    <a:pos x="116" y="93"/>
                  </a:cxn>
                  <a:cxn ang="0">
                    <a:pos x="122" y="83"/>
                  </a:cxn>
                  <a:cxn ang="0">
                    <a:pos x="126" y="71"/>
                  </a:cxn>
                  <a:cxn ang="0">
                    <a:pos x="126" y="59"/>
                  </a:cxn>
                  <a:cxn ang="0">
                    <a:pos x="126" y="47"/>
                  </a:cxn>
                  <a:cxn ang="0">
                    <a:pos x="122" y="38"/>
                  </a:cxn>
                  <a:cxn ang="0">
                    <a:pos x="116" y="28"/>
                  </a:cxn>
                  <a:cxn ang="0">
                    <a:pos x="108" y="18"/>
                  </a:cxn>
                  <a:cxn ang="0">
                    <a:pos x="108" y="18"/>
                  </a:cxn>
                  <a:cxn ang="0">
                    <a:pos x="97" y="10"/>
                  </a:cxn>
                  <a:cxn ang="0">
                    <a:pos x="87" y="4"/>
                  </a:cxn>
                  <a:cxn ang="0">
                    <a:pos x="77" y="0"/>
                  </a:cxn>
                  <a:cxn ang="0">
                    <a:pos x="64" y="0"/>
                  </a:cxn>
                </a:cxnLst>
                <a:rect l="0" t="0" r="r" b="b"/>
                <a:pathLst>
                  <a:path w="126" h="120">
                    <a:moveTo>
                      <a:pt x="64" y="0"/>
                    </a:moveTo>
                    <a:lnTo>
                      <a:pt x="64" y="0"/>
                    </a:lnTo>
                    <a:lnTo>
                      <a:pt x="52" y="0"/>
                    </a:lnTo>
                    <a:lnTo>
                      <a:pt x="39" y="4"/>
                    </a:lnTo>
                    <a:lnTo>
                      <a:pt x="29" y="10"/>
                    </a:lnTo>
                    <a:lnTo>
                      <a:pt x="19" y="18"/>
                    </a:lnTo>
                    <a:lnTo>
                      <a:pt x="19" y="18"/>
                    </a:lnTo>
                    <a:lnTo>
                      <a:pt x="11" y="28"/>
                    </a:lnTo>
                    <a:lnTo>
                      <a:pt x="6" y="38"/>
                    </a:lnTo>
                    <a:lnTo>
                      <a:pt x="2" y="47"/>
                    </a:lnTo>
                    <a:lnTo>
                      <a:pt x="0" y="59"/>
                    </a:lnTo>
                    <a:lnTo>
                      <a:pt x="2" y="71"/>
                    </a:lnTo>
                    <a:lnTo>
                      <a:pt x="6" y="83"/>
                    </a:lnTo>
                    <a:lnTo>
                      <a:pt x="11" y="93"/>
                    </a:lnTo>
                    <a:lnTo>
                      <a:pt x="19" y="102"/>
                    </a:lnTo>
                    <a:lnTo>
                      <a:pt x="19" y="102"/>
                    </a:lnTo>
                    <a:lnTo>
                      <a:pt x="29" y="110"/>
                    </a:lnTo>
                    <a:lnTo>
                      <a:pt x="39" y="114"/>
                    </a:lnTo>
                    <a:lnTo>
                      <a:pt x="52" y="118"/>
                    </a:lnTo>
                    <a:lnTo>
                      <a:pt x="64" y="120"/>
                    </a:lnTo>
                    <a:lnTo>
                      <a:pt x="64" y="120"/>
                    </a:lnTo>
                    <a:lnTo>
                      <a:pt x="77" y="118"/>
                    </a:lnTo>
                    <a:lnTo>
                      <a:pt x="87" y="114"/>
                    </a:lnTo>
                    <a:lnTo>
                      <a:pt x="97" y="110"/>
                    </a:lnTo>
                    <a:lnTo>
                      <a:pt x="108" y="102"/>
                    </a:lnTo>
                    <a:lnTo>
                      <a:pt x="108" y="102"/>
                    </a:lnTo>
                    <a:lnTo>
                      <a:pt x="116" y="93"/>
                    </a:lnTo>
                    <a:lnTo>
                      <a:pt x="122" y="83"/>
                    </a:lnTo>
                    <a:lnTo>
                      <a:pt x="126" y="71"/>
                    </a:lnTo>
                    <a:lnTo>
                      <a:pt x="126" y="59"/>
                    </a:lnTo>
                    <a:lnTo>
                      <a:pt x="126" y="47"/>
                    </a:lnTo>
                    <a:lnTo>
                      <a:pt x="122" y="38"/>
                    </a:lnTo>
                    <a:lnTo>
                      <a:pt x="116" y="28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97" y="10"/>
                    </a:lnTo>
                    <a:lnTo>
                      <a:pt x="87" y="4"/>
                    </a:lnTo>
                    <a:lnTo>
                      <a:pt x="77" y="0"/>
                    </a:lnTo>
                    <a:lnTo>
                      <a:pt x="6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97" name="Freeform 7"/>
              <p:cNvSpPr>
                <a:spLocks/>
              </p:cNvSpPr>
              <p:nvPr userDrawn="1"/>
            </p:nvSpPr>
            <p:spPr bwMode="auto">
              <a:xfrm>
                <a:off x="4400" y="2669"/>
                <a:ext cx="108" cy="108"/>
              </a:xfrm>
              <a:custGeom>
                <a:avLst/>
                <a:gdLst/>
                <a:ahLst/>
                <a:cxnLst>
                  <a:cxn ang="0">
                    <a:pos x="54" y="0"/>
                  </a:cxn>
                  <a:cxn ang="0">
                    <a:pos x="54" y="0"/>
                  </a:cxn>
                  <a:cxn ang="0">
                    <a:pos x="44" y="2"/>
                  </a:cxn>
                  <a:cxn ang="0">
                    <a:pos x="34" y="4"/>
                  </a:cxn>
                  <a:cxn ang="0">
                    <a:pos x="24" y="10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8" y="24"/>
                  </a:cxn>
                  <a:cxn ang="0">
                    <a:pos x="4" y="33"/>
                  </a:cxn>
                  <a:cxn ang="0">
                    <a:pos x="0" y="44"/>
                  </a:cxn>
                  <a:cxn ang="0">
                    <a:pos x="0" y="53"/>
                  </a:cxn>
                  <a:cxn ang="0">
                    <a:pos x="0" y="65"/>
                  </a:cxn>
                  <a:cxn ang="0">
                    <a:pos x="4" y="75"/>
                  </a:cxn>
                  <a:cxn ang="0">
                    <a:pos x="8" y="83"/>
                  </a:cxn>
                  <a:cxn ang="0">
                    <a:pos x="16" y="93"/>
                  </a:cxn>
                  <a:cxn ang="0">
                    <a:pos x="16" y="93"/>
                  </a:cxn>
                  <a:cxn ang="0">
                    <a:pos x="24" y="98"/>
                  </a:cxn>
                  <a:cxn ang="0">
                    <a:pos x="34" y="104"/>
                  </a:cxn>
                  <a:cxn ang="0">
                    <a:pos x="44" y="106"/>
                  </a:cxn>
                  <a:cxn ang="0">
                    <a:pos x="54" y="108"/>
                  </a:cxn>
                  <a:cxn ang="0">
                    <a:pos x="54" y="108"/>
                  </a:cxn>
                  <a:cxn ang="0">
                    <a:pos x="64" y="106"/>
                  </a:cxn>
                  <a:cxn ang="0">
                    <a:pos x="74" y="104"/>
                  </a:cxn>
                  <a:cxn ang="0">
                    <a:pos x="84" y="98"/>
                  </a:cxn>
                  <a:cxn ang="0">
                    <a:pos x="92" y="93"/>
                  </a:cxn>
                  <a:cxn ang="0">
                    <a:pos x="92" y="93"/>
                  </a:cxn>
                  <a:cxn ang="0">
                    <a:pos x="100" y="83"/>
                  </a:cxn>
                  <a:cxn ang="0">
                    <a:pos x="104" y="75"/>
                  </a:cxn>
                  <a:cxn ang="0">
                    <a:pos x="108" y="65"/>
                  </a:cxn>
                  <a:cxn ang="0">
                    <a:pos x="108" y="53"/>
                  </a:cxn>
                  <a:cxn ang="0">
                    <a:pos x="108" y="44"/>
                  </a:cxn>
                  <a:cxn ang="0">
                    <a:pos x="104" y="33"/>
                  </a:cxn>
                  <a:cxn ang="0">
                    <a:pos x="100" y="24"/>
                  </a:cxn>
                  <a:cxn ang="0">
                    <a:pos x="92" y="16"/>
                  </a:cxn>
                  <a:cxn ang="0">
                    <a:pos x="92" y="16"/>
                  </a:cxn>
                  <a:cxn ang="0">
                    <a:pos x="84" y="10"/>
                  </a:cxn>
                  <a:cxn ang="0">
                    <a:pos x="74" y="4"/>
                  </a:cxn>
                  <a:cxn ang="0">
                    <a:pos x="64" y="2"/>
                  </a:cxn>
                  <a:cxn ang="0">
                    <a:pos x="54" y="0"/>
                  </a:cxn>
                </a:cxnLst>
                <a:rect l="0" t="0" r="r" b="b"/>
                <a:pathLst>
                  <a:path w="108" h="108">
                    <a:moveTo>
                      <a:pt x="54" y="0"/>
                    </a:moveTo>
                    <a:lnTo>
                      <a:pt x="54" y="0"/>
                    </a:lnTo>
                    <a:lnTo>
                      <a:pt x="44" y="2"/>
                    </a:lnTo>
                    <a:lnTo>
                      <a:pt x="34" y="4"/>
                    </a:lnTo>
                    <a:lnTo>
                      <a:pt x="24" y="10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8" y="24"/>
                    </a:lnTo>
                    <a:lnTo>
                      <a:pt x="4" y="33"/>
                    </a:lnTo>
                    <a:lnTo>
                      <a:pt x="0" y="44"/>
                    </a:lnTo>
                    <a:lnTo>
                      <a:pt x="0" y="53"/>
                    </a:lnTo>
                    <a:lnTo>
                      <a:pt x="0" y="65"/>
                    </a:lnTo>
                    <a:lnTo>
                      <a:pt x="4" y="75"/>
                    </a:lnTo>
                    <a:lnTo>
                      <a:pt x="8" y="83"/>
                    </a:lnTo>
                    <a:lnTo>
                      <a:pt x="16" y="93"/>
                    </a:lnTo>
                    <a:lnTo>
                      <a:pt x="16" y="93"/>
                    </a:lnTo>
                    <a:lnTo>
                      <a:pt x="24" y="98"/>
                    </a:lnTo>
                    <a:lnTo>
                      <a:pt x="34" y="104"/>
                    </a:lnTo>
                    <a:lnTo>
                      <a:pt x="44" y="106"/>
                    </a:lnTo>
                    <a:lnTo>
                      <a:pt x="54" y="108"/>
                    </a:lnTo>
                    <a:lnTo>
                      <a:pt x="54" y="108"/>
                    </a:lnTo>
                    <a:lnTo>
                      <a:pt x="64" y="106"/>
                    </a:lnTo>
                    <a:lnTo>
                      <a:pt x="74" y="104"/>
                    </a:lnTo>
                    <a:lnTo>
                      <a:pt x="84" y="98"/>
                    </a:lnTo>
                    <a:lnTo>
                      <a:pt x="92" y="93"/>
                    </a:lnTo>
                    <a:lnTo>
                      <a:pt x="92" y="93"/>
                    </a:lnTo>
                    <a:lnTo>
                      <a:pt x="100" y="83"/>
                    </a:lnTo>
                    <a:lnTo>
                      <a:pt x="104" y="75"/>
                    </a:lnTo>
                    <a:lnTo>
                      <a:pt x="108" y="65"/>
                    </a:lnTo>
                    <a:lnTo>
                      <a:pt x="108" y="53"/>
                    </a:lnTo>
                    <a:lnTo>
                      <a:pt x="108" y="44"/>
                    </a:lnTo>
                    <a:lnTo>
                      <a:pt x="104" y="33"/>
                    </a:lnTo>
                    <a:lnTo>
                      <a:pt x="100" y="24"/>
                    </a:lnTo>
                    <a:lnTo>
                      <a:pt x="92" y="16"/>
                    </a:lnTo>
                    <a:lnTo>
                      <a:pt x="92" y="16"/>
                    </a:lnTo>
                    <a:lnTo>
                      <a:pt x="84" y="10"/>
                    </a:lnTo>
                    <a:lnTo>
                      <a:pt x="74" y="4"/>
                    </a:lnTo>
                    <a:lnTo>
                      <a:pt x="64" y="2"/>
                    </a:lnTo>
                    <a:lnTo>
                      <a:pt x="5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98" name="Freeform 8"/>
              <p:cNvSpPr>
                <a:spLocks/>
              </p:cNvSpPr>
              <p:nvPr userDrawn="1"/>
            </p:nvSpPr>
            <p:spPr bwMode="auto">
              <a:xfrm>
                <a:off x="4400" y="2669"/>
                <a:ext cx="108" cy="108"/>
              </a:xfrm>
              <a:custGeom>
                <a:avLst/>
                <a:gdLst/>
                <a:ahLst/>
                <a:cxnLst>
                  <a:cxn ang="0">
                    <a:pos x="54" y="0"/>
                  </a:cxn>
                  <a:cxn ang="0">
                    <a:pos x="54" y="0"/>
                  </a:cxn>
                  <a:cxn ang="0">
                    <a:pos x="44" y="2"/>
                  </a:cxn>
                  <a:cxn ang="0">
                    <a:pos x="34" y="4"/>
                  </a:cxn>
                  <a:cxn ang="0">
                    <a:pos x="24" y="10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8" y="24"/>
                  </a:cxn>
                  <a:cxn ang="0">
                    <a:pos x="4" y="33"/>
                  </a:cxn>
                  <a:cxn ang="0">
                    <a:pos x="0" y="44"/>
                  </a:cxn>
                  <a:cxn ang="0">
                    <a:pos x="0" y="53"/>
                  </a:cxn>
                  <a:cxn ang="0">
                    <a:pos x="0" y="65"/>
                  </a:cxn>
                  <a:cxn ang="0">
                    <a:pos x="4" y="75"/>
                  </a:cxn>
                  <a:cxn ang="0">
                    <a:pos x="8" y="83"/>
                  </a:cxn>
                  <a:cxn ang="0">
                    <a:pos x="16" y="93"/>
                  </a:cxn>
                  <a:cxn ang="0">
                    <a:pos x="16" y="93"/>
                  </a:cxn>
                  <a:cxn ang="0">
                    <a:pos x="24" y="98"/>
                  </a:cxn>
                  <a:cxn ang="0">
                    <a:pos x="34" y="104"/>
                  </a:cxn>
                  <a:cxn ang="0">
                    <a:pos x="44" y="106"/>
                  </a:cxn>
                  <a:cxn ang="0">
                    <a:pos x="54" y="108"/>
                  </a:cxn>
                  <a:cxn ang="0">
                    <a:pos x="54" y="108"/>
                  </a:cxn>
                  <a:cxn ang="0">
                    <a:pos x="64" y="106"/>
                  </a:cxn>
                  <a:cxn ang="0">
                    <a:pos x="74" y="104"/>
                  </a:cxn>
                  <a:cxn ang="0">
                    <a:pos x="84" y="98"/>
                  </a:cxn>
                  <a:cxn ang="0">
                    <a:pos x="92" y="93"/>
                  </a:cxn>
                  <a:cxn ang="0">
                    <a:pos x="92" y="93"/>
                  </a:cxn>
                  <a:cxn ang="0">
                    <a:pos x="100" y="83"/>
                  </a:cxn>
                  <a:cxn ang="0">
                    <a:pos x="104" y="75"/>
                  </a:cxn>
                  <a:cxn ang="0">
                    <a:pos x="108" y="65"/>
                  </a:cxn>
                  <a:cxn ang="0">
                    <a:pos x="108" y="53"/>
                  </a:cxn>
                  <a:cxn ang="0">
                    <a:pos x="108" y="44"/>
                  </a:cxn>
                  <a:cxn ang="0">
                    <a:pos x="104" y="33"/>
                  </a:cxn>
                  <a:cxn ang="0">
                    <a:pos x="100" y="24"/>
                  </a:cxn>
                  <a:cxn ang="0">
                    <a:pos x="92" y="16"/>
                  </a:cxn>
                  <a:cxn ang="0">
                    <a:pos x="92" y="16"/>
                  </a:cxn>
                  <a:cxn ang="0">
                    <a:pos x="84" y="10"/>
                  </a:cxn>
                  <a:cxn ang="0">
                    <a:pos x="74" y="4"/>
                  </a:cxn>
                  <a:cxn ang="0">
                    <a:pos x="64" y="2"/>
                  </a:cxn>
                  <a:cxn ang="0">
                    <a:pos x="54" y="0"/>
                  </a:cxn>
                </a:cxnLst>
                <a:rect l="0" t="0" r="r" b="b"/>
                <a:pathLst>
                  <a:path w="108" h="108">
                    <a:moveTo>
                      <a:pt x="54" y="0"/>
                    </a:moveTo>
                    <a:lnTo>
                      <a:pt x="54" y="0"/>
                    </a:lnTo>
                    <a:lnTo>
                      <a:pt x="44" y="2"/>
                    </a:lnTo>
                    <a:lnTo>
                      <a:pt x="34" y="4"/>
                    </a:lnTo>
                    <a:lnTo>
                      <a:pt x="24" y="10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8" y="24"/>
                    </a:lnTo>
                    <a:lnTo>
                      <a:pt x="4" y="33"/>
                    </a:lnTo>
                    <a:lnTo>
                      <a:pt x="0" y="44"/>
                    </a:lnTo>
                    <a:lnTo>
                      <a:pt x="0" y="53"/>
                    </a:lnTo>
                    <a:lnTo>
                      <a:pt x="0" y="65"/>
                    </a:lnTo>
                    <a:lnTo>
                      <a:pt x="4" y="75"/>
                    </a:lnTo>
                    <a:lnTo>
                      <a:pt x="8" y="83"/>
                    </a:lnTo>
                    <a:lnTo>
                      <a:pt x="16" y="93"/>
                    </a:lnTo>
                    <a:lnTo>
                      <a:pt x="16" y="93"/>
                    </a:lnTo>
                    <a:lnTo>
                      <a:pt x="24" y="98"/>
                    </a:lnTo>
                    <a:lnTo>
                      <a:pt x="34" y="104"/>
                    </a:lnTo>
                    <a:lnTo>
                      <a:pt x="44" y="106"/>
                    </a:lnTo>
                    <a:lnTo>
                      <a:pt x="54" y="108"/>
                    </a:lnTo>
                    <a:lnTo>
                      <a:pt x="54" y="108"/>
                    </a:lnTo>
                    <a:lnTo>
                      <a:pt x="64" y="106"/>
                    </a:lnTo>
                    <a:lnTo>
                      <a:pt x="74" y="104"/>
                    </a:lnTo>
                    <a:lnTo>
                      <a:pt x="84" y="98"/>
                    </a:lnTo>
                    <a:lnTo>
                      <a:pt x="92" y="93"/>
                    </a:lnTo>
                    <a:lnTo>
                      <a:pt x="92" y="93"/>
                    </a:lnTo>
                    <a:lnTo>
                      <a:pt x="100" y="83"/>
                    </a:lnTo>
                    <a:lnTo>
                      <a:pt x="104" y="75"/>
                    </a:lnTo>
                    <a:lnTo>
                      <a:pt x="108" y="65"/>
                    </a:lnTo>
                    <a:lnTo>
                      <a:pt x="108" y="53"/>
                    </a:lnTo>
                    <a:lnTo>
                      <a:pt x="108" y="44"/>
                    </a:lnTo>
                    <a:lnTo>
                      <a:pt x="104" y="33"/>
                    </a:lnTo>
                    <a:lnTo>
                      <a:pt x="100" y="24"/>
                    </a:lnTo>
                    <a:lnTo>
                      <a:pt x="92" y="16"/>
                    </a:lnTo>
                    <a:lnTo>
                      <a:pt x="92" y="16"/>
                    </a:lnTo>
                    <a:lnTo>
                      <a:pt x="84" y="10"/>
                    </a:lnTo>
                    <a:lnTo>
                      <a:pt x="74" y="4"/>
                    </a:lnTo>
                    <a:lnTo>
                      <a:pt x="64" y="2"/>
                    </a:lnTo>
                    <a:lnTo>
                      <a:pt x="5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99" name="Freeform 9"/>
              <p:cNvSpPr>
                <a:spLocks/>
              </p:cNvSpPr>
              <p:nvPr userDrawn="1"/>
            </p:nvSpPr>
            <p:spPr bwMode="auto">
              <a:xfrm>
                <a:off x="4502" y="2879"/>
                <a:ext cx="102" cy="96"/>
              </a:xfrm>
              <a:custGeom>
                <a:avLst/>
                <a:gdLst/>
                <a:ahLst/>
                <a:cxnLst>
                  <a:cxn ang="0">
                    <a:pos x="50" y="0"/>
                  </a:cxn>
                  <a:cxn ang="0">
                    <a:pos x="50" y="0"/>
                  </a:cxn>
                  <a:cxn ang="0">
                    <a:pos x="40" y="0"/>
                  </a:cxn>
                  <a:cxn ang="0">
                    <a:pos x="32" y="4"/>
                  </a:cxn>
                  <a:cxn ang="0">
                    <a:pos x="23" y="8"/>
                  </a:cxn>
                  <a:cxn ang="0">
                    <a:pos x="15" y="14"/>
                  </a:cxn>
                  <a:cxn ang="0">
                    <a:pos x="15" y="14"/>
                  </a:cxn>
                  <a:cxn ang="0">
                    <a:pos x="9" y="22"/>
                  </a:cxn>
                  <a:cxn ang="0">
                    <a:pos x="2" y="30"/>
                  </a:cxn>
                  <a:cxn ang="0">
                    <a:pos x="0" y="39"/>
                  </a:cxn>
                  <a:cxn ang="0">
                    <a:pos x="0" y="47"/>
                  </a:cxn>
                  <a:cxn ang="0">
                    <a:pos x="0" y="57"/>
                  </a:cxn>
                  <a:cxn ang="0">
                    <a:pos x="2" y="67"/>
                  </a:cxn>
                  <a:cxn ang="0">
                    <a:pos x="9" y="75"/>
                  </a:cxn>
                  <a:cxn ang="0">
                    <a:pos x="15" y="83"/>
                  </a:cxn>
                  <a:cxn ang="0">
                    <a:pos x="15" y="83"/>
                  </a:cxn>
                  <a:cxn ang="0">
                    <a:pos x="23" y="89"/>
                  </a:cxn>
                  <a:cxn ang="0">
                    <a:pos x="32" y="92"/>
                  </a:cxn>
                  <a:cxn ang="0">
                    <a:pos x="40" y="96"/>
                  </a:cxn>
                  <a:cxn ang="0">
                    <a:pos x="50" y="96"/>
                  </a:cxn>
                  <a:cxn ang="0">
                    <a:pos x="50" y="96"/>
                  </a:cxn>
                  <a:cxn ang="0">
                    <a:pos x="60" y="96"/>
                  </a:cxn>
                  <a:cxn ang="0">
                    <a:pos x="69" y="92"/>
                  </a:cxn>
                  <a:cxn ang="0">
                    <a:pos x="79" y="89"/>
                  </a:cxn>
                  <a:cxn ang="0">
                    <a:pos x="86" y="83"/>
                  </a:cxn>
                  <a:cxn ang="0">
                    <a:pos x="86" y="83"/>
                  </a:cxn>
                  <a:cxn ang="0">
                    <a:pos x="94" y="75"/>
                  </a:cxn>
                  <a:cxn ang="0">
                    <a:pos x="98" y="67"/>
                  </a:cxn>
                  <a:cxn ang="0">
                    <a:pos x="100" y="57"/>
                  </a:cxn>
                  <a:cxn ang="0">
                    <a:pos x="102" y="47"/>
                  </a:cxn>
                  <a:cxn ang="0">
                    <a:pos x="100" y="39"/>
                  </a:cxn>
                  <a:cxn ang="0">
                    <a:pos x="98" y="30"/>
                  </a:cxn>
                  <a:cxn ang="0">
                    <a:pos x="94" y="22"/>
                  </a:cxn>
                  <a:cxn ang="0">
                    <a:pos x="86" y="14"/>
                  </a:cxn>
                  <a:cxn ang="0">
                    <a:pos x="86" y="14"/>
                  </a:cxn>
                  <a:cxn ang="0">
                    <a:pos x="79" y="8"/>
                  </a:cxn>
                  <a:cxn ang="0">
                    <a:pos x="69" y="4"/>
                  </a:cxn>
                  <a:cxn ang="0">
                    <a:pos x="60" y="0"/>
                  </a:cxn>
                  <a:cxn ang="0">
                    <a:pos x="50" y="0"/>
                  </a:cxn>
                </a:cxnLst>
                <a:rect l="0" t="0" r="r" b="b"/>
                <a:pathLst>
                  <a:path w="102" h="96">
                    <a:moveTo>
                      <a:pt x="50" y="0"/>
                    </a:moveTo>
                    <a:lnTo>
                      <a:pt x="50" y="0"/>
                    </a:lnTo>
                    <a:lnTo>
                      <a:pt x="40" y="0"/>
                    </a:lnTo>
                    <a:lnTo>
                      <a:pt x="32" y="4"/>
                    </a:lnTo>
                    <a:lnTo>
                      <a:pt x="23" y="8"/>
                    </a:lnTo>
                    <a:lnTo>
                      <a:pt x="15" y="14"/>
                    </a:lnTo>
                    <a:lnTo>
                      <a:pt x="15" y="14"/>
                    </a:lnTo>
                    <a:lnTo>
                      <a:pt x="9" y="22"/>
                    </a:lnTo>
                    <a:lnTo>
                      <a:pt x="2" y="30"/>
                    </a:lnTo>
                    <a:lnTo>
                      <a:pt x="0" y="39"/>
                    </a:lnTo>
                    <a:lnTo>
                      <a:pt x="0" y="47"/>
                    </a:lnTo>
                    <a:lnTo>
                      <a:pt x="0" y="57"/>
                    </a:lnTo>
                    <a:lnTo>
                      <a:pt x="2" y="67"/>
                    </a:lnTo>
                    <a:lnTo>
                      <a:pt x="9" y="75"/>
                    </a:lnTo>
                    <a:lnTo>
                      <a:pt x="15" y="83"/>
                    </a:lnTo>
                    <a:lnTo>
                      <a:pt x="15" y="83"/>
                    </a:lnTo>
                    <a:lnTo>
                      <a:pt x="23" y="89"/>
                    </a:lnTo>
                    <a:lnTo>
                      <a:pt x="32" y="92"/>
                    </a:lnTo>
                    <a:lnTo>
                      <a:pt x="4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60" y="96"/>
                    </a:lnTo>
                    <a:lnTo>
                      <a:pt x="69" y="92"/>
                    </a:lnTo>
                    <a:lnTo>
                      <a:pt x="79" y="89"/>
                    </a:lnTo>
                    <a:lnTo>
                      <a:pt x="86" y="83"/>
                    </a:lnTo>
                    <a:lnTo>
                      <a:pt x="86" y="83"/>
                    </a:lnTo>
                    <a:lnTo>
                      <a:pt x="94" y="75"/>
                    </a:lnTo>
                    <a:lnTo>
                      <a:pt x="98" y="67"/>
                    </a:lnTo>
                    <a:lnTo>
                      <a:pt x="100" y="57"/>
                    </a:lnTo>
                    <a:lnTo>
                      <a:pt x="102" y="47"/>
                    </a:lnTo>
                    <a:lnTo>
                      <a:pt x="100" y="39"/>
                    </a:lnTo>
                    <a:lnTo>
                      <a:pt x="98" y="30"/>
                    </a:lnTo>
                    <a:lnTo>
                      <a:pt x="94" y="22"/>
                    </a:lnTo>
                    <a:lnTo>
                      <a:pt x="86" y="14"/>
                    </a:lnTo>
                    <a:lnTo>
                      <a:pt x="86" y="14"/>
                    </a:lnTo>
                    <a:lnTo>
                      <a:pt x="79" y="8"/>
                    </a:lnTo>
                    <a:lnTo>
                      <a:pt x="69" y="4"/>
                    </a:lnTo>
                    <a:lnTo>
                      <a:pt x="60" y="0"/>
                    </a:lnTo>
                    <a:lnTo>
                      <a:pt x="5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00" name="Freeform 10"/>
              <p:cNvSpPr>
                <a:spLocks/>
              </p:cNvSpPr>
              <p:nvPr userDrawn="1"/>
            </p:nvSpPr>
            <p:spPr bwMode="auto">
              <a:xfrm>
                <a:off x="4502" y="2879"/>
                <a:ext cx="102" cy="96"/>
              </a:xfrm>
              <a:custGeom>
                <a:avLst/>
                <a:gdLst/>
                <a:ahLst/>
                <a:cxnLst>
                  <a:cxn ang="0">
                    <a:pos x="50" y="0"/>
                  </a:cxn>
                  <a:cxn ang="0">
                    <a:pos x="50" y="0"/>
                  </a:cxn>
                  <a:cxn ang="0">
                    <a:pos x="40" y="0"/>
                  </a:cxn>
                  <a:cxn ang="0">
                    <a:pos x="32" y="4"/>
                  </a:cxn>
                  <a:cxn ang="0">
                    <a:pos x="23" y="8"/>
                  </a:cxn>
                  <a:cxn ang="0">
                    <a:pos x="15" y="14"/>
                  </a:cxn>
                  <a:cxn ang="0">
                    <a:pos x="15" y="14"/>
                  </a:cxn>
                  <a:cxn ang="0">
                    <a:pos x="9" y="22"/>
                  </a:cxn>
                  <a:cxn ang="0">
                    <a:pos x="2" y="30"/>
                  </a:cxn>
                  <a:cxn ang="0">
                    <a:pos x="0" y="39"/>
                  </a:cxn>
                  <a:cxn ang="0">
                    <a:pos x="0" y="47"/>
                  </a:cxn>
                  <a:cxn ang="0">
                    <a:pos x="0" y="57"/>
                  </a:cxn>
                  <a:cxn ang="0">
                    <a:pos x="2" y="67"/>
                  </a:cxn>
                  <a:cxn ang="0">
                    <a:pos x="9" y="75"/>
                  </a:cxn>
                  <a:cxn ang="0">
                    <a:pos x="15" y="83"/>
                  </a:cxn>
                  <a:cxn ang="0">
                    <a:pos x="15" y="83"/>
                  </a:cxn>
                  <a:cxn ang="0">
                    <a:pos x="23" y="89"/>
                  </a:cxn>
                  <a:cxn ang="0">
                    <a:pos x="32" y="92"/>
                  </a:cxn>
                  <a:cxn ang="0">
                    <a:pos x="40" y="96"/>
                  </a:cxn>
                  <a:cxn ang="0">
                    <a:pos x="50" y="96"/>
                  </a:cxn>
                  <a:cxn ang="0">
                    <a:pos x="50" y="96"/>
                  </a:cxn>
                  <a:cxn ang="0">
                    <a:pos x="60" y="96"/>
                  </a:cxn>
                  <a:cxn ang="0">
                    <a:pos x="69" y="92"/>
                  </a:cxn>
                  <a:cxn ang="0">
                    <a:pos x="79" y="89"/>
                  </a:cxn>
                  <a:cxn ang="0">
                    <a:pos x="86" y="83"/>
                  </a:cxn>
                  <a:cxn ang="0">
                    <a:pos x="86" y="83"/>
                  </a:cxn>
                  <a:cxn ang="0">
                    <a:pos x="94" y="75"/>
                  </a:cxn>
                  <a:cxn ang="0">
                    <a:pos x="98" y="67"/>
                  </a:cxn>
                  <a:cxn ang="0">
                    <a:pos x="100" y="57"/>
                  </a:cxn>
                  <a:cxn ang="0">
                    <a:pos x="102" y="47"/>
                  </a:cxn>
                  <a:cxn ang="0">
                    <a:pos x="100" y="39"/>
                  </a:cxn>
                  <a:cxn ang="0">
                    <a:pos x="98" y="30"/>
                  </a:cxn>
                  <a:cxn ang="0">
                    <a:pos x="94" y="22"/>
                  </a:cxn>
                  <a:cxn ang="0">
                    <a:pos x="86" y="14"/>
                  </a:cxn>
                  <a:cxn ang="0">
                    <a:pos x="86" y="14"/>
                  </a:cxn>
                  <a:cxn ang="0">
                    <a:pos x="79" y="8"/>
                  </a:cxn>
                  <a:cxn ang="0">
                    <a:pos x="69" y="4"/>
                  </a:cxn>
                  <a:cxn ang="0">
                    <a:pos x="60" y="0"/>
                  </a:cxn>
                  <a:cxn ang="0">
                    <a:pos x="50" y="0"/>
                  </a:cxn>
                </a:cxnLst>
                <a:rect l="0" t="0" r="r" b="b"/>
                <a:pathLst>
                  <a:path w="102" h="96">
                    <a:moveTo>
                      <a:pt x="50" y="0"/>
                    </a:moveTo>
                    <a:lnTo>
                      <a:pt x="50" y="0"/>
                    </a:lnTo>
                    <a:lnTo>
                      <a:pt x="40" y="0"/>
                    </a:lnTo>
                    <a:lnTo>
                      <a:pt x="32" y="4"/>
                    </a:lnTo>
                    <a:lnTo>
                      <a:pt x="23" y="8"/>
                    </a:lnTo>
                    <a:lnTo>
                      <a:pt x="15" y="14"/>
                    </a:lnTo>
                    <a:lnTo>
                      <a:pt x="15" y="14"/>
                    </a:lnTo>
                    <a:lnTo>
                      <a:pt x="9" y="22"/>
                    </a:lnTo>
                    <a:lnTo>
                      <a:pt x="2" y="30"/>
                    </a:lnTo>
                    <a:lnTo>
                      <a:pt x="0" y="39"/>
                    </a:lnTo>
                    <a:lnTo>
                      <a:pt x="0" y="47"/>
                    </a:lnTo>
                    <a:lnTo>
                      <a:pt x="0" y="57"/>
                    </a:lnTo>
                    <a:lnTo>
                      <a:pt x="2" y="67"/>
                    </a:lnTo>
                    <a:lnTo>
                      <a:pt x="9" y="75"/>
                    </a:lnTo>
                    <a:lnTo>
                      <a:pt x="15" y="83"/>
                    </a:lnTo>
                    <a:lnTo>
                      <a:pt x="15" y="83"/>
                    </a:lnTo>
                    <a:lnTo>
                      <a:pt x="23" y="89"/>
                    </a:lnTo>
                    <a:lnTo>
                      <a:pt x="32" y="92"/>
                    </a:lnTo>
                    <a:lnTo>
                      <a:pt x="4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60" y="96"/>
                    </a:lnTo>
                    <a:lnTo>
                      <a:pt x="69" y="92"/>
                    </a:lnTo>
                    <a:lnTo>
                      <a:pt x="79" y="89"/>
                    </a:lnTo>
                    <a:lnTo>
                      <a:pt x="86" y="83"/>
                    </a:lnTo>
                    <a:lnTo>
                      <a:pt x="86" y="83"/>
                    </a:lnTo>
                    <a:lnTo>
                      <a:pt x="94" y="75"/>
                    </a:lnTo>
                    <a:lnTo>
                      <a:pt x="98" y="67"/>
                    </a:lnTo>
                    <a:lnTo>
                      <a:pt x="100" y="57"/>
                    </a:lnTo>
                    <a:lnTo>
                      <a:pt x="102" y="47"/>
                    </a:lnTo>
                    <a:lnTo>
                      <a:pt x="100" y="39"/>
                    </a:lnTo>
                    <a:lnTo>
                      <a:pt x="98" y="30"/>
                    </a:lnTo>
                    <a:lnTo>
                      <a:pt x="94" y="22"/>
                    </a:lnTo>
                    <a:lnTo>
                      <a:pt x="86" y="14"/>
                    </a:lnTo>
                    <a:lnTo>
                      <a:pt x="86" y="14"/>
                    </a:lnTo>
                    <a:lnTo>
                      <a:pt x="79" y="8"/>
                    </a:lnTo>
                    <a:lnTo>
                      <a:pt x="69" y="4"/>
                    </a:lnTo>
                    <a:lnTo>
                      <a:pt x="60" y="0"/>
                    </a:lnTo>
                    <a:lnTo>
                      <a:pt x="5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01" name="Freeform 11"/>
              <p:cNvSpPr>
                <a:spLocks/>
              </p:cNvSpPr>
              <p:nvPr userDrawn="1"/>
            </p:nvSpPr>
            <p:spPr bwMode="auto">
              <a:xfrm>
                <a:off x="4568" y="3101"/>
                <a:ext cx="90" cy="90"/>
              </a:xfrm>
              <a:custGeom>
                <a:avLst/>
                <a:gdLst/>
                <a:ahLst/>
                <a:cxnLst>
                  <a:cxn ang="0">
                    <a:pos x="46" y="0"/>
                  </a:cxn>
                  <a:cxn ang="0">
                    <a:pos x="46" y="0"/>
                  </a:cxn>
                  <a:cxn ang="0">
                    <a:pos x="36" y="2"/>
                  </a:cxn>
                  <a:cxn ang="0">
                    <a:pos x="28" y="4"/>
                  </a:cxn>
                  <a:cxn ang="0">
                    <a:pos x="20" y="8"/>
                  </a:cxn>
                  <a:cxn ang="0">
                    <a:pos x="14" y="15"/>
                  </a:cxn>
                  <a:cxn ang="0">
                    <a:pos x="14" y="15"/>
                  </a:cxn>
                  <a:cxn ang="0">
                    <a:pos x="8" y="21"/>
                  </a:cxn>
                  <a:cxn ang="0">
                    <a:pos x="4" y="29"/>
                  </a:cxn>
                  <a:cxn ang="0">
                    <a:pos x="2" y="37"/>
                  </a:cxn>
                  <a:cxn ang="0">
                    <a:pos x="0" y="45"/>
                  </a:cxn>
                  <a:cxn ang="0">
                    <a:pos x="2" y="56"/>
                  </a:cxn>
                  <a:cxn ang="0">
                    <a:pos x="4" y="64"/>
                  </a:cxn>
                  <a:cxn ang="0">
                    <a:pos x="8" y="70"/>
                  </a:cxn>
                  <a:cxn ang="0">
                    <a:pos x="14" y="78"/>
                  </a:cxn>
                  <a:cxn ang="0">
                    <a:pos x="14" y="78"/>
                  </a:cxn>
                  <a:cxn ang="0">
                    <a:pos x="20" y="84"/>
                  </a:cxn>
                  <a:cxn ang="0">
                    <a:pos x="28" y="88"/>
                  </a:cxn>
                  <a:cxn ang="0">
                    <a:pos x="36" y="90"/>
                  </a:cxn>
                  <a:cxn ang="0">
                    <a:pos x="46" y="90"/>
                  </a:cxn>
                  <a:cxn ang="0">
                    <a:pos x="46" y="90"/>
                  </a:cxn>
                  <a:cxn ang="0">
                    <a:pos x="54" y="90"/>
                  </a:cxn>
                  <a:cxn ang="0">
                    <a:pos x="62" y="88"/>
                  </a:cxn>
                  <a:cxn ang="0">
                    <a:pos x="70" y="84"/>
                  </a:cxn>
                  <a:cxn ang="0">
                    <a:pos x="76" y="78"/>
                  </a:cxn>
                  <a:cxn ang="0">
                    <a:pos x="76" y="78"/>
                  </a:cxn>
                  <a:cxn ang="0">
                    <a:pos x="82" y="70"/>
                  </a:cxn>
                  <a:cxn ang="0">
                    <a:pos x="86" y="64"/>
                  </a:cxn>
                  <a:cxn ang="0">
                    <a:pos x="88" y="56"/>
                  </a:cxn>
                  <a:cxn ang="0">
                    <a:pos x="90" y="45"/>
                  </a:cxn>
                  <a:cxn ang="0">
                    <a:pos x="88" y="37"/>
                  </a:cxn>
                  <a:cxn ang="0">
                    <a:pos x="86" y="29"/>
                  </a:cxn>
                  <a:cxn ang="0">
                    <a:pos x="82" y="21"/>
                  </a:cxn>
                  <a:cxn ang="0">
                    <a:pos x="76" y="15"/>
                  </a:cxn>
                  <a:cxn ang="0">
                    <a:pos x="76" y="15"/>
                  </a:cxn>
                  <a:cxn ang="0">
                    <a:pos x="70" y="8"/>
                  </a:cxn>
                  <a:cxn ang="0">
                    <a:pos x="62" y="4"/>
                  </a:cxn>
                  <a:cxn ang="0">
                    <a:pos x="54" y="2"/>
                  </a:cxn>
                  <a:cxn ang="0">
                    <a:pos x="46" y="0"/>
                  </a:cxn>
                </a:cxnLst>
                <a:rect l="0" t="0" r="r" b="b"/>
                <a:pathLst>
                  <a:path w="90" h="90">
                    <a:moveTo>
                      <a:pt x="46" y="0"/>
                    </a:moveTo>
                    <a:lnTo>
                      <a:pt x="46" y="0"/>
                    </a:lnTo>
                    <a:lnTo>
                      <a:pt x="36" y="2"/>
                    </a:lnTo>
                    <a:lnTo>
                      <a:pt x="28" y="4"/>
                    </a:lnTo>
                    <a:lnTo>
                      <a:pt x="20" y="8"/>
                    </a:lnTo>
                    <a:lnTo>
                      <a:pt x="14" y="15"/>
                    </a:lnTo>
                    <a:lnTo>
                      <a:pt x="14" y="15"/>
                    </a:lnTo>
                    <a:lnTo>
                      <a:pt x="8" y="21"/>
                    </a:lnTo>
                    <a:lnTo>
                      <a:pt x="4" y="29"/>
                    </a:lnTo>
                    <a:lnTo>
                      <a:pt x="2" y="37"/>
                    </a:lnTo>
                    <a:lnTo>
                      <a:pt x="0" y="45"/>
                    </a:lnTo>
                    <a:lnTo>
                      <a:pt x="2" y="56"/>
                    </a:lnTo>
                    <a:lnTo>
                      <a:pt x="4" y="64"/>
                    </a:lnTo>
                    <a:lnTo>
                      <a:pt x="8" y="70"/>
                    </a:lnTo>
                    <a:lnTo>
                      <a:pt x="14" y="78"/>
                    </a:lnTo>
                    <a:lnTo>
                      <a:pt x="14" y="78"/>
                    </a:lnTo>
                    <a:lnTo>
                      <a:pt x="20" y="84"/>
                    </a:lnTo>
                    <a:lnTo>
                      <a:pt x="28" y="88"/>
                    </a:lnTo>
                    <a:lnTo>
                      <a:pt x="36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54" y="90"/>
                    </a:lnTo>
                    <a:lnTo>
                      <a:pt x="62" y="88"/>
                    </a:lnTo>
                    <a:lnTo>
                      <a:pt x="70" y="84"/>
                    </a:lnTo>
                    <a:lnTo>
                      <a:pt x="76" y="78"/>
                    </a:lnTo>
                    <a:lnTo>
                      <a:pt x="76" y="78"/>
                    </a:lnTo>
                    <a:lnTo>
                      <a:pt x="82" y="70"/>
                    </a:lnTo>
                    <a:lnTo>
                      <a:pt x="86" y="64"/>
                    </a:lnTo>
                    <a:lnTo>
                      <a:pt x="88" y="56"/>
                    </a:lnTo>
                    <a:lnTo>
                      <a:pt x="90" y="45"/>
                    </a:lnTo>
                    <a:lnTo>
                      <a:pt x="88" y="37"/>
                    </a:lnTo>
                    <a:lnTo>
                      <a:pt x="86" y="29"/>
                    </a:lnTo>
                    <a:lnTo>
                      <a:pt x="82" y="21"/>
                    </a:lnTo>
                    <a:lnTo>
                      <a:pt x="76" y="15"/>
                    </a:lnTo>
                    <a:lnTo>
                      <a:pt x="76" y="15"/>
                    </a:lnTo>
                    <a:lnTo>
                      <a:pt x="70" y="8"/>
                    </a:lnTo>
                    <a:lnTo>
                      <a:pt x="62" y="4"/>
                    </a:lnTo>
                    <a:lnTo>
                      <a:pt x="54" y="2"/>
                    </a:lnTo>
                    <a:lnTo>
                      <a:pt x="4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02" name="Freeform 12"/>
              <p:cNvSpPr>
                <a:spLocks/>
              </p:cNvSpPr>
              <p:nvPr userDrawn="1"/>
            </p:nvSpPr>
            <p:spPr bwMode="auto">
              <a:xfrm>
                <a:off x="4568" y="3101"/>
                <a:ext cx="90" cy="90"/>
              </a:xfrm>
              <a:custGeom>
                <a:avLst/>
                <a:gdLst/>
                <a:ahLst/>
                <a:cxnLst>
                  <a:cxn ang="0">
                    <a:pos x="46" y="0"/>
                  </a:cxn>
                  <a:cxn ang="0">
                    <a:pos x="46" y="0"/>
                  </a:cxn>
                  <a:cxn ang="0">
                    <a:pos x="36" y="2"/>
                  </a:cxn>
                  <a:cxn ang="0">
                    <a:pos x="28" y="4"/>
                  </a:cxn>
                  <a:cxn ang="0">
                    <a:pos x="20" y="8"/>
                  </a:cxn>
                  <a:cxn ang="0">
                    <a:pos x="14" y="15"/>
                  </a:cxn>
                  <a:cxn ang="0">
                    <a:pos x="14" y="15"/>
                  </a:cxn>
                  <a:cxn ang="0">
                    <a:pos x="8" y="21"/>
                  </a:cxn>
                  <a:cxn ang="0">
                    <a:pos x="4" y="29"/>
                  </a:cxn>
                  <a:cxn ang="0">
                    <a:pos x="2" y="37"/>
                  </a:cxn>
                  <a:cxn ang="0">
                    <a:pos x="0" y="45"/>
                  </a:cxn>
                  <a:cxn ang="0">
                    <a:pos x="2" y="56"/>
                  </a:cxn>
                  <a:cxn ang="0">
                    <a:pos x="4" y="64"/>
                  </a:cxn>
                  <a:cxn ang="0">
                    <a:pos x="8" y="70"/>
                  </a:cxn>
                  <a:cxn ang="0">
                    <a:pos x="14" y="78"/>
                  </a:cxn>
                  <a:cxn ang="0">
                    <a:pos x="14" y="78"/>
                  </a:cxn>
                  <a:cxn ang="0">
                    <a:pos x="20" y="84"/>
                  </a:cxn>
                  <a:cxn ang="0">
                    <a:pos x="28" y="88"/>
                  </a:cxn>
                  <a:cxn ang="0">
                    <a:pos x="36" y="90"/>
                  </a:cxn>
                  <a:cxn ang="0">
                    <a:pos x="46" y="90"/>
                  </a:cxn>
                  <a:cxn ang="0">
                    <a:pos x="46" y="90"/>
                  </a:cxn>
                  <a:cxn ang="0">
                    <a:pos x="54" y="90"/>
                  </a:cxn>
                  <a:cxn ang="0">
                    <a:pos x="62" y="88"/>
                  </a:cxn>
                  <a:cxn ang="0">
                    <a:pos x="70" y="84"/>
                  </a:cxn>
                  <a:cxn ang="0">
                    <a:pos x="76" y="78"/>
                  </a:cxn>
                  <a:cxn ang="0">
                    <a:pos x="76" y="78"/>
                  </a:cxn>
                  <a:cxn ang="0">
                    <a:pos x="82" y="70"/>
                  </a:cxn>
                  <a:cxn ang="0">
                    <a:pos x="86" y="64"/>
                  </a:cxn>
                  <a:cxn ang="0">
                    <a:pos x="88" y="56"/>
                  </a:cxn>
                  <a:cxn ang="0">
                    <a:pos x="90" y="45"/>
                  </a:cxn>
                  <a:cxn ang="0">
                    <a:pos x="88" y="37"/>
                  </a:cxn>
                  <a:cxn ang="0">
                    <a:pos x="86" y="29"/>
                  </a:cxn>
                  <a:cxn ang="0">
                    <a:pos x="82" y="21"/>
                  </a:cxn>
                  <a:cxn ang="0">
                    <a:pos x="76" y="15"/>
                  </a:cxn>
                  <a:cxn ang="0">
                    <a:pos x="76" y="15"/>
                  </a:cxn>
                  <a:cxn ang="0">
                    <a:pos x="70" y="8"/>
                  </a:cxn>
                  <a:cxn ang="0">
                    <a:pos x="62" y="4"/>
                  </a:cxn>
                  <a:cxn ang="0">
                    <a:pos x="54" y="2"/>
                  </a:cxn>
                  <a:cxn ang="0">
                    <a:pos x="46" y="0"/>
                  </a:cxn>
                </a:cxnLst>
                <a:rect l="0" t="0" r="r" b="b"/>
                <a:pathLst>
                  <a:path w="90" h="90">
                    <a:moveTo>
                      <a:pt x="46" y="0"/>
                    </a:moveTo>
                    <a:lnTo>
                      <a:pt x="46" y="0"/>
                    </a:lnTo>
                    <a:lnTo>
                      <a:pt x="36" y="2"/>
                    </a:lnTo>
                    <a:lnTo>
                      <a:pt x="28" y="4"/>
                    </a:lnTo>
                    <a:lnTo>
                      <a:pt x="20" y="8"/>
                    </a:lnTo>
                    <a:lnTo>
                      <a:pt x="14" y="15"/>
                    </a:lnTo>
                    <a:lnTo>
                      <a:pt x="14" y="15"/>
                    </a:lnTo>
                    <a:lnTo>
                      <a:pt x="8" y="21"/>
                    </a:lnTo>
                    <a:lnTo>
                      <a:pt x="4" y="29"/>
                    </a:lnTo>
                    <a:lnTo>
                      <a:pt x="2" y="37"/>
                    </a:lnTo>
                    <a:lnTo>
                      <a:pt x="0" y="45"/>
                    </a:lnTo>
                    <a:lnTo>
                      <a:pt x="2" y="56"/>
                    </a:lnTo>
                    <a:lnTo>
                      <a:pt x="4" y="64"/>
                    </a:lnTo>
                    <a:lnTo>
                      <a:pt x="8" y="70"/>
                    </a:lnTo>
                    <a:lnTo>
                      <a:pt x="14" y="78"/>
                    </a:lnTo>
                    <a:lnTo>
                      <a:pt x="14" y="78"/>
                    </a:lnTo>
                    <a:lnTo>
                      <a:pt x="20" y="84"/>
                    </a:lnTo>
                    <a:lnTo>
                      <a:pt x="28" y="88"/>
                    </a:lnTo>
                    <a:lnTo>
                      <a:pt x="36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54" y="90"/>
                    </a:lnTo>
                    <a:lnTo>
                      <a:pt x="62" y="88"/>
                    </a:lnTo>
                    <a:lnTo>
                      <a:pt x="70" y="84"/>
                    </a:lnTo>
                    <a:lnTo>
                      <a:pt x="76" y="78"/>
                    </a:lnTo>
                    <a:lnTo>
                      <a:pt x="76" y="78"/>
                    </a:lnTo>
                    <a:lnTo>
                      <a:pt x="82" y="70"/>
                    </a:lnTo>
                    <a:lnTo>
                      <a:pt x="86" y="64"/>
                    </a:lnTo>
                    <a:lnTo>
                      <a:pt x="88" y="56"/>
                    </a:lnTo>
                    <a:lnTo>
                      <a:pt x="90" y="45"/>
                    </a:lnTo>
                    <a:lnTo>
                      <a:pt x="88" y="37"/>
                    </a:lnTo>
                    <a:lnTo>
                      <a:pt x="86" y="29"/>
                    </a:lnTo>
                    <a:lnTo>
                      <a:pt x="82" y="21"/>
                    </a:lnTo>
                    <a:lnTo>
                      <a:pt x="76" y="15"/>
                    </a:lnTo>
                    <a:lnTo>
                      <a:pt x="76" y="15"/>
                    </a:lnTo>
                    <a:lnTo>
                      <a:pt x="70" y="8"/>
                    </a:lnTo>
                    <a:lnTo>
                      <a:pt x="62" y="4"/>
                    </a:lnTo>
                    <a:lnTo>
                      <a:pt x="54" y="2"/>
                    </a:lnTo>
                    <a:lnTo>
                      <a:pt x="4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03" name="Freeform 13"/>
              <p:cNvSpPr>
                <a:spLocks/>
              </p:cNvSpPr>
              <p:nvPr userDrawn="1"/>
            </p:nvSpPr>
            <p:spPr bwMode="auto">
              <a:xfrm>
                <a:off x="4592" y="3335"/>
                <a:ext cx="78" cy="78"/>
              </a:xfrm>
              <a:custGeom>
                <a:avLst/>
                <a:gdLst/>
                <a:ahLst/>
                <a:cxnLst>
                  <a:cxn ang="0">
                    <a:pos x="38" y="0"/>
                  </a:cxn>
                  <a:cxn ang="0">
                    <a:pos x="38" y="0"/>
                  </a:cxn>
                  <a:cxn ang="0">
                    <a:pos x="32" y="0"/>
                  </a:cxn>
                  <a:cxn ang="0">
                    <a:pos x="24" y="2"/>
                  </a:cxn>
                  <a:cxn ang="0">
                    <a:pos x="18" y="6"/>
                  </a:cxn>
                  <a:cxn ang="0">
                    <a:pos x="10" y="12"/>
                  </a:cxn>
                  <a:cxn ang="0">
                    <a:pos x="10" y="12"/>
                  </a:cxn>
                  <a:cxn ang="0">
                    <a:pos x="6" y="18"/>
                  </a:cxn>
                  <a:cxn ang="0">
                    <a:pos x="2" y="24"/>
                  </a:cxn>
                  <a:cxn ang="0">
                    <a:pos x="0" y="32"/>
                  </a:cxn>
                  <a:cxn ang="0">
                    <a:pos x="0" y="40"/>
                  </a:cxn>
                  <a:cxn ang="0">
                    <a:pos x="0" y="46"/>
                  </a:cxn>
                  <a:cxn ang="0">
                    <a:pos x="2" y="54"/>
                  </a:cxn>
                  <a:cxn ang="0">
                    <a:pos x="6" y="62"/>
                  </a:cxn>
                  <a:cxn ang="0">
                    <a:pos x="10" y="68"/>
                  </a:cxn>
                  <a:cxn ang="0">
                    <a:pos x="10" y="68"/>
                  </a:cxn>
                  <a:cxn ang="0">
                    <a:pos x="18" y="72"/>
                  </a:cxn>
                  <a:cxn ang="0">
                    <a:pos x="24" y="76"/>
                  </a:cxn>
                  <a:cxn ang="0">
                    <a:pos x="32" y="78"/>
                  </a:cxn>
                  <a:cxn ang="0">
                    <a:pos x="38" y="78"/>
                  </a:cxn>
                  <a:cxn ang="0">
                    <a:pos x="38" y="78"/>
                  </a:cxn>
                  <a:cxn ang="0">
                    <a:pos x="46" y="78"/>
                  </a:cxn>
                  <a:cxn ang="0">
                    <a:pos x="54" y="76"/>
                  </a:cxn>
                  <a:cxn ang="0">
                    <a:pos x="60" y="72"/>
                  </a:cxn>
                  <a:cxn ang="0">
                    <a:pos x="68" y="68"/>
                  </a:cxn>
                  <a:cxn ang="0">
                    <a:pos x="68" y="68"/>
                  </a:cxn>
                  <a:cxn ang="0">
                    <a:pos x="72" y="62"/>
                  </a:cxn>
                  <a:cxn ang="0">
                    <a:pos x="76" y="54"/>
                  </a:cxn>
                  <a:cxn ang="0">
                    <a:pos x="78" y="46"/>
                  </a:cxn>
                  <a:cxn ang="0">
                    <a:pos x="78" y="40"/>
                  </a:cxn>
                  <a:cxn ang="0">
                    <a:pos x="78" y="32"/>
                  </a:cxn>
                  <a:cxn ang="0">
                    <a:pos x="76" y="24"/>
                  </a:cxn>
                  <a:cxn ang="0">
                    <a:pos x="72" y="18"/>
                  </a:cxn>
                  <a:cxn ang="0">
                    <a:pos x="68" y="12"/>
                  </a:cxn>
                  <a:cxn ang="0">
                    <a:pos x="68" y="12"/>
                  </a:cxn>
                  <a:cxn ang="0">
                    <a:pos x="60" y="6"/>
                  </a:cxn>
                  <a:cxn ang="0">
                    <a:pos x="54" y="2"/>
                  </a:cxn>
                  <a:cxn ang="0">
                    <a:pos x="46" y="0"/>
                  </a:cxn>
                  <a:cxn ang="0">
                    <a:pos x="38" y="0"/>
                  </a:cxn>
                </a:cxnLst>
                <a:rect l="0" t="0" r="r" b="b"/>
                <a:pathLst>
                  <a:path w="78" h="78">
                    <a:moveTo>
                      <a:pt x="38" y="0"/>
                    </a:moveTo>
                    <a:lnTo>
                      <a:pt x="38" y="0"/>
                    </a:lnTo>
                    <a:lnTo>
                      <a:pt x="32" y="0"/>
                    </a:lnTo>
                    <a:lnTo>
                      <a:pt x="24" y="2"/>
                    </a:lnTo>
                    <a:lnTo>
                      <a:pt x="18" y="6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6" y="18"/>
                    </a:lnTo>
                    <a:lnTo>
                      <a:pt x="2" y="24"/>
                    </a:lnTo>
                    <a:lnTo>
                      <a:pt x="0" y="32"/>
                    </a:lnTo>
                    <a:lnTo>
                      <a:pt x="0" y="40"/>
                    </a:lnTo>
                    <a:lnTo>
                      <a:pt x="0" y="46"/>
                    </a:lnTo>
                    <a:lnTo>
                      <a:pt x="2" y="54"/>
                    </a:lnTo>
                    <a:lnTo>
                      <a:pt x="6" y="62"/>
                    </a:lnTo>
                    <a:lnTo>
                      <a:pt x="10" y="68"/>
                    </a:lnTo>
                    <a:lnTo>
                      <a:pt x="10" y="68"/>
                    </a:lnTo>
                    <a:lnTo>
                      <a:pt x="18" y="72"/>
                    </a:lnTo>
                    <a:lnTo>
                      <a:pt x="24" y="76"/>
                    </a:lnTo>
                    <a:lnTo>
                      <a:pt x="32" y="78"/>
                    </a:lnTo>
                    <a:lnTo>
                      <a:pt x="38" y="78"/>
                    </a:lnTo>
                    <a:lnTo>
                      <a:pt x="38" y="78"/>
                    </a:lnTo>
                    <a:lnTo>
                      <a:pt x="46" y="78"/>
                    </a:lnTo>
                    <a:lnTo>
                      <a:pt x="54" y="76"/>
                    </a:lnTo>
                    <a:lnTo>
                      <a:pt x="60" y="72"/>
                    </a:lnTo>
                    <a:lnTo>
                      <a:pt x="68" y="68"/>
                    </a:lnTo>
                    <a:lnTo>
                      <a:pt x="68" y="68"/>
                    </a:lnTo>
                    <a:lnTo>
                      <a:pt x="72" y="62"/>
                    </a:lnTo>
                    <a:lnTo>
                      <a:pt x="76" y="54"/>
                    </a:lnTo>
                    <a:lnTo>
                      <a:pt x="78" y="46"/>
                    </a:lnTo>
                    <a:lnTo>
                      <a:pt x="78" y="40"/>
                    </a:lnTo>
                    <a:lnTo>
                      <a:pt x="78" y="32"/>
                    </a:lnTo>
                    <a:lnTo>
                      <a:pt x="76" y="24"/>
                    </a:lnTo>
                    <a:lnTo>
                      <a:pt x="72" y="18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0" y="6"/>
                    </a:lnTo>
                    <a:lnTo>
                      <a:pt x="54" y="2"/>
                    </a:lnTo>
                    <a:lnTo>
                      <a:pt x="46" y="0"/>
                    </a:lnTo>
                    <a:lnTo>
                      <a:pt x="3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04" name="Freeform 14"/>
              <p:cNvSpPr>
                <a:spLocks/>
              </p:cNvSpPr>
              <p:nvPr userDrawn="1"/>
            </p:nvSpPr>
            <p:spPr bwMode="auto">
              <a:xfrm>
                <a:off x="4592" y="3335"/>
                <a:ext cx="78" cy="78"/>
              </a:xfrm>
              <a:custGeom>
                <a:avLst/>
                <a:gdLst/>
                <a:ahLst/>
                <a:cxnLst>
                  <a:cxn ang="0">
                    <a:pos x="38" y="0"/>
                  </a:cxn>
                  <a:cxn ang="0">
                    <a:pos x="38" y="0"/>
                  </a:cxn>
                  <a:cxn ang="0">
                    <a:pos x="32" y="0"/>
                  </a:cxn>
                  <a:cxn ang="0">
                    <a:pos x="24" y="2"/>
                  </a:cxn>
                  <a:cxn ang="0">
                    <a:pos x="18" y="6"/>
                  </a:cxn>
                  <a:cxn ang="0">
                    <a:pos x="10" y="12"/>
                  </a:cxn>
                  <a:cxn ang="0">
                    <a:pos x="10" y="12"/>
                  </a:cxn>
                  <a:cxn ang="0">
                    <a:pos x="6" y="18"/>
                  </a:cxn>
                  <a:cxn ang="0">
                    <a:pos x="2" y="24"/>
                  </a:cxn>
                  <a:cxn ang="0">
                    <a:pos x="0" y="32"/>
                  </a:cxn>
                  <a:cxn ang="0">
                    <a:pos x="0" y="40"/>
                  </a:cxn>
                  <a:cxn ang="0">
                    <a:pos x="0" y="46"/>
                  </a:cxn>
                  <a:cxn ang="0">
                    <a:pos x="2" y="54"/>
                  </a:cxn>
                  <a:cxn ang="0">
                    <a:pos x="6" y="62"/>
                  </a:cxn>
                  <a:cxn ang="0">
                    <a:pos x="10" y="68"/>
                  </a:cxn>
                  <a:cxn ang="0">
                    <a:pos x="10" y="68"/>
                  </a:cxn>
                  <a:cxn ang="0">
                    <a:pos x="18" y="72"/>
                  </a:cxn>
                  <a:cxn ang="0">
                    <a:pos x="24" y="76"/>
                  </a:cxn>
                  <a:cxn ang="0">
                    <a:pos x="32" y="78"/>
                  </a:cxn>
                  <a:cxn ang="0">
                    <a:pos x="38" y="78"/>
                  </a:cxn>
                  <a:cxn ang="0">
                    <a:pos x="38" y="78"/>
                  </a:cxn>
                  <a:cxn ang="0">
                    <a:pos x="46" y="78"/>
                  </a:cxn>
                  <a:cxn ang="0">
                    <a:pos x="54" y="76"/>
                  </a:cxn>
                  <a:cxn ang="0">
                    <a:pos x="60" y="72"/>
                  </a:cxn>
                  <a:cxn ang="0">
                    <a:pos x="68" y="68"/>
                  </a:cxn>
                  <a:cxn ang="0">
                    <a:pos x="68" y="68"/>
                  </a:cxn>
                  <a:cxn ang="0">
                    <a:pos x="72" y="62"/>
                  </a:cxn>
                  <a:cxn ang="0">
                    <a:pos x="76" y="54"/>
                  </a:cxn>
                  <a:cxn ang="0">
                    <a:pos x="78" y="46"/>
                  </a:cxn>
                  <a:cxn ang="0">
                    <a:pos x="78" y="40"/>
                  </a:cxn>
                  <a:cxn ang="0">
                    <a:pos x="78" y="32"/>
                  </a:cxn>
                  <a:cxn ang="0">
                    <a:pos x="76" y="24"/>
                  </a:cxn>
                  <a:cxn ang="0">
                    <a:pos x="72" y="18"/>
                  </a:cxn>
                  <a:cxn ang="0">
                    <a:pos x="68" y="12"/>
                  </a:cxn>
                  <a:cxn ang="0">
                    <a:pos x="68" y="12"/>
                  </a:cxn>
                  <a:cxn ang="0">
                    <a:pos x="60" y="6"/>
                  </a:cxn>
                  <a:cxn ang="0">
                    <a:pos x="54" y="2"/>
                  </a:cxn>
                  <a:cxn ang="0">
                    <a:pos x="46" y="0"/>
                  </a:cxn>
                  <a:cxn ang="0">
                    <a:pos x="38" y="0"/>
                  </a:cxn>
                </a:cxnLst>
                <a:rect l="0" t="0" r="r" b="b"/>
                <a:pathLst>
                  <a:path w="78" h="78">
                    <a:moveTo>
                      <a:pt x="38" y="0"/>
                    </a:moveTo>
                    <a:lnTo>
                      <a:pt x="38" y="0"/>
                    </a:lnTo>
                    <a:lnTo>
                      <a:pt x="32" y="0"/>
                    </a:lnTo>
                    <a:lnTo>
                      <a:pt x="24" y="2"/>
                    </a:lnTo>
                    <a:lnTo>
                      <a:pt x="18" y="6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6" y="18"/>
                    </a:lnTo>
                    <a:lnTo>
                      <a:pt x="2" y="24"/>
                    </a:lnTo>
                    <a:lnTo>
                      <a:pt x="0" y="32"/>
                    </a:lnTo>
                    <a:lnTo>
                      <a:pt x="0" y="40"/>
                    </a:lnTo>
                    <a:lnTo>
                      <a:pt x="0" y="46"/>
                    </a:lnTo>
                    <a:lnTo>
                      <a:pt x="2" y="54"/>
                    </a:lnTo>
                    <a:lnTo>
                      <a:pt x="6" y="62"/>
                    </a:lnTo>
                    <a:lnTo>
                      <a:pt x="10" y="68"/>
                    </a:lnTo>
                    <a:lnTo>
                      <a:pt x="10" y="68"/>
                    </a:lnTo>
                    <a:lnTo>
                      <a:pt x="18" y="72"/>
                    </a:lnTo>
                    <a:lnTo>
                      <a:pt x="24" y="76"/>
                    </a:lnTo>
                    <a:lnTo>
                      <a:pt x="32" y="78"/>
                    </a:lnTo>
                    <a:lnTo>
                      <a:pt x="38" y="78"/>
                    </a:lnTo>
                    <a:lnTo>
                      <a:pt x="38" y="78"/>
                    </a:lnTo>
                    <a:lnTo>
                      <a:pt x="46" y="78"/>
                    </a:lnTo>
                    <a:lnTo>
                      <a:pt x="54" y="76"/>
                    </a:lnTo>
                    <a:lnTo>
                      <a:pt x="60" y="72"/>
                    </a:lnTo>
                    <a:lnTo>
                      <a:pt x="68" y="68"/>
                    </a:lnTo>
                    <a:lnTo>
                      <a:pt x="68" y="68"/>
                    </a:lnTo>
                    <a:lnTo>
                      <a:pt x="72" y="62"/>
                    </a:lnTo>
                    <a:lnTo>
                      <a:pt x="76" y="54"/>
                    </a:lnTo>
                    <a:lnTo>
                      <a:pt x="78" y="46"/>
                    </a:lnTo>
                    <a:lnTo>
                      <a:pt x="78" y="40"/>
                    </a:lnTo>
                    <a:lnTo>
                      <a:pt x="78" y="32"/>
                    </a:lnTo>
                    <a:lnTo>
                      <a:pt x="76" y="24"/>
                    </a:lnTo>
                    <a:lnTo>
                      <a:pt x="72" y="18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0" y="6"/>
                    </a:lnTo>
                    <a:lnTo>
                      <a:pt x="54" y="2"/>
                    </a:lnTo>
                    <a:lnTo>
                      <a:pt x="46" y="0"/>
                    </a:lnTo>
                    <a:lnTo>
                      <a:pt x="3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05" name="Freeform 15"/>
              <p:cNvSpPr>
                <a:spLocks/>
              </p:cNvSpPr>
              <p:nvPr userDrawn="1"/>
            </p:nvSpPr>
            <p:spPr bwMode="auto">
              <a:xfrm>
                <a:off x="4574" y="3563"/>
                <a:ext cx="72" cy="72"/>
              </a:xfrm>
              <a:custGeom>
                <a:avLst/>
                <a:gdLst/>
                <a:ahLst/>
                <a:cxnLst>
                  <a:cxn ang="0">
                    <a:pos x="37" y="0"/>
                  </a:cxn>
                  <a:cxn ang="0">
                    <a:pos x="37" y="0"/>
                  </a:cxn>
                  <a:cxn ang="0">
                    <a:pos x="29" y="0"/>
                  </a:cxn>
                  <a:cxn ang="0">
                    <a:pos x="23" y="2"/>
                  </a:cxn>
                  <a:cxn ang="0">
                    <a:pos x="17" y="6"/>
                  </a:cxn>
                  <a:cxn ang="0">
                    <a:pos x="11" y="10"/>
                  </a:cxn>
                  <a:cxn ang="0">
                    <a:pos x="11" y="10"/>
                  </a:cxn>
                  <a:cxn ang="0">
                    <a:pos x="6" y="16"/>
                  </a:cxn>
                  <a:cxn ang="0">
                    <a:pos x="2" y="22"/>
                  </a:cxn>
                  <a:cxn ang="0">
                    <a:pos x="0" y="28"/>
                  </a:cxn>
                  <a:cxn ang="0">
                    <a:pos x="0" y="36"/>
                  </a:cxn>
                  <a:cxn ang="0">
                    <a:pos x="0" y="42"/>
                  </a:cxn>
                  <a:cxn ang="0">
                    <a:pos x="2" y="50"/>
                  </a:cxn>
                  <a:cxn ang="0">
                    <a:pos x="6" y="56"/>
                  </a:cxn>
                  <a:cxn ang="0">
                    <a:pos x="11" y="62"/>
                  </a:cxn>
                  <a:cxn ang="0">
                    <a:pos x="11" y="62"/>
                  </a:cxn>
                  <a:cxn ang="0">
                    <a:pos x="17" y="66"/>
                  </a:cxn>
                  <a:cxn ang="0">
                    <a:pos x="23" y="68"/>
                  </a:cxn>
                  <a:cxn ang="0">
                    <a:pos x="29" y="70"/>
                  </a:cxn>
                  <a:cxn ang="0">
                    <a:pos x="37" y="72"/>
                  </a:cxn>
                  <a:cxn ang="0">
                    <a:pos x="37" y="72"/>
                  </a:cxn>
                  <a:cxn ang="0">
                    <a:pos x="44" y="70"/>
                  </a:cxn>
                  <a:cxn ang="0">
                    <a:pos x="50" y="68"/>
                  </a:cxn>
                  <a:cxn ang="0">
                    <a:pos x="56" y="66"/>
                  </a:cxn>
                  <a:cxn ang="0">
                    <a:pos x="62" y="62"/>
                  </a:cxn>
                  <a:cxn ang="0">
                    <a:pos x="62" y="62"/>
                  </a:cxn>
                  <a:cxn ang="0">
                    <a:pos x="66" y="56"/>
                  </a:cxn>
                  <a:cxn ang="0">
                    <a:pos x="70" y="50"/>
                  </a:cxn>
                  <a:cxn ang="0">
                    <a:pos x="72" y="42"/>
                  </a:cxn>
                  <a:cxn ang="0">
                    <a:pos x="72" y="36"/>
                  </a:cxn>
                  <a:cxn ang="0">
                    <a:pos x="72" y="28"/>
                  </a:cxn>
                  <a:cxn ang="0">
                    <a:pos x="70" y="22"/>
                  </a:cxn>
                  <a:cxn ang="0">
                    <a:pos x="66" y="16"/>
                  </a:cxn>
                  <a:cxn ang="0">
                    <a:pos x="62" y="10"/>
                  </a:cxn>
                  <a:cxn ang="0">
                    <a:pos x="62" y="10"/>
                  </a:cxn>
                  <a:cxn ang="0">
                    <a:pos x="56" y="6"/>
                  </a:cxn>
                  <a:cxn ang="0">
                    <a:pos x="50" y="2"/>
                  </a:cxn>
                  <a:cxn ang="0">
                    <a:pos x="44" y="0"/>
                  </a:cxn>
                  <a:cxn ang="0">
                    <a:pos x="37" y="0"/>
                  </a:cxn>
                </a:cxnLst>
                <a:rect l="0" t="0" r="r" b="b"/>
                <a:pathLst>
                  <a:path w="72" h="72">
                    <a:moveTo>
                      <a:pt x="37" y="0"/>
                    </a:moveTo>
                    <a:lnTo>
                      <a:pt x="37" y="0"/>
                    </a:lnTo>
                    <a:lnTo>
                      <a:pt x="29" y="0"/>
                    </a:lnTo>
                    <a:lnTo>
                      <a:pt x="23" y="2"/>
                    </a:lnTo>
                    <a:lnTo>
                      <a:pt x="17" y="6"/>
                    </a:lnTo>
                    <a:lnTo>
                      <a:pt x="11" y="10"/>
                    </a:lnTo>
                    <a:lnTo>
                      <a:pt x="11" y="10"/>
                    </a:lnTo>
                    <a:lnTo>
                      <a:pt x="6" y="16"/>
                    </a:lnTo>
                    <a:lnTo>
                      <a:pt x="2" y="22"/>
                    </a:lnTo>
                    <a:lnTo>
                      <a:pt x="0" y="28"/>
                    </a:lnTo>
                    <a:lnTo>
                      <a:pt x="0" y="36"/>
                    </a:lnTo>
                    <a:lnTo>
                      <a:pt x="0" y="42"/>
                    </a:lnTo>
                    <a:lnTo>
                      <a:pt x="2" y="50"/>
                    </a:lnTo>
                    <a:lnTo>
                      <a:pt x="6" y="56"/>
                    </a:lnTo>
                    <a:lnTo>
                      <a:pt x="11" y="62"/>
                    </a:lnTo>
                    <a:lnTo>
                      <a:pt x="11" y="62"/>
                    </a:lnTo>
                    <a:lnTo>
                      <a:pt x="17" y="66"/>
                    </a:lnTo>
                    <a:lnTo>
                      <a:pt x="23" y="68"/>
                    </a:lnTo>
                    <a:lnTo>
                      <a:pt x="29" y="70"/>
                    </a:lnTo>
                    <a:lnTo>
                      <a:pt x="37" y="72"/>
                    </a:lnTo>
                    <a:lnTo>
                      <a:pt x="37" y="72"/>
                    </a:lnTo>
                    <a:lnTo>
                      <a:pt x="44" y="70"/>
                    </a:lnTo>
                    <a:lnTo>
                      <a:pt x="50" y="68"/>
                    </a:lnTo>
                    <a:lnTo>
                      <a:pt x="56" y="66"/>
                    </a:lnTo>
                    <a:lnTo>
                      <a:pt x="62" y="62"/>
                    </a:lnTo>
                    <a:lnTo>
                      <a:pt x="62" y="62"/>
                    </a:lnTo>
                    <a:lnTo>
                      <a:pt x="66" y="56"/>
                    </a:lnTo>
                    <a:lnTo>
                      <a:pt x="70" y="50"/>
                    </a:lnTo>
                    <a:lnTo>
                      <a:pt x="72" y="42"/>
                    </a:lnTo>
                    <a:lnTo>
                      <a:pt x="72" y="36"/>
                    </a:lnTo>
                    <a:lnTo>
                      <a:pt x="72" y="28"/>
                    </a:lnTo>
                    <a:lnTo>
                      <a:pt x="70" y="22"/>
                    </a:lnTo>
                    <a:lnTo>
                      <a:pt x="66" y="16"/>
                    </a:lnTo>
                    <a:lnTo>
                      <a:pt x="62" y="10"/>
                    </a:lnTo>
                    <a:lnTo>
                      <a:pt x="62" y="10"/>
                    </a:lnTo>
                    <a:lnTo>
                      <a:pt x="56" y="6"/>
                    </a:lnTo>
                    <a:lnTo>
                      <a:pt x="50" y="2"/>
                    </a:lnTo>
                    <a:lnTo>
                      <a:pt x="44" y="0"/>
                    </a:lnTo>
                    <a:lnTo>
                      <a:pt x="3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06" name="Freeform 16"/>
              <p:cNvSpPr>
                <a:spLocks/>
              </p:cNvSpPr>
              <p:nvPr userDrawn="1"/>
            </p:nvSpPr>
            <p:spPr bwMode="auto">
              <a:xfrm>
                <a:off x="4574" y="3563"/>
                <a:ext cx="72" cy="72"/>
              </a:xfrm>
              <a:custGeom>
                <a:avLst/>
                <a:gdLst/>
                <a:ahLst/>
                <a:cxnLst>
                  <a:cxn ang="0">
                    <a:pos x="37" y="0"/>
                  </a:cxn>
                  <a:cxn ang="0">
                    <a:pos x="37" y="0"/>
                  </a:cxn>
                  <a:cxn ang="0">
                    <a:pos x="29" y="0"/>
                  </a:cxn>
                  <a:cxn ang="0">
                    <a:pos x="23" y="2"/>
                  </a:cxn>
                  <a:cxn ang="0">
                    <a:pos x="17" y="6"/>
                  </a:cxn>
                  <a:cxn ang="0">
                    <a:pos x="11" y="10"/>
                  </a:cxn>
                  <a:cxn ang="0">
                    <a:pos x="11" y="10"/>
                  </a:cxn>
                  <a:cxn ang="0">
                    <a:pos x="6" y="16"/>
                  </a:cxn>
                  <a:cxn ang="0">
                    <a:pos x="2" y="22"/>
                  </a:cxn>
                  <a:cxn ang="0">
                    <a:pos x="0" y="28"/>
                  </a:cxn>
                  <a:cxn ang="0">
                    <a:pos x="0" y="36"/>
                  </a:cxn>
                  <a:cxn ang="0">
                    <a:pos x="0" y="42"/>
                  </a:cxn>
                  <a:cxn ang="0">
                    <a:pos x="2" y="50"/>
                  </a:cxn>
                  <a:cxn ang="0">
                    <a:pos x="6" y="56"/>
                  </a:cxn>
                  <a:cxn ang="0">
                    <a:pos x="11" y="62"/>
                  </a:cxn>
                  <a:cxn ang="0">
                    <a:pos x="11" y="62"/>
                  </a:cxn>
                  <a:cxn ang="0">
                    <a:pos x="17" y="66"/>
                  </a:cxn>
                  <a:cxn ang="0">
                    <a:pos x="23" y="68"/>
                  </a:cxn>
                  <a:cxn ang="0">
                    <a:pos x="29" y="70"/>
                  </a:cxn>
                  <a:cxn ang="0">
                    <a:pos x="37" y="72"/>
                  </a:cxn>
                  <a:cxn ang="0">
                    <a:pos x="37" y="72"/>
                  </a:cxn>
                  <a:cxn ang="0">
                    <a:pos x="44" y="70"/>
                  </a:cxn>
                  <a:cxn ang="0">
                    <a:pos x="50" y="68"/>
                  </a:cxn>
                  <a:cxn ang="0">
                    <a:pos x="56" y="66"/>
                  </a:cxn>
                  <a:cxn ang="0">
                    <a:pos x="62" y="62"/>
                  </a:cxn>
                  <a:cxn ang="0">
                    <a:pos x="62" y="62"/>
                  </a:cxn>
                  <a:cxn ang="0">
                    <a:pos x="66" y="56"/>
                  </a:cxn>
                  <a:cxn ang="0">
                    <a:pos x="70" y="50"/>
                  </a:cxn>
                  <a:cxn ang="0">
                    <a:pos x="72" y="42"/>
                  </a:cxn>
                  <a:cxn ang="0">
                    <a:pos x="72" y="36"/>
                  </a:cxn>
                  <a:cxn ang="0">
                    <a:pos x="72" y="28"/>
                  </a:cxn>
                  <a:cxn ang="0">
                    <a:pos x="70" y="22"/>
                  </a:cxn>
                  <a:cxn ang="0">
                    <a:pos x="66" y="16"/>
                  </a:cxn>
                  <a:cxn ang="0">
                    <a:pos x="62" y="10"/>
                  </a:cxn>
                  <a:cxn ang="0">
                    <a:pos x="62" y="10"/>
                  </a:cxn>
                  <a:cxn ang="0">
                    <a:pos x="56" y="6"/>
                  </a:cxn>
                  <a:cxn ang="0">
                    <a:pos x="50" y="2"/>
                  </a:cxn>
                  <a:cxn ang="0">
                    <a:pos x="44" y="0"/>
                  </a:cxn>
                  <a:cxn ang="0">
                    <a:pos x="37" y="0"/>
                  </a:cxn>
                </a:cxnLst>
                <a:rect l="0" t="0" r="r" b="b"/>
                <a:pathLst>
                  <a:path w="72" h="72">
                    <a:moveTo>
                      <a:pt x="37" y="0"/>
                    </a:moveTo>
                    <a:lnTo>
                      <a:pt x="37" y="0"/>
                    </a:lnTo>
                    <a:lnTo>
                      <a:pt x="29" y="0"/>
                    </a:lnTo>
                    <a:lnTo>
                      <a:pt x="23" y="2"/>
                    </a:lnTo>
                    <a:lnTo>
                      <a:pt x="17" y="6"/>
                    </a:lnTo>
                    <a:lnTo>
                      <a:pt x="11" y="10"/>
                    </a:lnTo>
                    <a:lnTo>
                      <a:pt x="11" y="10"/>
                    </a:lnTo>
                    <a:lnTo>
                      <a:pt x="6" y="16"/>
                    </a:lnTo>
                    <a:lnTo>
                      <a:pt x="2" y="22"/>
                    </a:lnTo>
                    <a:lnTo>
                      <a:pt x="0" y="28"/>
                    </a:lnTo>
                    <a:lnTo>
                      <a:pt x="0" y="36"/>
                    </a:lnTo>
                    <a:lnTo>
                      <a:pt x="0" y="42"/>
                    </a:lnTo>
                    <a:lnTo>
                      <a:pt x="2" y="50"/>
                    </a:lnTo>
                    <a:lnTo>
                      <a:pt x="6" y="56"/>
                    </a:lnTo>
                    <a:lnTo>
                      <a:pt x="11" y="62"/>
                    </a:lnTo>
                    <a:lnTo>
                      <a:pt x="11" y="62"/>
                    </a:lnTo>
                    <a:lnTo>
                      <a:pt x="17" y="66"/>
                    </a:lnTo>
                    <a:lnTo>
                      <a:pt x="23" y="68"/>
                    </a:lnTo>
                    <a:lnTo>
                      <a:pt x="29" y="70"/>
                    </a:lnTo>
                    <a:lnTo>
                      <a:pt x="37" y="72"/>
                    </a:lnTo>
                    <a:lnTo>
                      <a:pt x="37" y="72"/>
                    </a:lnTo>
                    <a:lnTo>
                      <a:pt x="44" y="70"/>
                    </a:lnTo>
                    <a:lnTo>
                      <a:pt x="50" y="68"/>
                    </a:lnTo>
                    <a:lnTo>
                      <a:pt x="56" y="66"/>
                    </a:lnTo>
                    <a:lnTo>
                      <a:pt x="62" y="62"/>
                    </a:lnTo>
                    <a:lnTo>
                      <a:pt x="62" y="62"/>
                    </a:lnTo>
                    <a:lnTo>
                      <a:pt x="66" y="56"/>
                    </a:lnTo>
                    <a:lnTo>
                      <a:pt x="70" y="50"/>
                    </a:lnTo>
                    <a:lnTo>
                      <a:pt x="72" y="42"/>
                    </a:lnTo>
                    <a:lnTo>
                      <a:pt x="72" y="36"/>
                    </a:lnTo>
                    <a:lnTo>
                      <a:pt x="72" y="28"/>
                    </a:lnTo>
                    <a:lnTo>
                      <a:pt x="70" y="22"/>
                    </a:lnTo>
                    <a:lnTo>
                      <a:pt x="66" y="16"/>
                    </a:lnTo>
                    <a:lnTo>
                      <a:pt x="62" y="10"/>
                    </a:lnTo>
                    <a:lnTo>
                      <a:pt x="62" y="10"/>
                    </a:lnTo>
                    <a:lnTo>
                      <a:pt x="56" y="6"/>
                    </a:lnTo>
                    <a:lnTo>
                      <a:pt x="50" y="2"/>
                    </a:lnTo>
                    <a:lnTo>
                      <a:pt x="44" y="0"/>
                    </a:lnTo>
                    <a:lnTo>
                      <a:pt x="3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07" name="Freeform 17"/>
              <p:cNvSpPr>
                <a:spLocks/>
              </p:cNvSpPr>
              <p:nvPr userDrawn="1"/>
            </p:nvSpPr>
            <p:spPr bwMode="auto">
              <a:xfrm>
                <a:off x="4520" y="3791"/>
                <a:ext cx="66" cy="60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33" y="0"/>
                  </a:cxn>
                  <a:cxn ang="0">
                    <a:pos x="27" y="0"/>
                  </a:cxn>
                  <a:cxn ang="0">
                    <a:pos x="21" y="2"/>
                  </a:cxn>
                  <a:cxn ang="0">
                    <a:pos x="15" y="4"/>
                  </a:cxn>
                  <a:cxn ang="0">
                    <a:pos x="11" y="8"/>
                  </a:cxn>
                  <a:cxn ang="0">
                    <a:pos x="11" y="8"/>
                  </a:cxn>
                  <a:cxn ang="0">
                    <a:pos x="6" y="13"/>
                  </a:cxn>
                  <a:cxn ang="0">
                    <a:pos x="2" y="19"/>
                  </a:cxn>
                  <a:cxn ang="0">
                    <a:pos x="0" y="24"/>
                  </a:cxn>
                  <a:cxn ang="0">
                    <a:pos x="0" y="30"/>
                  </a:cxn>
                  <a:cxn ang="0">
                    <a:pos x="0" y="36"/>
                  </a:cxn>
                  <a:cxn ang="0">
                    <a:pos x="2" y="41"/>
                  </a:cxn>
                  <a:cxn ang="0">
                    <a:pos x="6" y="47"/>
                  </a:cxn>
                  <a:cxn ang="0">
                    <a:pos x="11" y="51"/>
                  </a:cxn>
                  <a:cxn ang="0">
                    <a:pos x="11" y="51"/>
                  </a:cxn>
                  <a:cxn ang="0">
                    <a:pos x="15" y="54"/>
                  </a:cxn>
                  <a:cxn ang="0">
                    <a:pos x="21" y="58"/>
                  </a:cxn>
                  <a:cxn ang="0">
                    <a:pos x="27" y="60"/>
                  </a:cxn>
                  <a:cxn ang="0">
                    <a:pos x="33" y="60"/>
                  </a:cxn>
                  <a:cxn ang="0">
                    <a:pos x="33" y="60"/>
                  </a:cxn>
                  <a:cxn ang="0">
                    <a:pos x="39" y="60"/>
                  </a:cxn>
                  <a:cxn ang="0">
                    <a:pos x="45" y="58"/>
                  </a:cxn>
                  <a:cxn ang="0">
                    <a:pos x="52" y="54"/>
                  </a:cxn>
                  <a:cxn ang="0">
                    <a:pos x="56" y="51"/>
                  </a:cxn>
                  <a:cxn ang="0">
                    <a:pos x="56" y="51"/>
                  </a:cxn>
                  <a:cxn ang="0">
                    <a:pos x="62" y="47"/>
                  </a:cxn>
                  <a:cxn ang="0">
                    <a:pos x="64" y="41"/>
                  </a:cxn>
                  <a:cxn ang="0">
                    <a:pos x="66" y="36"/>
                  </a:cxn>
                  <a:cxn ang="0">
                    <a:pos x="66" y="30"/>
                  </a:cxn>
                  <a:cxn ang="0">
                    <a:pos x="66" y="24"/>
                  </a:cxn>
                  <a:cxn ang="0">
                    <a:pos x="64" y="19"/>
                  </a:cxn>
                  <a:cxn ang="0">
                    <a:pos x="62" y="13"/>
                  </a:cxn>
                  <a:cxn ang="0">
                    <a:pos x="56" y="8"/>
                  </a:cxn>
                  <a:cxn ang="0">
                    <a:pos x="56" y="8"/>
                  </a:cxn>
                  <a:cxn ang="0">
                    <a:pos x="52" y="4"/>
                  </a:cxn>
                  <a:cxn ang="0">
                    <a:pos x="45" y="2"/>
                  </a:cxn>
                  <a:cxn ang="0">
                    <a:pos x="39" y="0"/>
                  </a:cxn>
                  <a:cxn ang="0">
                    <a:pos x="33" y="0"/>
                  </a:cxn>
                </a:cxnLst>
                <a:rect l="0" t="0" r="r" b="b"/>
                <a:pathLst>
                  <a:path w="66" h="60">
                    <a:moveTo>
                      <a:pt x="33" y="0"/>
                    </a:moveTo>
                    <a:lnTo>
                      <a:pt x="33" y="0"/>
                    </a:lnTo>
                    <a:lnTo>
                      <a:pt x="27" y="0"/>
                    </a:lnTo>
                    <a:lnTo>
                      <a:pt x="21" y="2"/>
                    </a:lnTo>
                    <a:lnTo>
                      <a:pt x="15" y="4"/>
                    </a:lnTo>
                    <a:lnTo>
                      <a:pt x="11" y="8"/>
                    </a:lnTo>
                    <a:lnTo>
                      <a:pt x="11" y="8"/>
                    </a:lnTo>
                    <a:lnTo>
                      <a:pt x="6" y="13"/>
                    </a:lnTo>
                    <a:lnTo>
                      <a:pt x="2" y="19"/>
                    </a:lnTo>
                    <a:lnTo>
                      <a:pt x="0" y="24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2" y="41"/>
                    </a:lnTo>
                    <a:lnTo>
                      <a:pt x="6" y="47"/>
                    </a:lnTo>
                    <a:lnTo>
                      <a:pt x="11" y="51"/>
                    </a:lnTo>
                    <a:lnTo>
                      <a:pt x="11" y="51"/>
                    </a:lnTo>
                    <a:lnTo>
                      <a:pt x="15" y="54"/>
                    </a:lnTo>
                    <a:lnTo>
                      <a:pt x="21" y="58"/>
                    </a:lnTo>
                    <a:lnTo>
                      <a:pt x="27" y="60"/>
                    </a:lnTo>
                    <a:lnTo>
                      <a:pt x="33" y="60"/>
                    </a:lnTo>
                    <a:lnTo>
                      <a:pt x="33" y="60"/>
                    </a:lnTo>
                    <a:lnTo>
                      <a:pt x="39" y="60"/>
                    </a:lnTo>
                    <a:lnTo>
                      <a:pt x="45" y="58"/>
                    </a:lnTo>
                    <a:lnTo>
                      <a:pt x="52" y="54"/>
                    </a:lnTo>
                    <a:lnTo>
                      <a:pt x="56" y="51"/>
                    </a:lnTo>
                    <a:lnTo>
                      <a:pt x="56" y="51"/>
                    </a:lnTo>
                    <a:lnTo>
                      <a:pt x="62" y="47"/>
                    </a:lnTo>
                    <a:lnTo>
                      <a:pt x="64" y="41"/>
                    </a:lnTo>
                    <a:lnTo>
                      <a:pt x="66" y="36"/>
                    </a:lnTo>
                    <a:lnTo>
                      <a:pt x="66" y="30"/>
                    </a:lnTo>
                    <a:lnTo>
                      <a:pt x="66" y="24"/>
                    </a:lnTo>
                    <a:lnTo>
                      <a:pt x="64" y="19"/>
                    </a:lnTo>
                    <a:lnTo>
                      <a:pt x="62" y="13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2" y="4"/>
                    </a:lnTo>
                    <a:lnTo>
                      <a:pt x="45" y="2"/>
                    </a:lnTo>
                    <a:lnTo>
                      <a:pt x="39" y="0"/>
                    </a:lnTo>
                    <a:lnTo>
                      <a:pt x="3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08" name="Freeform 18"/>
              <p:cNvSpPr>
                <a:spLocks/>
              </p:cNvSpPr>
              <p:nvPr userDrawn="1"/>
            </p:nvSpPr>
            <p:spPr bwMode="auto">
              <a:xfrm>
                <a:off x="4520" y="3791"/>
                <a:ext cx="66" cy="60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33" y="0"/>
                  </a:cxn>
                  <a:cxn ang="0">
                    <a:pos x="27" y="0"/>
                  </a:cxn>
                  <a:cxn ang="0">
                    <a:pos x="21" y="2"/>
                  </a:cxn>
                  <a:cxn ang="0">
                    <a:pos x="15" y="4"/>
                  </a:cxn>
                  <a:cxn ang="0">
                    <a:pos x="11" y="8"/>
                  </a:cxn>
                  <a:cxn ang="0">
                    <a:pos x="11" y="8"/>
                  </a:cxn>
                  <a:cxn ang="0">
                    <a:pos x="6" y="13"/>
                  </a:cxn>
                  <a:cxn ang="0">
                    <a:pos x="2" y="19"/>
                  </a:cxn>
                  <a:cxn ang="0">
                    <a:pos x="0" y="24"/>
                  </a:cxn>
                  <a:cxn ang="0">
                    <a:pos x="0" y="30"/>
                  </a:cxn>
                  <a:cxn ang="0">
                    <a:pos x="0" y="36"/>
                  </a:cxn>
                  <a:cxn ang="0">
                    <a:pos x="2" y="41"/>
                  </a:cxn>
                  <a:cxn ang="0">
                    <a:pos x="6" y="47"/>
                  </a:cxn>
                  <a:cxn ang="0">
                    <a:pos x="11" y="51"/>
                  </a:cxn>
                  <a:cxn ang="0">
                    <a:pos x="11" y="51"/>
                  </a:cxn>
                  <a:cxn ang="0">
                    <a:pos x="15" y="54"/>
                  </a:cxn>
                  <a:cxn ang="0">
                    <a:pos x="21" y="58"/>
                  </a:cxn>
                  <a:cxn ang="0">
                    <a:pos x="27" y="60"/>
                  </a:cxn>
                  <a:cxn ang="0">
                    <a:pos x="33" y="60"/>
                  </a:cxn>
                  <a:cxn ang="0">
                    <a:pos x="33" y="60"/>
                  </a:cxn>
                  <a:cxn ang="0">
                    <a:pos x="39" y="60"/>
                  </a:cxn>
                  <a:cxn ang="0">
                    <a:pos x="45" y="58"/>
                  </a:cxn>
                  <a:cxn ang="0">
                    <a:pos x="52" y="54"/>
                  </a:cxn>
                  <a:cxn ang="0">
                    <a:pos x="56" y="51"/>
                  </a:cxn>
                  <a:cxn ang="0">
                    <a:pos x="56" y="51"/>
                  </a:cxn>
                  <a:cxn ang="0">
                    <a:pos x="62" y="47"/>
                  </a:cxn>
                  <a:cxn ang="0">
                    <a:pos x="64" y="41"/>
                  </a:cxn>
                  <a:cxn ang="0">
                    <a:pos x="66" y="36"/>
                  </a:cxn>
                  <a:cxn ang="0">
                    <a:pos x="66" y="30"/>
                  </a:cxn>
                  <a:cxn ang="0">
                    <a:pos x="66" y="24"/>
                  </a:cxn>
                  <a:cxn ang="0">
                    <a:pos x="64" y="19"/>
                  </a:cxn>
                  <a:cxn ang="0">
                    <a:pos x="62" y="13"/>
                  </a:cxn>
                  <a:cxn ang="0">
                    <a:pos x="56" y="8"/>
                  </a:cxn>
                  <a:cxn ang="0">
                    <a:pos x="56" y="8"/>
                  </a:cxn>
                  <a:cxn ang="0">
                    <a:pos x="52" y="4"/>
                  </a:cxn>
                  <a:cxn ang="0">
                    <a:pos x="45" y="2"/>
                  </a:cxn>
                  <a:cxn ang="0">
                    <a:pos x="39" y="0"/>
                  </a:cxn>
                  <a:cxn ang="0">
                    <a:pos x="33" y="0"/>
                  </a:cxn>
                </a:cxnLst>
                <a:rect l="0" t="0" r="r" b="b"/>
                <a:pathLst>
                  <a:path w="66" h="60">
                    <a:moveTo>
                      <a:pt x="33" y="0"/>
                    </a:moveTo>
                    <a:lnTo>
                      <a:pt x="33" y="0"/>
                    </a:lnTo>
                    <a:lnTo>
                      <a:pt x="27" y="0"/>
                    </a:lnTo>
                    <a:lnTo>
                      <a:pt x="21" y="2"/>
                    </a:lnTo>
                    <a:lnTo>
                      <a:pt x="15" y="4"/>
                    </a:lnTo>
                    <a:lnTo>
                      <a:pt x="11" y="8"/>
                    </a:lnTo>
                    <a:lnTo>
                      <a:pt x="11" y="8"/>
                    </a:lnTo>
                    <a:lnTo>
                      <a:pt x="6" y="13"/>
                    </a:lnTo>
                    <a:lnTo>
                      <a:pt x="2" y="19"/>
                    </a:lnTo>
                    <a:lnTo>
                      <a:pt x="0" y="24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2" y="41"/>
                    </a:lnTo>
                    <a:lnTo>
                      <a:pt x="6" y="47"/>
                    </a:lnTo>
                    <a:lnTo>
                      <a:pt x="11" y="51"/>
                    </a:lnTo>
                    <a:lnTo>
                      <a:pt x="11" y="51"/>
                    </a:lnTo>
                    <a:lnTo>
                      <a:pt x="15" y="54"/>
                    </a:lnTo>
                    <a:lnTo>
                      <a:pt x="21" y="58"/>
                    </a:lnTo>
                    <a:lnTo>
                      <a:pt x="27" y="60"/>
                    </a:lnTo>
                    <a:lnTo>
                      <a:pt x="33" y="60"/>
                    </a:lnTo>
                    <a:lnTo>
                      <a:pt x="33" y="60"/>
                    </a:lnTo>
                    <a:lnTo>
                      <a:pt x="39" y="60"/>
                    </a:lnTo>
                    <a:lnTo>
                      <a:pt x="45" y="58"/>
                    </a:lnTo>
                    <a:lnTo>
                      <a:pt x="52" y="54"/>
                    </a:lnTo>
                    <a:lnTo>
                      <a:pt x="56" y="51"/>
                    </a:lnTo>
                    <a:lnTo>
                      <a:pt x="56" y="51"/>
                    </a:lnTo>
                    <a:lnTo>
                      <a:pt x="62" y="47"/>
                    </a:lnTo>
                    <a:lnTo>
                      <a:pt x="64" y="41"/>
                    </a:lnTo>
                    <a:lnTo>
                      <a:pt x="66" y="36"/>
                    </a:lnTo>
                    <a:lnTo>
                      <a:pt x="66" y="30"/>
                    </a:lnTo>
                    <a:lnTo>
                      <a:pt x="66" y="24"/>
                    </a:lnTo>
                    <a:lnTo>
                      <a:pt x="64" y="19"/>
                    </a:lnTo>
                    <a:lnTo>
                      <a:pt x="62" y="13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2" y="4"/>
                    </a:lnTo>
                    <a:lnTo>
                      <a:pt x="45" y="2"/>
                    </a:lnTo>
                    <a:lnTo>
                      <a:pt x="39" y="0"/>
                    </a:lnTo>
                    <a:lnTo>
                      <a:pt x="3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09" name="Freeform 19"/>
              <p:cNvSpPr>
                <a:spLocks/>
              </p:cNvSpPr>
              <p:nvPr userDrawn="1"/>
            </p:nvSpPr>
            <p:spPr bwMode="auto">
              <a:xfrm>
                <a:off x="4430" y="3995"/>
                <a:ext cx="54" cy="6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7" y="2"/>
                  </a:cxn>
                  <a:cxn ang="0">
                    <a:pos x="8" y="11"/>
                  </a:cxn>
                  <a:cxn ang="0">
                    <a:pos x="8" y="11"/>
                  </a:cxn>
                  <a:cxn ang="0">
                    <a:pos x="2" y="19"/>
                  </a:cxn>
                  <a:cxn ang="0">
                    <a:pos x="0" y="31"/>
                  </a:cxn>
                  <a:cxn ang="0">
                    <a:pos x="2" y="42"/>
                  </a:cxn>
                  <a:cxn ang="0">
                    <a:pos x="8" y="52"/>
                  </a:cxn>
                  <a:cxn ang="0">
                    <a:pos x="8" y="52"/>
                  </a:cxn>
                  <a:cxn ang="0">
                    <a:pos x="17" y="58"/>
                  </a:cxn>
                  <a:cxn ang="0">
                    <a:pos x="26" y="60"/>
                  </a:cxn>
                  <a:cxn ang="0">
                    <a:pos x="26" y="60"/>
                  </a:cxn>
                  <a:cxn ang="0">
                    <a:pos x="36" y="58"/>
                  </a:cxn>
                  <a:cxn ang="0">
                    <a:pos x="45" y="52"/>
                  </a:cxn>
                  <a:cxn ang="0">
                    <a:pos x="45" y="52"/>
                  </a:cxn>
                  <a:cxn ang="0">
                    <a:pos x="51" y="42"/>
                  </a:cxn>
                  <a:cxn ang="0">
                    <a:pos x="54" y="31"/>
                  </a:cxn>
                  <a:cxn ang="0">
                    <a:pos x="51" y="19"/>
                  </a:cxn>
                  <a:cxn ang="0">
                    <a:pos x="45" y="11"/>
                  </a:cxn>
                  <a:cxn ang="0">
                    <a:pos x="45" y="11"/>
                  </a:cxn>
                  <a:cxn ang="0">
                    <a:pos x="36" y="2"/>
                  </a:cxn>
                  <a:cxn ang="0">
                    <a:pos x="26" y="0"/>
                  </a:cxn>
                </a:cxnLst>
                <a:rect l="0" t="0" r="r" b="b"/>
                <a:pathLst>
                  <a:path w="54" h="60">
                    <a:moveTo>
                      <a:pt x="26" y="0"/>
                    </a:moveTo>
                    <a:lnTo>
                      <a:pt x="26" y="0"/>
                    </a:lnTo>
                    <a:lnTo>
                      <a:pt x="17" y="2"/>
                    </a:lnTo>
                    <a:lnTo>
                      <a:pt x="8" y="11"/>
                    </a:lnTo>
                    <a:lnTo>
                      <a:pt x="8" y="11"/>
                    </a:lnTo>
                    <a:lnTo>
                      <a:pt x="2" y="19"/>
                    </a:lnTo>
                    <a:lnTo>
                      <a:pt x="0" y="31"/>
                    </a:lnTo>
                    <a:lnTo>
                      <a:pt x="2" y="4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17" y="58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36" y="58"/>
                    </a:lnTo>
                    <a:lnTo>
                      <a:pt x="45" y="52"/>
                    </a:lnTo>
                    <a:lnTo>
                      <a:pt x="45" y="52"/>
                    </a:lnTo>
                    <a:lnTo>
                      <a:pt x="51" y="42"/>
                    </a:lnTo>
                    <a:lnTo>
                      <a:pt x="54" y="31"/>
                    </a:lnTo>
                    <a:lnTo>
                      <a:pt x="51" y="19"/>
                    </a:lnTo>
                    <a:lnTo>
                      <a:pt x="45" y="11"/>
                    </a:lnTo>
                    <a:lnTo>
                      <a:pt x="45" y="11"/>
                    </a:lnTo>
                    <a:lnTo>
                      <a:pt x="36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10" name="Freeform 25"/>
              <p:cNvSpPr>
                <a:spLocks/>
              </p:cNvSpPr>
              <p:nvPr userDrawn="1"/>
            </p:nvSpPr>
            <p:spPr bwMode="auto">
              <a:xfrm>
                <a:off x="4106" y="2315"/>
                <a:ext cx="120" cy="120"/>
              </a:xfrm>
              <a:custGeom>
                <a:avLst/>
                <a:gdLst/>
                <a:ahLst/>
                <a:cxnLst>
                  <a:cxn ang="0">
                    <a:pos x="59" y="0"/>
                  </a:cxn>
                  <a:cxn ang="0">
                    <a:pos x="59" y="0"/>
                  </a:cxn>
                  <a:cxn ang="0">
                    <a:pos x="50" y="2"/>
                  </a:cxn>
                  <a:cxn ang="0">
                    <a:pos x="38" y="6"/>
                  </a:cxn>
                  <a:cxn ang="0">
                    <a:pos x="28" y="10"/>
                  </a:cxn>
                  <a:cxn ang="0">
                    <a:pos x="18" y="18"/>
                  </a:cxn>
                  <a:cxn ang="0">
                    <a:pos x="18" y="18"/>
                  </a:cxn>
                  <a:cxn ang="0">
                    <a:pos x="10" y="28"/>
                  </a:cxn>
                  <a:cxn ang="0">
                    <a:pos x="4" y="38"/>
                  </a:cxn>
                  <a:cxn ang="0">
                    <a:pos x="2" y="50"/>
                  </a:cxn>
                  <a:cxn ang="0">
                    <a:pos x="0" y="61"/>
                  </a:cxn>
                  <a:cxn ang="0">
                    <a:pos x="2" y="73"/>
                  </a:cxn>
                  <a:cxn ang="0">
                    <a:pos x="4" y="83"/>
                  </a:cxn>
                  <a:cxn ang="0">
                    <a:pos x="10" y="93"/>
                  </a:cxn>
                  <a:cxn ang="0">
                    <a:pos x="18" y="102"/>
                  </a:cxn>
                  <a:cxn ang="0">
                    <a:pos x="18" y="102"/>
                  </a:cxn>
                  <a:cxn ang="0">
                    <a:pos x="28" y="110"/>
                  </a:cxn>
                  <a:cxn ang="0">
                    <a:pos x="38" y="116"/>
                  </a:cxn>
                  <a:cxn ang="0">
                    <a:pos x="50" y="120"/>
                  </a:cxn>
                  <a:cxn ang="0">
                    <a:pos x="59" y="120"/>
                  </a:cxn>
                  <a:cxn ang="0">
                    <a:pos x="59" y="120"/>
                  </a:cxn>
                  <a:cxn ang="0">
                    <a:pos x="71" y="120"/>
                  </a:cxn>
                  <a:cxn ang="0">
                    <a:pos x="83" y="116"/>
                  </a:cxn>
                  <a:cxn ang="0">
                    <a:pos x="93" y="110"/>
                  </a:cxn>
                  <a:cxn ang="0">
                    <a:pos x="102" y="102"/>
                  </a:cxn>
                  <a:cxn ang="0">
                    <a:pos x="102" y="102"/>
                  </a:cxn>
                  <a:cxn ang="0">
                    <a:pos x="110" y="93"/>
                  </a:cxn>
                  <a:cxn ang="0">
                    <a:pos x="114" y="83"/>
                  </a:cxn>
                  <a:cxn ang="0">
                    <a:pos x="118" y="73"/>
                  </a:cxn>
                  <a:cxn ang="0">
                    <a:pos x="120" y="61"/>
                  </a:cxn>
                  <a:cxn ang="0">
                    <a:pos x="118" y="50"/>
                  </a:cxn>
                  <a:cxn ang="0">
                    <a:pos x="114" y="38"/>
                  </a:cxn>
                  <a:cxn ang="0">
                    <a:pos x="110" y="28"/>
                  </a:cxn>
                  <a:cxn ang="0">
                    <a:pos x="102" y="18"/>
                  </a:cxn>
                  <a:cxn ang="0">
                    <a:pos x="102" y="18"/>
                  </a:cxn>
                  <a:cxn ang="0">
                    <a:pos x="93" y="10"/>
                  </a:cxn>
                  <a:cxn ang="0">
                    <a:pos x="83" y="6"/>
                  </a:cxn>
                  <a:cxn ang="0">
                    <a:pos x="71" y="2"/>
                  </a:cxn>
                  <a:cxn ang="0">
                    <a:pos x="59" y="0"/>
                  </a:cxn>
                </a:cxnLst>
                <a:rect l="0" t="0" r="r" b="b"/>
                <a:pathLst>
                  <a:path w="120" h="120">
                    <a:moveTo>
                      <a:pt x="59" y="0"/>
                    </a:moveTo>
                    <a:lnTo>
                      <a:pt x="59" y="0"/>
                    </a:lnTo>
                    <a:lnTo>
                      <a:pt x="50" y="2"/>
                    </a:lnTo>
                    <a:lnTo>
                      <a:pt x="38" y="6"/>
                    </a:lnTo>
                    <a:lnTo>
                      <a:pt x="28" y="10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0" y="28"/>
                    </a:lnTo>
                    <a:lnTo>
                      <a:pt x="4" y="38"/>
                    </a:lnTo>
                    <a:lnTo>
                      <a:pt x="2" y="50"/>
                    </a:lnTo>
                    <a:lnTo>
                      <a:pt x="0" y="61"/>
                    </a:lnTo>
                    <a:lnTo>
                      <a:pt x="2" y="73"/>
                    </a:lnTo>
                    <a:lnTo>
                      <a:pt x="4" y="83"/>
                    </a:lnTo>
                    <a:lnTo>
                      <a:pt x="10" y="93"/>
                    </a:lnTo>
                    <a:lnTo>
                      <a:pt x="18" y="102"/>
                    </a:lnTo>
                    <a:lnTo>
                      <a:pt x="18" y="102"/>
                    </a:lnTo>
                    <a:lnTo>
                      <a:pt x="28" y="110"/>
                    </a:lnTo>
                    <a:lnTo>
                      <a:pt x="38" y="116"/>
                    </a:lnTo>
                    <a:lnTo>
                      <a:pt x="50" y="120"/>
                    </a:lnTo>
                    <a:lnTo>
                      <a:pt x="59" y="120"/>
                    </a:lnTo>
                    <a:lnTo>
                      <a:pt x="59" y="120"/>
                    </a:lnTo>
                    <a:lnTo>
                      <a:pt x="71" y="120"/>
                    </a:lnTo>
                    <a:lnTo>
                      <a:pt x="83" y="116"/>
                    </a:lnTo>
                    <a:lnTo>
                      <a:pt x="93" y="110"/>
                    </a:lnTo>
                    <a:lnTo>
                      <a:pt x="102" y="102"/>
                    </a:lnTo>
                    <a:lnTo>
                      <a:pt x="102" y="102"/>
                    </a:lnTo>
                    <a:lnTo>
                      <a:pt x="110" y="93"/>
                    </a:lnTo>
                    <a:lnTo>
                      <a:pt x="114" y="83"/>
                    </a:lnTo>
                    <a:lnTo>
                      <a:pt x="118" y="73"/>
                    </a:lnTo>
                    <a:lnTo>
                      <a:pt x="120" y="61"/>
                    </a:lnTo>
                    <a:lnTo>
                      <a:pt x="118" y="50"/>
                    </a:lnTo>
                    <a:lnTo>
                      <a:pt x="114" y="38"/>
                    </a:lnTo>
                    <a:lnTo>
                      <a:pt x="110" y="28"/>
                    </a:lnTo>
                    <a:lnTo>
                      <a:pt x="102" y="18"/>
                    </a:lnTo>
                    <a:lnTo>
                      <a:pt x="102" y="18"/>
                    </a:lnTo>
                    <a:lnTo>
                      <a:pt x="93" y="10"/>
                    </a:lnTo>
                    <a:lnTo>
                      <a:pt x="83" y="6"/>
                    </a:lnTo>
                    <a:lnTo>
                      <a:pt x="71" y="2"/>
                    </a:lnTo>
                    <a:lnTo>
                      <a:pt x="5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11" name="Freeform 26"/>
              <p:cNvSpPr>
                <a:spLocks/>
              </p:cNvSpPr>
              <p:nvPr userDrawn="1"/>
            </p:nvSpPr>
            <p:spPr bwMode="auto">
              <a:xfrm>
                <a:off x="4106" y="2315"/>
                <a:ext cx="120" cy="120"/>
              </a:xfrm>
              <a:custGeom>
                <a:avLst/>
                <a:gdLst/>
                <a:ahLst/>
                <a:cxnLst>
                  <a:cxn ang="0">
                    <a:pos x="59" y="0"/>
                  </a:cxn>
                  <a:cxn ang="0">
                    <a:pos x="59" y="0"/>
                  </a:cxn>
                  <a:cxn ang="0">
                    <a:pos x="50" y="2"/>
                  </a:cxn>
                  <a:cxn ang="0">
                    <a:pos x="38" y="6"/>
                  </a:cxn>
                  <a:cxn ang="0">
                    <a:pos x="28" y="10"/>
                  </a:cxn>
                  <a:cxn ang="0">
                    <a:pos x="18" y="18"/>
                  </a:cxn>
                  <a:cxn ang="0">
                    <a:pos x="18" y="18"/>
                  </a:cxn>
                  <a:cxn ang="0">
                    <a:pos x="10" y="28"/>
                  </a:cxn>
                  <a:cxn ang="0">
                    <a:pos x="4" y="38"/>
                  </a:cxn>
                  <a:cxn ang="0">
                    <a:pos x="2" y="50"/>
                  </a:cxn>
                  <a:cxn ang="0">
                    <a:pos x="0" y="61"/>
                  </a:cxn>
                  <a:cxn ang="0">
                    <a:pos x="2" y="73"/>
                  </a:cxn>
                  <a:cxn ang="0">
                    <a:pos x="4" y="83"/>
                  </a:cxn>
                  <a:cxn ang="0">
                    <a:pos x="10" y="93"/>
                  </a:cxn>
                  <a:cxn ang="0">
                    <a:pos x="18" y="102"/>
                  </a:cxn>
                  <a:cxn ang="0">
                    <a:pos x="18" y="102"/>
                  </a:cxn>
                  <a:cxn ang="0">
                    <a:pos x="28" y="110"/>
                  </a:cxn>
                  <a:cxn ang="0">
                    <a:pos x="38" y="116"/>
                  </a:cxn>
                  <a:cxn ang="0">
                    <a:pos x="50" y="120"/>
                  </a:cxn>
                  <a:cxn ang="0">
                    <a:pos x="59" y="120"/>
                  </a:cxn>
                  <a:cxn ang="0">
                    <a:pos x="59" y="120"/>
                  </a:cxn>
                  <a:cxn ang="0">
                    <a:pos x="71" y="120"/>
                  </a:cxn>
                  <a:cxn ang="0">
                    <a:pos x="83" y="116"/>
                  </a:cxn>
                  <a:cxn ang="0">
                    <a:pos x="93" y="110"/>
                  </a:cxn>
                  <a:cxn ang="0">
                    <a:pos x="102" y="102"/>
                  </a:cxn>
                  <a:cxn ang="0">
                    <a:pos x="102" y="102"/>
                  </a:cxn>
                  <a:cxn ang="0">
                    <a:pos x="110" y="93"/>
                  </a:cxn>
                  <a:cxn ang="0">
                    <a:pos x="114" y="83"/>
                  </a:cxn>
                  <a:cxn ang="0">
                    <a:pos x="118" y="73"/>
                  </a:cxn>
                  <a:cxn ang="0">
                    <a:pos x="120" y="61"/>
                  </a:cxn>
                  <a:cxn ang="0">
                    <a:pos x="118" y="50"/>
                  </a:cxn>
                  <a:cxn ang="0">
                    <a:pos x="114" y="38"/>
                  </a:cxn>
                  <a:cxn ang="0">
                    <a:pos x="110" y="28"/>
                  </a:cxn>
                  <a:cxn ang="0">
                    <a:pos x="102" y="18"/>
                  </a:cxn>
                  <a:cxn ang="0">
                    <a:pos x="102" y="18"/>
                  </a:cxn>
                  <a:cxn ang="0">
                    <a:pos x="93" y="10"/>
                  </a:cxn>
                  <a:cxn ang="0">
                    <a:pos x="83" y="6"/>
                  </a:cxn>
                  <a:cxn ang="0">
                    <a:pos x="71" y="2"/>
                  </a:cxn>
                  <a:cxn ang="0">
                    <a:pos x="59" y="0"/>
                  </a:cxn>
                </a:cxnLst>
                <a:rect l="0" t="0" r="r" b="b"/>
                <a:pathLst>
                  <a:path w="120" h="120">
                    <a:moveTo>
                      <a:pt x="59" y="0"/>
                    </a:moveTo>
                    <a:lnTo>
                      <a:pt x="59" y="0"/>
                    </a:lnTo>
                    <a:lnTo>
                      <a:pt x="50" y="2"/>
                    </a:lnTo>
                    <a:lnTo>
                      <a:pt x="38" y="6"/>
                    </a:lnTo>
                    <a:lnTo>
                      <a:pt x="28" y="10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0" y="28"/>
                    </a:lnTo>
                    <a:lnTo>
                      <a:pt x="4" y="38"/>
                    </a:lnTo>
                    <a:lnTo>
                      <a:pt x="2" y="50"/>
                    </a:lnTo>
                    <a:lnTo>
                      <a:pt x="0" y="61"/>
                    </a:lnTo>
                    <a:lnTo>
                      <a:pt x="2" y="73"/>
                    </a:lnTo>
                    <a:lnTo>
                      <a:pt x="4" y="83"/>
                    </a:lnTo>
                    <a:lnTo>
                      <a:pt x="10" y="93"/>
                    </a:lnTo>
                    <a:lnTo>
                      <a:pt x="18" y="102"/>
                    </a:lnTo>
                    <a:lnTo>
                      <a:pt x="18" y="102"/>
                    </a:lnTo>
                    <a:lnTo>
                      <a:pt x="28" y="110"/>
                    </a:lnTo>
                    <a:lnTo>
                      <a:pt x="38" y="116"/>
                    </a:lnTo>
                    <a:lnTo>
                      <a:pt x="50" y="120"/>
                    </a:lnTo>
                    <a:lnTo>
                      <a:pt x="59" y="120"/>
                    </a:lnTo>
                    <a:lnTo>
                      <a:pt x="59" y="120"/>
                    </a:lnTo>
                    <a:lnTo>
                      <a:pt x="71" y="120"/>
                    </a:lnTo>
                    <a:lnTo>
                      <a:pt x="83" y="116"/>
                    </a:lnTo>
                    <a:lnTo>
                      <a:pt x="93" y="110"/>
                    </a:lnTo>
                    <a:lnTo>
                      <a:pt x="102" y="102"/>
                    </a:lnTo>
                    <a:lnTo>
                      <a:pt x="102" y="102"/>
                    </a:lnTo>
                    <a:lnTo>
                      <a:pt x="110" y="93"/>
                    </a:lnTo>
                    <a:lnTo>
                      <a:pt x="114" y="83"/>
                    </a:lnTo>
                    <a:lnTo>
                      <a:pt x="118" y="73"/>
                    </a:lnTo>
                    <a:lnTo>
                      <a:pt x="120" y="61"/>
                    </a:lnTo>
                    <a:lnTo>
                      <a:pt x="118" y="50"/>
                    </a:lnTo>
                    <a:lnTo>
                      <a:pt x="114" y="38"/>
                    </a:lnTo>
                    <a:lnTo>
                      <a:pt x="110" y="28"/>
                    </a:lnTo>
                    <a:lnTo>
                      <a:pt x="102" y="18"/>
                    </a:lnTo>
                    <a:lnTo>
                      <a:pt x="102" y="18"/>
                    </a:lnTo>
                    <a:lnTo>
                      <a:pt x="93" y="10"/>
                    </a:lnTo>
                    <a:lnTo>
                      <a:pt x="83" y="6"/>
                    </a:lnTo>
                    <a:lnTo>
                      <a:pt x="71" y="2"/>
                    </a:lnTo>
                    <a:lnTo>
                      <a:pt x="5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12" name="Freeform 27"/>
              <p:cNvSpPr>
                <a:spLocks/>
              </p:cNvSpPr>
              <p:nvPr userDrawn="1"/>
            </p:nvSpPr>
            <p:spPr bwMode="auto">
              <a:xfrm>
                <a:off x="3926" y="2189"/>
                <a:ext cx="108" cy="108"/>
              </a:xfrm>
              <a:custGeom>
                <a:avLst/>
                <a:gdLst/>
                <a:ahLst/>
                <a:cxnLst>
                  <a:cxn ang="0">
                    <a:pos x="53" y="0"/>
                  </a:cxn>
                  <a:cxn ang="0">
                    <a:pos x="53" y="0"/>
                  </a:cxn>
                  <a:cxn ang="0">
                    <a:pos x="44" y="2"/>
                  </a:cxn>
                  <a:cxn ang="0">
                    <a:pos x="33" y="4"/>
                  </a:cxn>
                  <a:cxn ang="0">
                    <a:pos x="24" y="10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8" y="26"/>
                  </a:cxn>
                  <a:cxn ang="0">
                    <a:pos x="4" y="33"/>
                  </a:cxn>
                  <a:cxn ang="0">
                    <a:pos x="0" y="44"/>
                  </a:cxn>
                  <a:cxn ang="0">
                    <a:pos x="0" y="55"/>
                  </a:cxn>
                  <a:cxn ang="0">
                    <a:pos x="0" y="65"/>
                  </a:cxn>
                  <a:cxn ang="0">
                    <a:pos x="4" y="75"/>
                  </a:cxn>
                  <a:cxn ang="0">
                    <a:pos x="8" y="85"/>
                  </a:cxn>
                  <a:cxn ang="0">
                    <a:pos x="16" y="93"/>
                  </a:cxn>
                  <a:cxn ang="0">
                    <a:pos x="16" y="93"/>
                  </a:cxn>
                  <a:cxn ang="0">
                    <a:pos x="24" y="98"/>
                  </a:cxn>
                  <a:cxn ang="0">
                    <a:pos x="33" y="104"/>
                  </a:cxn>
                  <a:cxn ang="0">
                    <a:pos x="44" y="106"/>
                  </a:cxn>
                  <a:cxn ang="0">
                    <a:pos x="53" y="108"/>
                  </a:cxn>
                  <a:cxn ang="0">
                    <a:pos x="53" y="108"/>
                  </a:cxn>
                  <a:cxn ang="0">
                    <a:pos x="63" y="106"/>
                  </a:cxn>
                  <a:cxn ang="0">
                    <a:pos x="73" y="104"/>
                  </a:cxn>
                  <a:cxn ang="0">
                    <a:pos x="83" y="98"/>
                  </a:cxn>
                  <a:cxn ang="0">
                    <a:pos x="93" y="93"/>
                  </a:cxn>
                  <a:cxn ang="0">
                    <a:pos x="93" y="93"/>
                  </a:cxn>
                  <a:cxn ang="0">
                    <a:pos x="98" y="85"/>
                  </a:cxn>
                  <a:cxn ang="0">
                    <a:pos x="104" y="75"/>
                  </a:cxn>
                  <a:cxn ang="0">
                    <a:pos x="106" y="65"/>
                  </a:cxn>
                  <a:cxn ang="0">
                    <a:pos x="108" y="55"/>
                  </a:cxn>
                  <a:cxn ang="0">
                    <a:pos x="106" y="44"/>
                  </a:cxn>
                  <a:cxn ang="0">
                    <a:pos x="104" y="33"/>
                  </a:cxn>
                  <a:cxn ang="0">
                    <a:pos x="98" y="26"/>
                  </a:cxn>
                  <a:cxn ang="0">
                    <a:pos x="93" y="16"/>
                  </a:cxn>
                  <a:cxn ang="0">
                    <a:pos x="93" y="16"/>
                  </a:cxn>
                  <a:cxn ang="0">
                    <a:pos x="83" y="10"/>
                  </a:cxn>
                  <a:cxn ang="0">
                    <a:pos x="73" y="4"/>
                  </a:cxn>
                  <a:cxn ang="0">
                    <a:pos x="63" y="2"/>
                  </a:cxn>
                  <a:cxn ang="0">
                    <a:pos x="53" y="0"/>
                  </a:cxn>
                </a:cxnLst>
                <a:rect l="0" t="0" r="r" b="b"/>
                <a:pathLst>
                  <a:path w="108" h="108">
                    <a:moveTo>
                      <a:pt x="53" y="0"/>
                    </a:moveTo>
                    <a:lnTo>
                      <a:pt x="53" y="0"/>
                    </a:lnTo>
                    <a:lnTo>
                      <a:pt x="44" y="2"/>
                    </a:lnTo>
                    <a:lnTo>
                      <a:pt x="33" y="4"/>
                    </a:lnTo>
                    <a:lnTo>
                      <a:pt x="24" y="10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8" y="26"/>
                    </a:lnTo>
                    <a:lnTo>
                      <a:pt x="4" y="33"/>
                    </a:lnTo>
                    <a:lnTo>
                      <a:pt x="0" y="44"/>
                    </a:lnTo>
                    <a:lnTo>
                      <a:pt x="0" y="55"/>
                    </a:lnTo>
                    <a:lnTo>
                      <a:pt x="0" y="65"/>
                    </a:lnTo>
                    <a:lnTo>
                      <a:pt x="4" y="75"/>
                    </a:lnTo>
                    <a:lnTo>
                      <a:pt x="8" y="85"/>
                    </a:lnTo>
                    <a:lnTo>
                      <a:pt x="16" y="93"/>
                    </a:lnTo>
                    <a:lnTo>
                      <a:pt x="16" y="93"/>
                    </a:lnTo>
                    <a:lnTo>
                      <a:pt x="24" y="98"/>
                    </a:lnTo>
                    <a:lnTo>
                      <a:pt x="33" y="104"/>
                    </a:lnTo>
                    <a:lnTo>
                      <a:pt x="44" y="106"/>
                    </a:lnTo>
                    <a:lnTo>
                      <a:pt x="53" y="108"/>
                    </a:lnTo>
                    <a:lnTo>
                      <a:pt x="53" y="108"/>
                    </a:lnTo>
                    <a:lnTo>
                      <a:pt x="63" y="106"/>
                    </a:lnTo>
                    <a:lnTo>
                      <a:pt x="73" y="104"/>
                    </a:lnTo>
                    <a:lnTo>
                      <a:pt x="83" y="98"/>
                    </a:lnTo>
                    <a:lnTo>
                      <a:pt x="93" y="93"/>
                    </a:lnTo>
                    <a:lnTo>
                      <a:pt x="93" y="93"/>
                    </a:lnTo>
                    <a:lnTo>
                      <a:pt x="98" y="85"/>
                    </a:lnTo>
                    <a:lnTo>
                      <a:pt x="104" y="75"/>
                    </a:lnTo>
                    <a:lnTo>
                      <a:pt x="106" y="65"/>
                    </a:lnTo>
                    <a:lnTo>
                      <a:pt x="108" y="55"/>
                    </a:lnTo>
                    <a:lnTo>
                      <a:pt x="106" y="44"/>
                    </a:lnTo>
                    <a:lnTo>
                      <a:pt x="104" y="33"/>
                    </a:lnTo>
                    <a:lnTo>
                      <a:pt x="98" y="26"/>
                    </a:lnTo>
                    <a:lnTo>
                      <a:pt x="93" y="16"/>
                    </a:lnTo>
                    <a:lnTo>
                      <a:pt x="93" y="16"/>
                    </a:lnTo>
                    <a:lnTo>
                      <a:pt x="83" y="10"/>
                    </a:lnTo>
                    <a:lnTo>
                      <a:pt x="73" y="4"/>
                    </a:lnTo>
                    <a:lnTo>
                      <a:pt x="63" y="2"/>
                    </a:lnTo>
                    <a:lnTo>
                      <a:pt x="5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13" name="Freeform 28"/>
              <p:cNvSpPr>
                <a:spLocks/>
              </p:cNvSpPr>
              <p:nvPr userDrawn="1"/>
            </p:nvSpPr>
            <p:spPr bwMode="auto">
              <a:xfrm>
                <a:off x="3926" y="2189"/>
                <a:ext cx="108" cy="108"/>
              </a:xfrm>
              <a:custGeom>
                <a:avLst/>
                <a:gdLst/>
                <a:ahLst/>
                <a:cxnLst>
                  <a:cxn ang="0">
                    <a:pos x="53" y="0"/>
                  </a:cxn>
                  <a:cxn ang="0">
                    <a:pos x="53" y="0"/>
                  </a:cxn>
                  <a:cxn ang="0">
                    <a:pos x="44" y="2"/>
                  </a:cxn>
                  <a:cxn ang="0">
                    <a:pos x="33" y="4"/>
                  </a:cxn>
                  <a:cxn ang="0">
                    <a:pos x="24" y="10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8" y="26"/>
                  </a:cxn>
                  <a:cxn ang="0">
                    <a:pos x="4" y="33"/>
                  </a:cxn>
                  <a:cxn ang="0">
                    <a:pos x="0" y="44"/>
                  </a:cxn>
                  <a:cxn ang="0">
                    <a:pos x="0" y="55"/>
                  </a:cxn>
                  <a:cxn ang="0">
                    <a:pos x="0" y="65"/>
                  </a:cxn>
                  <a:cxn ang="0">
                    <a:pos x="4" y="75"/>
                  </a:cxn>
                  <a:cxn ang="0">
                    <a:pos x="8" y="85"/>
                  </a:cxn>
                  <a:cxn ang="0">
                    <a:pos x="16" y="93"/>
                  </a:cxn>
                  <a:cxn ang="0">
                    <a:pos x="16" y="93"/>
                  </a:cxn>
                  <a:cxn ang="0">
                    <a:pos x="24" y="98"/>
                  </a:cxn>
                  <a:cxn ang="0">
                    <a:pos x="33" y="104"/>
                  </a:cxn>
                  <a:cxn ang="0">
                    <a:pos x="44" y="106"/>
                  </a:cxn>
                  <a:cxn ang="0">
                    <a:pos x="53" y="108"/>
                  </a:cxn>
                  <a:cxn ang="0">
                    <a:pos x="53" y="108"/>
                  </a:cxn>
                  <a:cxn ang="0">
                    <a:pos x="63" y="106"/>
                  </a:cxn>
                  <a:cxn ang="0">
                    <a:pos x="73" y="104"/>
                  </a:cxn>
                  <a:cxn ang="0">
                    <a:pos x="83" y="98"/>
                  </a:cxn>
                  <a:cxn ang="0">
                    <a:pos x="93" y="93"/>
                  </a:cxn>
                  <a:cxn ang="0">
                    <a:pos x="93" y="93"/>
                  </a:cxn>
                  <a:cxn ang="0">
                    <a:pos x="98" y="85"/>
                  </a:cxn>
                  <a:cxn ang="0">
                    <a:pos x="104" y="75"/>
                  </a:cxn>
                  <a:cxn ang="0">
                    <a:pos x="106" y="65"/>
                  </a:cxn>
                  <a:cxn ang="0">
                    <a:pos x="108" y="55"/>
                  </a:cxn>
                  <a:cxn ang="0">
                    <a:pos x="106" y="44"/>
                  </a:cxn>
                  <a:cxn ang="0">
                    <a:pos x="104" y="33"/>
                  </a:cxn>
                  <a:cxn ang="0">
                    <a:pos x="98" y="26"/>
                  </a:cxn>
                  <a:cxn ang="0">
                    <a:pos x="93" y="16"/>
                  </a:cxn>
                  <a:cxn ang="0">
                    <a:pos x="93" y="16"/>
                  </a:cxn>
                  <a:cxn ang="0">
                    <a:pos x="83" y="10"/>
                  </a:cxn>
                  <a:cxn ang="0">
                    <a:pos x="73" y="4"/>
                  </a:cxn>
                  <a:cxn ang="0">
                    <a:pos x="63" y="2"/>
                  </a:cxn>
                  <a:cxn ang="0">
                    <a:pos x="53" y="0"/>
                  </a:cxn>
                </a:cxnLst>
                <a:rect l="0" t="0" r="r" b="b"/>
                <a:pathLst>
                  <a:path w="108" h="108">
                    <a:moveTo>
                      <a:pt x="53" y="0"/>
                    </a:moveTo>
                    <a:lnTo>
                      <a:pt x="53" y="0"/>
                    </a:lnTo>
                    <a:lnTo>
                      <a:pt x="44" y="2"/>
                    </a:lnTo>
                    <a:lnTo>
                      <a:pt x="33" y="4"/>
                    </a:lnTo>
                    <a:lnTo>
                      <a:pt x="24" y="10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8" y="26"/>
                    </a:lnTo>
                    <a:lnTo>
                      <a:pt x="4" y="33"/>
                    </a:lnTo>
                    <a:lnTo>
                      <a:pt x="0" y="44"/>
                    </a:lnTo>
                    <a:lnTo>
                      <a:pt x="0" y="55"/>
                    </a:lnTo>
                    <a:lnTo>
                      <a:pt x="0" y="65"/>
                    </a:lnTo>
                    <a:lnTo>
                      <a:pt x="4" y="75"/>
                    </a:lnTo>
                    <a:lnTo>
                      <a:pt x="8" y="85"/>
                    </a:lnTo>
                    <a:lnTo>
                      <a:pt x="16" y="93"/>
                    </a:lnTo>
                    <a:lnTo>
                      <a:pt x="16" y="93"/>
                    </a:lnTo>
                    <a:lnTo>
                      <a:pt x="24" y="98"/>
                    </a:lnTo>
                    <a:lnTo>
                      <a:pt x="33" y="104"/>
                    </a:lnTo>
                    <a:lnTo>
                      <a:pt x="44" y="106"/>
                    </a:lnTo>
                    <a:lnTo>
                      <a:pt x="53" y="108"/>
                    </a:lnTo>
                    <a:lnTo>
                      <a:pt x="53" y="108"/>
                    </a:lnTo>
                    <a:lnTo>
                      <a:pt x="63" y="106"/>
                    </a:lnTo>
                    <a:lnTo>
                      <a:pt x="73" y="104"/>
                    </a:lnTo>
                    <a:lnTo>
                      <a:pt x="83" y="98"/>
                    </a:lnTo>
                    <a:lnTo>
                      <a:pt x="93" y="93"/>
                    </a:lnTo>
                    <a:lnTo>
                      <a:pt x="93" y="93"/>
                    </a:lnTo>
                    <a:lnTo>
                      <a:pt x="98" y="85"/>
                    </a:lnTo>
                    <a:lnTo>
                      <a:pt x="104" y="75"/>
                    </a:lnTo>
                    <a:lnTo>
                      <a:pt x="106" y="65"/>
                    </a:lnTo>
                    <a:lnTo>
                      <a:pt x="108" y="55"/>
                    </a:lnTo>
                    <a:lnTo>
                      <a:pt x="106" y="44"/>
                    </a:lnTo>
                    <a:lnTo>
                      <a:pt x="104" y="33"/>
                    </a:lnTo>
                    <a:lnTo>
                      <a:pt x="98" y="26"/>
                    </a:lnTo>
                    <a:lnTo>
                      <a:pt x="93" y="16"/>
                    </a:lnTo>
                    <a:lnTo>
                      <a:pt x="93" y="16"/>
                    </a:lnTo>
                    <a:lnTo>
                      <a:pt x="83" y="10"/>
                    </a:lnTo>
                    <a:lnTo>
                      <a:pt x="73" y="4"/>
                    </a:lnTo>
                    <a:lnTo>
                      <a:pt x="63" y="2"/>
                    </a:lnTo>
                    <a:lnTo>
                      <a:pt x="5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14" name="Freeform 29"/>
              <p:cNvSpPr>
                <a:spLocks/>
              </p:cNvSpPr>
              <p:nvPr userDrawn="1"/>
            </p:nvSpPr>
            <p:spPr bwMode="auto">
              <a:xfrm>
                <a:off x="3722" y="2099"/>
                <a:ext cx="102" cy="96"/>
              </a:xfrm>
              <a:custGeom>
                <a:avLst/>
                <a:gdLst/>
                <a:ahLst/>
                <a:cxnLst>
                  <a:cxn ang="0">
                    <a:pos x="50" y="0"/>
                  </a:cxn>
                  <a:cxn ang="0">
                    <a:pos x="50" y="0"/>
                  </a:cxn>
                  <a:cxn ang="0">
                    <a:pos x="40" y="0"/>
                  </a:cxn>
                  <a:cxn ang="0">
                    <a:pos x="32" y="4"/>
                  </a:cxn>
                  <a:cxn ang="0">
                    <a:pos x="23" y="8"/>
                  </a:cxn>
                  <a:cxn ang="0">
                    <a:pos x="15" y="14"/>
                  </a:cxn>
                  <a:cxn ang="0">
                    <a:pos x="15" y="14"/>
                  </a:cxn>
                  <a:cxn ang="0">
                    <a:pos x="9" y="22"/>
                  </a:cxn>
                  <a:cxn ang="0">
                    <a:pos x="2" y="30"/>
                  </a:cxn>
                  <a:cxn ang="0">
                    <a:pos x="0" y="39"/>
                  </a:cxn>
                  <a:cxn ang="0">
                    <a:pos x="0" y="47"/>
                  </a:cxn>
                  <a:cxn ang="0">
                    <a:pos x="0" y="57"/>
                  </a:cxn>
                  <a:cxn ang="0">
                    <a:pos x="2" y="67"/>
                  </a:cxn>
                  <a:cxn ang="0">
                    <a:pos x="9" y="75"/>
                  </a:cxn>
                  <a:cxn ang="0">
                    <a:pos x="15" y="83"/>
                  </a:cxn>
                  <a:cxn ang="0">
                    <a:pos x="15" y="83"/>
                  </a:cxn>
                  <a:cxn ang="0">
                    <a:pos x="23" y="89"/>
                  </a:cxn>
                  <a:cxn ang="0">
                    <a:pos x="32" y="92"/>
                  </a:cxn>
                  <a:cxn ang="0">
                    <a:pos x="40" y="96"/>
                  </a:cxn>
                  <a:cxn ang="0">
                    <a:pos x="50" y="96"/>
                  </a:cxn>
                  <a:cxn ang="0">
                    <a:pos x="50" y="96"/>
                  </a:cxn>
                  <a:cxn ang="0">
                    <a:pos x="60" y="96"/>
                  </a:cxn>
                  <a:cxn ang="0">
                    <a:pos x="69" y="92"/>
                  </a:cxn>
                  <a:cxn ang="0">
                    <a:pos x="79" y="89"/>
                  </a:cxn>
                  <a:cxn ang="0">
                    <a:pos x="88" y="83"/>
                  </a:cxn>
                  <a:cxn ang="0">
                    <a:pos x="88" y="83"/>
                  </a:cxn>
                  <a:cxn ang="0">
                    <a:pos x="94" y="75"/>
                  </a:cxn>
                  <a:cxn ang="0">
                    <a:pos x="98" y="67"/>
                  </a:cxn>
                  <a:cxn ang="0">
                    <a:pos x="100" y="57"/>
                  </a:cxn>
                  <a:cxn ang="0">
                    <a:pos x="102" y="47"/>
                  </a:cxn>
                  <a:cxn ang="0">
                    <a:pos x="100" y="39"/>
                  </a:cxn>
                  <a:cxn ang="0">
                    <a:pos x="98" y="30"/>
                  </a:cxn>
                  <a:cxn ang="0">
                    <a:pos x="94" y="22"/>
                  </a:cxn>
                  <a:cxn ang="0">
                    <a:pos x="88" y="14"/>
                  </a:cxn>
                  <a:cxn ang="0">
                    <a:pos x="88" y="14"/>
                  </a:cxn>
                  <a:cxn ang="0">
                    <a:pos x="79" y="8"/>
                  </a:cxn>
                  <a:cxn ang="0">
                    <a:pos x="69" y="4"/>
                  </a:cxn>
                  <a:cxn ang="0">
                    <a:pos x="60" y="0"/>
                  </a:cxn>
                  <a:cxn ang="0">
                    <a:pos x="50" y="0"/>
                  </a:cxn>
                </a:cxnLst>
                <a:rect l="0" t="0" r="r" b="b"/>
                <a:pathLst>
                  <a:path w="102" h="96">
                    <a:moveTo>
                      <a:pt x="50" y="0"/>
                    </a:moveTo>
                    <a:lnTo>
                      <a:pt x="50" y="0"/>
                    </a:lnTo>
                    <a:lnTo>
                      <a:pt x="40" y="0"/>
                    </a:lnTo>
                    <a:lnTo>
                      <a:pt x="32" y="4"/>
                    </a:lnTo>
                    <a:lnTo>
                      <a:pt x="23" y="8"/>
                    </a:lnTo>
                    <a:lnTo>
                      <a:pt x="15" y="14"/>
                    </a:lnTo>
                    <a:lnTo>
                      <a:pt x="15" y="14"/>
                    </a:lnTo>
                    <a:lnTo>
                      <a:pt x="9" y="22"/>
                    </a:lnTo>
                    <a:lnTo>
                      <a:pt x="2" y="30"/>
                    </a:lnTo>
                    <a:lnTo>
                      <a:pt x="0" y="39"/>
                    </a:lnTo>
                    <a:lnTo>
                      <a:pt x="0" y="47"/>
                    </a:lnTo>
                    <a:lnTo>
                      <a:pt x="0" y="57"/>
                    </a:lnTo>
                    <a:lnTo>
                      <a:pt x="2" y="67"/>
                    </a:lnTo>
                    <a:lnTo>
                      <a:pt x="9" y="75"/>
                    </a:lnTo>
                    <a:lnTo>
                      <a:pt x="15" y="83"/>
                    </a:lnTo>
                    <a:lnTo>
                      <a:pt x="15" y="83"/>
                    </a:lnTo>
                    <a:lnTo>
                      <a:pt x="23" y="89"/>
                    </a:lnTo>
                    <a:lnTo>
                      <a:pt x="32" y="92"/>
                    </a:lnTo>
                    <a:lnTo>
                      <a:pt x="4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60" y="96"/>
                    </a:lnTo>
                    <a:lnTo>
                      <a:pt x="69" y="92"/>
                    </a:lnTo>
                    <a:lnTo>
                      <a:pt x="79" y="89"/>
                    </a:lnTo>
                    <a:lnTo>
                      <a:pt x="88" y="83"/>
                    </a:lnTo>
                    <a:lnTo>
                      <a:pt x="88" y="83"/>
                    </a:lnTo>
                    <a:lnTo>
                      <a:pt x="94" y="75"/>
                    </a:lnTo>
                    <a:lnTo>
                      <a:pt x="98" y="67"/>
                    </a:lnTo>
                    <a:lnTo>
                      <a:pt x="100" y="57"/>
                    </a:lnTo>
                    <a:lnTo>
                      <a:pt x="102" y="47"/>
                    </a:lnTo>
                    <a:lnTo>
                      <a:pt x="100" y="39"/>
                    </a:lnTo>
                    <a:lnTo>
                      <a:pt x="98" y="30"/>
                    </a:lnTo>
                    <a:lnTo>
                      <a:pt x="94" y="22"/>
                    </a:lnTo>
                    <a:lnTo>
                      <a:pt x="88" y="14"/>
                    </a:lnTo>
                    <a:lnTo>
                      <a:pt x="88" y="14"/>
                    </a:lnTo>
                    <a:lnTo>
                      <a:pt x="79" y="8"/>
                    </a:lnTo>
                    <a:lnTo>
                      <a:pt x="69" y="4"/>
                    </a:lnTo>
                    <a:lnTo>
                      <a:pt x="60" y="0"/>
                    </a:lnTo>
                    <a:lnTo>
                      <a:pt x="5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15" name="Freeform 30"/>
              <p:cNvSpPr>
                <a:spLocks/>
              </p:cNvSpPr>
              <p:nvPr userDrawn="1"/>
            </p:nvSpPr>
            <p:spPr bwMode="auto">
              <a:xfrm>
                <a:off x="3722" y="2099"/>
                <a:ext cx="102" cy="96"/>
              </a:xfrm>
              <a:custGeom>
                <a:avLst/>
                <a:gdLst/>
                <a:ahLst/>
                <a:cxnLst>
                  <a:cxn ang="0">
                    <a:pos x="50" y="0"/>
                  </a:cxn>
                  <a:cxn ang="0">
                    <a:pos x="50" y="0"/>
                  </a:cxn>
                  <a:cxn ang="0">
                    <a:pos x="40" y="0"/>
                  </a:cxn>
                  <a:cxn ang="0">
                    <a:pos x="32" y="4"/>
                  </a:cxn>
                  <a:cxn ang="0">
                    <a:pos x="23" y="8"/>
                  </a:cxn>
                  <a:cxn ang="0">
                    <a:pos x="15" y="14"/>
                  </a:cxn>
                  <a:cxn ang="0">
                    <a:pos x="15" y="14"/>
                  </a:cxn>
                  <a:cxn ang="0">
                    <a:pos x="9" y="22"/>
                  </a:cxn>
                  <a:cxn ang="0">
                    <a:pos x="2" y="30"/>
                  </a:cxn>
                  <a:cxn ang="0">
                    <a:pos x="0" y="39"/>
                  </a:cxn>
                  <a:cxn ang="0">
                    <a:pos x="0" y="47"/>
                  </a:cxn>
                  <a:cxn ang="0">
                    <a:pos x="0" y="57"/>
                  </a:cxn>
                  <a:cxn ang="0">
                    <a:pos x="2" y="67"/>
                  </a:cxn>
                  <a:cxn ang="0">
                    <a:pos x="9" y="75"/>
                  </a:cxn>
                  <a:cxn ang="0">
                    <a:pos x="15" y="83"/>
                  </a:cxn>
                  <a:cxn ang="0">
                    <a:pos x="15" y="83"/>
                  </a:cxn>
                  <a:cxn ang="0">
                    <a:pos x="23" y="89"/>
                  </a:cxn>
                  <a:cxn ang="0">
                    <a:pos x="32" y="92"/>
                  </a:cxn>
                  <a:cxn ang="0">
                    <a:pos x="40" y="96"/>
                  </a:cxn>
                  <a:cxn ang="0">
                    <a:pos x="50" y="96"/>
                  </a:cxn>
                  <a:cxn ang="0">
                    <a:pos x="50" y="96"/>
                  </a:cxn>
                  <a:cxn ang="0">
                    <a:pos x="60" y="96"/>
                  </a:cxn>
                  <a:cxn ang="0">
                    <a:pos x="69" y="92"/>
                  </a:cxn>
                  <a:cxn ang="0">
                    <a:pos x="79" y="89"/>
                  </a:cxn>
                  <a:cxn ang="0">
                    <a:pos x="88" y="83"/>
                  </a:cxn>
                  <a:cxn ang="0">
                    <a:pos x="88" y="83"/>
                  </a:cxn>
                  <a:cxn ang="0">
                    <a:pos x="94" y="75"/>
                  </a:cxn>
                  <a:cxn ang="0">
                    <a:pos x="98" y="67"/>
                  </a:cxn>
                  <a:cxn ang="0">
                    <a:pos x="100" y="57"/>
                  </a:cxn>
                  <a:cxn ang="0">
                    <a:pos x="102" y="47"/>
                  </a:cxn>
                  <a:cxn ang="0">
                    <a:pos x="100" y="39"/>
                  </a:cxn>
                  <a:cxn ang="0">
                    <a:pos x="98" y="30"/>
                  </a:cxn>
                  <a:cxn ang="0">
                    <a:pos x="94" y="22"/>
                  </a:cxn>
                  <a:cxn ang="0">
                    <a:pos x="88" y="14"/>
                  </a:cxn>
                  <a:cxn ang="0">
                    <a:pos x="88" y="14"/>
                  </a:cxn>
                  <a:cxn ang="0">
                    <a:pos x="79" y="8"/>
                  </a:cxn>
                  <a:cxn ang="0">
                    <a:pos x="69" y="4"/>
                  </a:cxn>
                  <a:cxn ang="0">
                    <a:pos x="60" y="0"/>
                  </a:cxn>
                  <a:cxn ang="0">
                    <a:pos x="50" y="0"/>
                  </a:cxn>
                </a:cxnLst>
                <a:rect l="0" t="0" r="r" b="b"/>
                <a:pathLst>
                  <a:path w="102" h="96">
                    <a:moveTo>
                      <a:pt x="50" y="0"/>
                    </a:moveTo>
                    <a:lnTo>
                      <a:pt x="50" y="0"/>
                    </a:lnTo>
                    <a:lnTo>
                      <a:pt x="40" y="0"/>
                    </a:lnTo>
                    <a:lnTo>
                      <a:pt x="32" y="4"/>
                    </a:lnTo>
                    <a:lnTo>
                      <a:pt x="23" y="8"/>
                    </a:lnTo>
                    <a:lnTo>
                      <a:pt x="15" y="14"/>
                    </a:lnTo>
                    <a:lnTo>
                      <a:pt x="15" y="14"/>
                    </a:lnTo>
                    <a:lnTo>
                      <a:pt x="9" y="22"/>
                    </a:lnTo>
                    <a:lnTo>
                      <a:pt x="2" y="30"/>
                    </a:lnTo>
                    <a:lnTo>
                      <a:pt x="0" y="39"/>
                    </a:lnTo>
                    <a:lnTo>
                      <a:pt x="0" y="47"/>
                    </a:lnTo>
                    <a:lnTo>
                      <a:pt x="0" y="57"/>
                    </a:lnTo>
                    <a:lnTo>
                      <a:pt x="2" y="67"/>
                    </a:lnTo>
                    <a:lnTo>
                      <a:pt x="9" y="75"/>
                    </a:lnTo>
                    <a:lnTo>
                      <a:pt x="15" y="83"/>
                    </a:lnTo>
                    <a:lnTo>
                      <a:pt x="15" y="83"/>
                    </a:lnTo>
                    <a:lnTo>
                      <a:pt x="23" y="89"/>
                    </a:lnTo>
                    <a:lnTo>
                      <a:pt x="32" y="92"/>
                    </a:lnTo>
                    <a:lnTo>
                      <a:pt x="4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60" y="96"/>
                    </a:lnTo>
                    <a:lnTo>
                      <a:pt x="69" y="92"/>
                    </a:lnTo>
                    <a:lnTo>
                      <a:pt x="79" y="89"/>
                    </a:lnTo>
                    <a:lnTo>
                      <a:pt x="88" y="83"/>
                    </a:lnTo>
                    <a:lnTo>
                      <a:pt x="88" y="83"/>
                    </a:lnTo>
                    <a:lnTo>
                      <a:pt x="94" y="75"/>
                    </a:lnTo>
                    <a:lnTo>
                      <a:pt x="98" y="67"/>
                    </a:lnTo>
                    <a:lnTo>
                      <a:pt x="100" y="57"/>
                    </a:lnTo>
                    <a:lnTo>
                      <a:pt x="102" y="47"/>
                    </a:lnTo>
                    <a:lnTo>
                      <a:pt x="100" y="39"/>
                    </a:lnTo>
                    <a:lnTo>
                      <a:pt x="98" y="30"/>
                    </a:lnTo>
                    <a:lnTo>
                      <a:pt x="94" y="22"/>
                    </a:lnTo>
                    <a:lnTo>
                      <a:pt x="88" y="14"/>
                    </a:lnTo>
                    <a:lnTo>
                      <a:pt x="88" y="14"/>
                    </a:lnTo>
                    <a:lnTo>
                      <a:pt x="79" y="8"/>
                    </a:lnTo>
                    <a:lnTo>
                      <a:pt x="69" y="4"/>
                    </a:lnTo>
                    <a:lnTo>
                      <a:pt x="60" y="0"/>
                    </a:lnTo>
                    <a:lnTo>
                      <a:pt x="5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16" name="Freeform 31"/>
              <p:cNvSpPr>
                <a:spLocks/>
              </p:cNvSpPr>
              <p:nvPr userDrawn="1"/>
            </p:nvSpPr>
            <p:spPr bwMode="auto">
              <a:xfrm>
                <a:off x="3506" y="2045"/>
                <a:ext cx="90" cy="90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45" y="0"/>
                  </a:cxn>
                  <a:cxn ang="0">
                    <a:pos x="37" y="0"/>
                  </a:cxn>
                  <a:cxn ang="0">
                    <a:pos x="29" y="4"/>
                  </a:cxn>
                  <a:cxn ang="0">
                    <a:pos x="21" y="8"/>
                  </a:cxn>
                  <a:cxn ang="0">
                    <a:pos x="15" y="12"/>
                  </a:cxn>
                  <a:cxn ang="0">
                    <a:pos x="15" y="12"/>
                  </a:cxn>
                  <a:cxn ang="0">
                    <a:pos x="8" y="21"/>
                  </a:cxn>
                  <a:cxn ang="0">
                    <a:pos x="4" y="29"/>
                  </a:cxn>
                  <a:cxn ang="0">
                    <a:pos x="2" y="37"/>
                  </a:cxn>
                  <a:cxn ang="0">
                    <a:pos x="0" y="45"/>
                  </a:cxn>
                  <a:cxn ang="0">
                    <a:pos x="2" y="53"/>
                  </a:cxn>
                  <a:cxn ang="0">
                    <a:pos x="4" y="62"/>
                  </a:cxn>
                  <a:cxn ang="0">
                    <a:pos x="8" y="70"/>
                  </a:cxn>
                  <a:cxn ang="0">
                    <a:pos x="15" y="78"/>
                  </a:cxn>
                  <a:cxn ang="0">
                    <a:pos x="15" y="78"/>
                  </a:cxn>
                  <a:cxn ang="0">
                    <a:pos x="21" y="84"/>
                  </a:cxn>
                  <a:cxn ang="0">
                    <a:pos x="29" y="88"/>
                  </a:cxn>
                  <a:cxn ang="0">
                    <a:pos x="37" y="90"/>
                  </a:cxn>
                  <a:cxn ang="0">
                    <a:pos x="45" y="90"/>
                  </a:cxn>
                  <a:cxn ang="0">
                    <a:pos x="45" y="90"/>
                  </a:cxn>
                  <a:cxn ang="0">
                    <a:pos x="56" y="90"/>
                  </a:cxn>
                  <a:cxn ang="0">
                    <a:pos x="64" y="88"/>
                  </a:cxn>
                  <a:cxn ang="0">
                    <a:pos x="70" y="84"/>
                  </a:cxn>
                  <a:cxn ang="0">
                    <a:pos x="78" y="78"/>
                  </a:cxn>
                  <a:cxn ang="0">
                    <a:pos x="78" y="78"/>
                  </a:cxn>
                  <a:cxn ang="0">
                    <a:pos x="84" y="70"/>
                  </a:cxn>
                  <a:cxn ang="0">
                    <a:pos x="88" y="62"/>
                  </a:cxn>
                  <a:cxn ang="0">
                    <a:pos x="90" y="53"/>
                  </a:cxn>
                  <a:cxn ang="0">
                    <a:pos x="90" y="45"/>
                  </a:cxn>
                  <a:cxn ang="0">
                    <a:pos x="90" y="37"/>
                  </a:cxn>
                  <a:cxn ang="0">
                    <a:pos x="88" y="29"/>
                  </a:cxn>
                  <a:cxn ang="0">
                    <a:pos x="84" y="21"/>
                  </a:cxn>
                  <a:cxn ang="0">
                    <a:pos x="78" y="12"/>
                  </a:cxn>
                  <a:cxn ang="0">
                    <a:pos x="78" y="12"/>
                  </a:cxn>
                  <a:cxn ang="0">
                    <a:pos x="70" y="8"/>
                  </a:cxn>
                  <a:cxn ang="0">
                    <a:pos x="64" y="4"/>
                  </a:cxn>
                  <a:cxn ang="0">
                    <a:pos x="56" y="0"/>
                  </a:cxn>
                  <a:cxn ang="0">
                    <a:pos x="45" y="0"/>
                  </a:cxn>
                </a:cxnLst>
                <a:rect l="0" t="0" r="r" b="b"/>
                <a:pathLst>
                  <a:path w="90" h="90">
                    <a:moveTo>
                      <a:pt x="45" y="0"/>
                    </a:moveTo>
                    <a:lnTo>
                      <a:pt x="45" y="0"/>
                    </a:lnTo>
                    <a:lnTo>
                      <a:pt x="37" y="0"/>
                    </a:lnTo>
                    <a:lnTo>
                      <a:pt x="29" y="4"/>
                    </a:lnTo>
                    <a:lnTo>
                      <a:pt x="21" y="8"/>
                    </a:lnTo>
                    <a:lnTo>
                      <a:pt x="15" y="12"/>
                    </a:lnTo>
                    <a:lnTo>
                      <a:pt x="15" y="12"/>
                    </a:lnTo>
                    <a:lnTo>
                      <a:pt x="8" y="21"/>
                    </a:lnTo>
                    <a:lnTo>
                      <a:pt x="4" y="29"/>
                    </a:lnTo>
                    <a:lnTo>
                      <a:pt x="2" y="37"/>
                    </a:lnTo>
                    <a:lnTo>
                      <a:pt x="0" y="45"/>
                    </a:lnTo>
                    <a:lnTo>
                      <a:pt x="2" y="53"/>
                    </a:lnTo>
                    <a:lnTo>
                      <a:pt x="4" y="62"/>
                    </a:lnTo>
                    <a:lnTo>
                      <a:pt x="8" y="70"/>
                    </a:lnTo>
                    <a:lnTo>
                      <a:pt x="15" y="78"/>
                    </a:lnTo>
                    <a:lnTo>
                      <a:pt x="15" y="78"/>
                    </a:lnTo>
                    <a:lnTo>
                      <a:pt x="21" y="84"/>
                    </a:lnTo>
                    <a:lnTo>
                      <a:pt x="29" y="88"/>
                    </a:lnTo>
                    <a:lnTo>
                      <a:pt x="37" y="90"/>
                    </a:lnTo>
                    <a:lnTo>
                      <a:pt x="45" y="90"/>
                    </a:lnTo>
                    <a:lnTo>
                      <a:pt x="45" y="90"/>
                    </a:lnTo>
                    <a:lnTo>
                      <a:pt x="56" y="90"/>
                    </a:lnTo>
                    <a:lnTo>
                      <a:pt x="64" y="88"/>
                    </a:lnTo>
                    <a:lnTo>
                      <a:pt x="70" y="84"/>
                    </a:lnTo>
                    <a:lnTo>
                      <a:pt x="78" y="78"/>
                    </a:lnTo>
                    <a:lnTo>
                      <a:pt x="78" y="78"/>
                    </a:lnTo>
                    <a:lnTo>
                      <a:pt x="84" y="70"/>
                    </a:lnTo>
                    <a:lnTo>
                      <a:pt x="88" y="62"/>
                    </a:lnTo>
                    <a:lnTo>
                      <a:pt x="90" y="53"/>
                    </a:lnTo>
                    <a:lnTo>
                      <a:pt x="90" y="45"/>
                    </a:lnTo>
                    <a:lnTo>
                      <a:pt x="90" y="37"/>
                    </a:lnTo>
                    <a:lnTo>
                      <a:pt x="88" y="29"/>
                    </a:lnTo>
                    <a:lnTo>
                      <a:pt x="84" y="21"/>
                    </a:lnTo>
                    <a:lnTo>
                      <a:pt x="78" y="12"/>
                    </a:lnTo>
                    <a:lnTo>
                      <a:pt x="78" y="12"/>
                    </a:lnTo>
                    <a:lnTo>
                      <a:pt x="70" y="8"/>
                    </a:lnTo>
                    <a:lnTo>
                      <a:pt x="64" y="4"/>
                    </a:lnTo>
                    <a:lnTo>
                      <a:pt x="56" y="0"/>
                    </a:lnTo>
                    <a:lnTo>
                      <a:pt x="4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17" name="Freeform 32"/>
              <p:cNvSpPr>
                <a:spLocks/>
              </p:cNvSpPr>
              <p:nvPr userDrawn="1"/>
            </p:nvSpPr>
            <p:spPr bwMode="auto">
              <a:xfrm>
                <a:off x="3506" y="2045"/>
                <a:ext cx="90" cy="90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45" y="0"/>
                  </a:cxn>
                  <a:cxn ang="0">
                    <a:pos x="37" y="0"/>
                  </a:cxn>
                  <a:cxn ang="0">
                    <a:pos x="29" y="4"/>
                  </a:cxn>
                  <a:cxn ang="0">
                    <a:pos x="21" y="8"/>
                  </a:cxn>
                  <a:cxn ang="0">
                    <a:pos x="15" y="12"/>
                  </a:cxn>
                  <a:cxn ang="0">
                    <a:pos x="15" y="12"/>
                  </a:cxn>
                  <a:cxn ang="0">
                    <a:pos x="8" y="21"/>
                  </a:cxn>
                  <a:cxn ang="0">
                    <a:pos x="4" y="29"/>
                  </a:cxn>
                  <a:cxn ang="0">
                    <a:pos x="2" y="37"/>
                  </a:cxn>
                  <a:cxn ang="0">
                    <a:pos x="0" y="45"/>
                  </a:cxn>
                  <a:cxn ang="0">
                    <a:pos x="2" y="53"/>
                  </a:cxn>
                  <a:cxn ang="0">
                    <a:pos x="4" y="62"/>
                  </a:cxn>
                  <a:cxn ang="0">
                    <a:pos x="8" y="70"/>
                  </a:cxn>
                  <a:cxn ang="0">
                    <a:pos x="15" y="78"/>
                  </a:cxn>
                  <a:cxn ang="0">
                    <a:pos x="15" y="78"/>
                  </a:cxn>
                  <a:cxn ang="0">
                    <a:pos x="21" y="84"/>
                  </a:cxn>
                  <a:cxn ang="0">
                    <a:pos x="29" y="88"/>
                  </a:cxn>
                  <a:cxn ang="0">
                    <a:pos x="37" y="90"/>
                  </a:cxn>
                  <a:cxn ang="0">
                    <a:pos x="45" y="90"/>
                  </a:cxn>
                  <a:cxn ang="0">
                    <a:pos x="45" y="90"/>
                  </a:cxn>
                  <a:cxn ang="0">
                    <a:pos x="56" y="90"/>
                  </a:cxn>
                  <a:cxn ang="0">
                    <a:pos x="64" y="88"/>
                  </a:cxn>
                  <a:cxn ang="0">
                    <a:pos x="70" y="84"/>
                  </a:cxn>
                  <a:cxn ang="0">
                    <a:pos x="78" y="78"/>
                  </a:cxn>
                  <a:cxn ang="0">
                    <a:pos x="78" y="78"/>
                  </a:cxn>
                  <a:cxn ang="0">
                    <a:pos x="84" y="70"/>
                  </a:cxn>
                  <a:cxn ang="0">
                    <a:pos x="88" y="62"/>
                  </a:cxn>
                  <a:cxn ang="0">
                    <a:pos x="90" y="53"/>
                  </a:cxn>
                  <a:cxn ang="0">
                    <a:pos x="90" y="45"/>
                  </a:cxn>
                  <a:cxn ang="0">
                    <a:pos x="90" y="37"/>
                  </a:cxn>
                  <a:cxn ang="0">
                    <a:pos x="88" y="29"/>
                  </a:cxn>
                  <a:cxn ang="0">
                    <a:pos x="84" y="21"/>
                  </a:cxn>
                  <a:cxn ang="0">
                    <a:pos x="78" y="12"/>
                  </a:cxn>
                  <a:cxn ang="0">
                    <a:pos x="78" y="12"/>
                  </a:cxn>
                  <a:cxn ang="0">
                    <a:pos x="70" y="8"/>
                  </a:cxn>
                  <a:cxn ang="0">
                    <a:pos x="64" y="4"/>
                  </a:cxn>
                  <a:cxn ang="0">
                    <a:pos x="56" y="0"/>
                  </a:cxn>
                  <a:cxn ang="0">
                    <a:pos x="45" y="0"/>
                  </a:cxn>
                </a:cxnLst>
                <a:rect l="0" t="0" r="r" b="b"/>
                <a:pathLst>
                  <a:path w="90" h="90">
                    <a:moveTo>
                      <a:pt x="45" y="0"/>
                    </a:moveTo>
                    <a:lnTo>
                      <a:pt x="45" y="0"/>
                    </a:lnTo>
                    <a:lnTo>
                      <a:pt x="37" y="0"/>
                    </a:lnTo>
                    <a:lnTo>
                      <a:pt x="29" y="4"/>
                    </a:lnTo>
                    <a:lnTo>
                      <a:pt x="21" y="8"/>
                    </a:lnTo>
                    <a:lnTo>
                      <a:pt x="15" y="12"/>
                    </a:lnTo>
                    <a:lnTo>
                      <a:pt x="15" y="12"/>
                    </a:lnTo>
                    <a:lnTo>
                      <a:pt x="8" y="21"/>
                    </a:lnTo>
                    <a:lnTo>
                      <a:pt x="4" y="29"/>
                    </a:lnTo>
                    <a:lnTo>
                      <a:pt x="2" y="37"/>
                    </a:lnTo>
                    <a:lnTo>
                      <a:pt x="0" y="45"/>
                    </a:lnTo>
                    <a:lnTo>
                      <a:pt x="2" y="53"/>
                    </a:lnTo>
                    <a:lnTo>
                      <a:pt x="4" y="62"/>
                    </a:lnTo>
                    <a:lnTo>
                      <a:pt x="8" y="70"/>
                    </a:lnTo>
                    <a:lnTo>
                      <a:pt x="15" y="78"/>
                    </a:lnTo>
                    <a:lnTo>
                      <a:pt x="15" y="78"/>
                    </a:lnTo>
                    <a:lnTo>
                      <a:pt x="21" y="84"/>
                    </a:lnTo>
                    <a:lnTo>
                      <a:pt x="29" y="88"/>
                    </a:lnTo>
                    <a:lnTo>
                      <a:pt x="37" y="90"/>
                    </a:lnTo>
                    <a:lnTo>
                      <a:pt x="45" y="90"/>
                    </a:lnTo>
                    <a:lnTo>
                      <a:pt x="45" y="90"/>
                    </a:lnTo>
                    <a:lnTo>
                      <a:pt x="56" y="90"/>
                    </a:lnTo>
                    <a:lnTo>
                      <a:pt x="64" y="88"/>
                    </a:lnTo>
                    <a:lnTo>
                      <a:pt x="70" y="84"/>
                    </a:lnTo>
                    <a:lnTo>
                      <a:pt x="78" y="78"/>
                    </a:lnTo>
                    <a:lnTo>
                      <a:pt x="78" y="78"/>
                    </a:lnTo>
                    <a:lnTo>
                      <a:pt x="84" y="70"/>
                    </a:lnTo>
                    <a:lnTo>
                      <a:pt x="88" y="62"/>
                    </a:lnTo>
                    <a:lnTo>
                      <a:pt x="90" y="53"/>
                    </a:lnTo>
                    <a:lnTo>
                      <a:pt x="90" y="45"/>
                    </a:lnTo>
                    <a:lnTo>
                      <a:pt x="90" y="37"/>
                    </a:lnTo>
                    <a:lnTo>
                      <a:pt x="88" y="29"/>
                    </a:lnTo>
                    <a:lnTo>
                      <a:pt x="84" y="21"/>
                    </a:lnTo>
                    <a:lnTo>
                      <a:pt x="78" y="12"/>
                    </a:lnTo>
                    <a:lnTo>
                      <a:pt x="78" y="12"/>
                    </a:lnTo>
                    <a:lnTo>
                      <a:pt x="70" y="8"/>
                    </a:lnTo>
                    <a:lnTo>
                      <a:pt x="64" y="4"/>
                    </a:lnTo>
                    <a:lnTo>
                      <a:pt x="56" y="0"/>
                    </a:lnTo>
                    <a:lnTo>
                      <a:pt x="4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18" name="Freeform 33"/>
              <p:cNvSpPr>
                <a:spLocks/>
              </p:cNvSpPr>
              <p:nvPr userDrawn="1"/>
            </p:nvSpPr>
            <p:spPr bwMode="auto">
              <a:xfrm>
                <a:off x="3284" y="2027"/>
                <a:ext cx="84" cy="84"/>
              </a:xfrm>
              <a:custGeom>
                <a:avLst/>
                <a:gdLst/>
                <a:ahLst/>
                <a:cxnLst>
                  <a:cxn ang="0">
                    <a:pos x="42" y="0"/>
                  </a:cxn>
                  <a:cxn ang="0">
                    <a:pos x="42" y="0"/>
                  </a:cxn>
                  <a:cxn ang="0">
                    <a:pos x="34" y="2"/>
                  </a:cxn>
                  <a:cxn ang="0">
                    <a:pos x="27" y="5"/>
                  </a:cxn>
                  <a:cxn ang="0">
                    <a:pos x="19" y="9"/>
                  </a:cxn>
                  <a:cxn ang="0">
                    <a:pos x="13" y="13"/>
                  </a:cxn>
                  <a:cxn ang="0">
                    <a:pos x="13" y="13"/>
                  </a:cxn>
                  <a:cxn ang="0">
                    <a:pos x="6" y="19"/>
                  </a:cxn>
                  <a:cxn ang="0">
                    <a:pos x="5" y="27"/>
                  </a:cxn>
                  <a:cxn ang="0">
                    <a:pos x="0" y="34"/>
                  </a:cxn>
                  <a:cxn ang="0">
                    <a:pos x="0" y="42"/>
                  </a:cxn>
                  <a:cxn ang="0">
                    <a:pos x="0" y="51"/>
                  </a:cxn>
                  <a:cxn ang="0">
                    <a:pos x="5" y="59"/>
                  </a:cxn>
                  <a:cxn ang="0">
                    <a:pos x="6" y="65"/>
                  </a:cxn>
                  <a:cxn ang="0">
                    <a:pos x="13" y="72"/>
                  </a:cxn>
                  <a:cxn ang="0">
                    <a:pos x="13" y="72"/>
                  </a:cxn>
                  <a:cxn ang="0">
                    <a:pos x="19" y="78"/>
                  </a:cxn>
                  <a:cxn ang="0">
                    <a:pos x="27" y="82"/>
                  </a:cxn>
                  <a:cxn ang="0">
                    <a:pos x="34" y="84"/>
                  </a:cxn>
                  <a:cxn ang="0">
                    <a:pos x="42" y="84"/>
                  </a:cxn>
                  <a:cxn ang="0">
                    <a:pos x="42" y="84"/>
                  </a:cxn>
                  <a:cxn ang="0">
                    <a:pos x="51" y="84"/>
                  </a:cxn>
                  <a:cxn ang="0">
                    <a:pos x="57" y="82"/>
                  </a:cxn>
                  <a:cxn ang="0">
                    <a:pos x="65" y="78"/>
                  </a:cxn>
                  <a:cxn ang="0">
                    <a:pos x="72" y="72"/>
                  </a:cxn>
                  <a:cxn ang="0">
                    <a:pos x="72" y="72"/>
                  </a:cxn>
                  <a:cxn ang="0">
                    <a:pos x="78" y="65"/>
                  </a:cxn>
                  <a:cxn ang="0">
                    <a:pos x="80" y="59"/>
                  </a:cxn>
                  <a:cxn ang="0">
                    <a:pos x="84" y="51"/>
                  </a:cxn>
                  <a:cxn ang="0">
                    <a:pos x="84" y="42"/>
                  </a:cxn>
                  <a:cxn ang="0">
                    <a:pos x="84" y="34"/>
                  </a:cxn>
                  <a:cxn ang="0">
                    <a:pos x="80" y="27"/>
                  </a:cxn>
                  <a:cxn ang="0">
                    <a:pos x="78" y="19"/>
                  </a:cxn>
                  <a:cxn ang="0">
                    <a:pos x="72" y="13"/>
                  </a:cxn>
                  <a:cxn ang="0">
                    <a:pos x="72" y="13"/>
                  </a:cxn>
                  <a:cxn ang="0">
                    <a:pos x="65" y="9"/>
                  </a:cxn>
                  <a:cxn ang="0">
                    <a:pos x="57" y="5"/>
                  </a:cxn>
                  <a:cxn ang="0">
                    <a:pos x="51" y="2"/>
                  </a:cxn>
                  <a:cxn ang="0">
                    <a:pos x="42" y="0"/>
                  </a:cxn>
                </a:cxnLst>
                <a:rect l="0" t="0" r="r" b="b"/>
                <a:pathLst>
                  <a:path w="84" h="84">
                    <a:moveTo>
                      <a:pt x="42" y="0"/>
                    </a:moveTo>
                    <a:lnTo>
                      <a:pt x="42" y="0"/>
                    </a:lnTo>
                    <a:lnTo>
                      <a:pt x="34" y="2"/>
                    </a:lnTo>
                    <a:lnTo>
                      <a:pt x="27" y="5"/>
                    </a:lnTo>
                    <a:lnTo>
                      <a:pt x="19" y="9"/>
                    </a:lnTo>
                    <a:lnTo>
                      <a:pt x="13" y="13"/>
                    </a:lnTo>
                    <a:lnTo>
                      <a:pt x="13" y="13"/>
                    </a:lnTo>
                    <a:lnTo>
                      <a:pt x="6" y="19"/>
                    </a:lnTo>
                    <a:lnTo>
                      <a:pt x="5" y="27"/>
                    </a:lnTo>
                    <a:lnTo>
                      <a:pt x="0" y="34"/>
                    </a:lnTo>
                    <a:lnTo>
                      <a:pt x="0" y="42"/>
                    </a:lnTo>
                    <a:lnTo>
                      <a:pt x="0" y="51"/>
                    </a:lnTo>
                    <a:lnTo>
                      <a:pt x="5" y="59"/>
                    </a:lnTo>
                    <a:lnTo>
                      <a:pt x="6" y="65"/>
                    </a:lnTo>
                    <a:lnTo>
                      <a:pt x="13" y="72"/>
                    </a:lnTo>
                    <a:lnTo>
                      <a:pt x="13" y="72"/>
                    </a:lnTo>
                    <a:lnTo>
                      <a:pt x="19" y="78"/>
                    </a:lnTo>
                    <a:lnTo>
                      <a:pt x="27" y="82"/>
                    </a:lnTo>
                    <a:lnTo>
                      <a:pt x="34" y="84"/>
                    </a:lnTo>
                    <a:lnTo>
                      <a:pt x="42" y="84"/>
                    </a:lnTo>
                    <a:lnTo>
                      <a:pt x="42" y="84"/>
                    </a:lnTo>
                    <a:lnTo>
                      <a:pt x="51" y="84"/>
                    </a:lnTo>
                    <a:lnTo>
                      <a:pt x="57" y="82"/>
                    </a:lnTo>
                    <a:lnTo>
                      <a:pt x="65" y="78"/>
                    </a:lnTo>
                    <a:lnTo>
                      <a:pt x="72" y="72"/>
                    </a:lnTo>
                    <a:lnTo>
                      <a:pt x="72" y="72"/>
                    </a:lnTo>
                    <a:lnTo>
                      <a:pt x="78" y="65"/>
                    </a:lnTo>
                    <a:lnTo>
                      <a:pt x="80" y="59"/>
                    </a:lnTo>
                    <a:lnTo>
                      <a:pt x="84" y="51"/>
                    </a:lnTo>
                    <a:lnTo>
                      <a:pt x="84" y="42"/>
                    </a:lnTo>
                    <a:lnTo>
                      <a:pt x="84" y="34"/>
                    </a:lnTo>
                    <a:lnTo>
                      <a:pt x="80" y="27"/>
                    </a:lnTo>
                    <a:lnTo>
                      <a:pt x="78" y="19"/>
                    </a:lnTo>
                    <a:lnTo>
                      <a:pt x="72" y="13"/>
                    </a:lnTo>
                    <a:lnTo>
                      <a:pt x="72" y="13"/>
                    </a:lnTo>
                    <a:lnTo>
                      <a:pt x="65" y="9"/>
                    </a:lnTo>
                    <a:lnTo>
                      <a:pt x="57" y="5"/>
                    </a:lnTo>
                    <a:lnTo>
                      <a:pt x="51" y="2"/>
                    </a:lnTo>
                    <a:lnTo>
                      <a:pt x="4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19" name="Freeform 34"/>
              <p:cNvSpPr>
                <a:spLocks/>
              </p:cNvSpPr>
              <p:nvPr userDrawn="1"/>
            </p:nvSpPr>
            <p:spPr bwMode="auto">
              <a:xfrm>
                <a:off x="3284" y="2027"/>
                <a:ext cx="84" cy="84"/>
              </a:xfrm>
              <a:custGeom>
                <a:avLst/>
                <a:gdLst/>
                <a:ahLst/>
                <a:cxnLst>
                  <a:cxn ang="0">
                    <a:pos x="42" y="0"/>
                  </a:cxn>
                  <a:cxn ang="0">
                    <a:pos x="42" y="0"/>
                  </a:cxn>
                  <a:cxn ang="0">
                    <a:pos x="34" y="2"/>
                  </a:cxn>
                  <a:cxn ang="0">
                    <a:pos x="27" y="5"/>
                  </a:cxn>
                  <a:cxn ang="0">
                    <a:pos x="19" y="9"/>
                  </a:cxn>
                  <a:cxn ang="0">
                    <a:pos x="13" y="13"/>
                  </a:cxn>
                  <a:cxn ang="0">
                    <a:pos x="13" y="13"/>
                  </a:cxn>
                  <a:cxn ang="0">
                    <a:pos x="6" y="19"/>
                  </a:cxn>
                  <a:cxn ang="0">
                    <a:pos x="5" y="27"/>
                  </a:cxn>
                  <a:cxn ang="0">
                    <a:pos x="0" y="34"/>
                  </a:cxn>
                  <a:cxn ang="0">
                    <a:pos x="0" y="42"/>
                  </a:cxn>
                  <a:cxn ang="0">
                    <a:pos x="0" y="51"/>
                  </a:cxn>
                  <a:cxn ang="0">
                    <a:pos x="5" y="59"/>
                  </a:cxn>
                  <a:cxn ang="0">
                    <a:pos x="6" y="65"/>
                  </a:cxn>
                  <a:cxn ang="0">
                    <a:pos x="13" y="72"/>
                  </a:cxn>
                  <a:cxn ang="0">
                    <a:pos x="13" y="72"/>
                  </a:cxn>
                  <a:cxn ang="0">
                    <a:pos x="19" y="78"/>
                  </a:cxn>
                  <a:cxn ang="0">
                    <a:pos x="27" y="82"/>
                  </a:cxn>
                  <a:cxn ang="0">
                    <a:pos x="34" y="84"/>
                  </a:cxn>
                  <a:cxn ang="0">
                    <a:pos x="42" y="84"/>
                  </a:cxn>
                  <a:cxn ang="0">
                    <a:pos x="42" y="84"/>
                  </a:cxn>
                  <a:cxn ang="0">
                    <a:pos x="51" y="84"/>
                  </a:cxn>
                  <a:cxn ang="0">
                    <a:pos x="57" y="82"/>
                  </a:cxn>
                  <a:cxn ang="0">
                    <a:pos x="65" y="78"/>
                  </a:cxn>
                  <a:cxn ang="0">
                    <a:pos x="72" y="72"/>
                  </a:cxn>
                  <a:cxn ang="0">
                    <a:pos x="72" y="72"/>
                  </a:cxn>
                  <a:cxn ang="0">
                    <a:pos x="78" y="65"/>
                  </a:cxn>
                  <a:cxn ang="0">
                    <a:pos x="80" y="59"/>
                  </a:cxn>
                  <a:cxn ang="0">
                    <a:pos x="84" y="51"/>
                  </a:cxn>
                  <a:cxn ang="0">
                    <a:pos x="84" y="42"/>
                  </a:cxn>
                  <a:cxn ang="0">
                    <a:pos x="84" y="34"/>
                  </a:cxn>
                  <a:cxn ang="0">
                    <a:pos x="80" y="27"/>
                  </a:cxn>
                  <a:cxn ang="0">
                    <a:pos x="78" y="19"/>
                  </a:cxn>
                  <a:cxn ang="0">
                    <a:pos x="72" y="13"/>
                  </a:cxn>
                  <a:cxn ang="0">
                    <a:pos x="72" y="13"/>
                  </a:cxn>
                  <a:cxn ang="0">
                    <a:pos x="65" y="9"/>
                  </a:cxn>
                  <a:cxn ang="0">
                    <a:pos x="57" y="5"/>
                  </a:cxn>
                  <a:cxn ang="0">
                    <a:pos x="51" y="2"/>
                  </a:cxn>
                  <a:cxn ang="0">
                    <a:pos x="42" y="0"/>
                  </a:cxn>
                </a:cxnLst>
                <a:rect l="0" t="0" r="r" b="b"/>
                <a:pathLst>
                  <a:path w="84" h="84">
                    <a:moveTo>
                      <a:pt x="42" y="0"/>
                    </a:moveTo>
                    <a:lnTo>
                      <a:pt x="42" y="0"/>
                    </a:lnTo>
                    <a:lnTo>
                      <a:pt x="34" y="2"/>
                    </a:lnTo>
                    <a:lnTo>
                      <a:pt x="27" y="5"/>
                    </a:lnTo>
                    <a:lnTo>
                      <a:pt x="19" y="9"/>
                    </a:lnTo>
                    <a:lnTo>
                      <a:pt x="13" y="13"/>
                    </a:lnTo>
                    <a:lnTo>
                      <a:pt x="13" y="13"/>
                    </a:lnTo>
                    <a:lnTo>
                      <a:pt x="6" y="19"/>
                    </a:lnTo>
                    <a:lnTo>
                      <a:pt x="5" y="27"/>
                    </a:lnTo>
                    <a:lnTo>
                      <a:pt x="0" y="34"/>
                    </a:lnTo>
                    <a:lnTo>
                      <a:pt x="0" y="42"/>
                    </a:lnTo>
                    <a:lnTo>
                      <a:pt x="0" y="51"/>
                    </a:lnTo>
                    <a:lnTo>
                      <a:pt x="5" y="59"/>
                    </a:lnTo>
                    <a:lnTo>
                      <a:pt x="6" y="65"/>
                    </a:lnTo>
                    <a:lnTo>
                      <a:pt x="13" y="72"/>
                    </a:lnTo>
                    <a:lnTo>
                      <a:pt x="13" y="72"/>
                    </a:lnTo>
                    <a:lnTo>
                      <a:pt x="19" y="78"/>
                    </a:lnTo>
                    <a:lnTo>
                      <a:pt x="27" y="82"/>
                    </a:lnTo>
                    <a:lnTo>
                      <a:pt x="34" y="84"/>
                    </a:lnTo>
                    <a:lnTo>
                      <a:pt x="42" y="84"/>
                    </a:lnTo>
                    <a:lnTo>
                      <a:pt x="42" y="84"/>
                    </a:lnTo>
                    <a:lnTo>
                      <a:pt x="51" y="84"/>
                    </a:lnTo>
                    <a:lnTo>
                      <a:pt x="57" y="82"/>
                    </a:lnTo>
                    <a:lnTo>
                      <a:pt x="65" y="78"/>
                    </a:lnTo>
                    <a:lnTo>
                      <a:pt x="72" y="72"/>
                    </a:lnTo>
                    <a:lnTo>
                      <a:pt x="72" y="72"/>
                    </a:lnTo>
                    <a:lnTo>
                      <a:pt x="78" y="65"/>
                    </a:lnTo>
                    <a:lnTo>
                      <a:pt x="80" y="59"/>
                    </a:lnTo>
                    <a:lnTo>
                      <a:pt x="84" y="51"/>
                    </a:lnTo>
                    <a:lnTo>
                      <a:pt x="84" y="42"/>
                    </a:lnTo>
                    <a:lnTo>
                      <a:pt x="84" y="34"/>
                    </a:lnTo>
                    <a:lnTo>
                      <a:pt x="80" y="27"/>
                    </a:lnTo>
                    <a:lnTo>
                      <a:pt x="78" y="19"/>
                    </a:lnTo>
                    <a:lnTo>
                      <a:pt x="72" y="13"/>
                    </a:lnTo>
                    <a:lnTo>
                      <a:pt x="72" y="13"/>
                    </a:lnTo>
                    <a:lnTo>
                      <a:pt x="65" y="9"/>
                    </a:lnTo>
                    <a:lnTo>
                      <a:pt x="57" y="5"/>
                    </a:lnTo>
                    <a:lnTo>
                      <a:pt x="51" y="2"/>
                    </a:lnTo>
                    <a:lnTo>
                      <a:pt x="4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20" name="Freeform 35"/>
              <p:cNvSpPr>
                <a:spLocks/>
              </p:cNvSpPr>
              <p:nvPr userDrawn="1"/>
            </p:nvSpPr>
            <p:spPr bwMode="auto">
              <a:xfrm>
                <a:off x="3062" y="2051"/>
                <a:ext cx="72" cy="72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8" y="0"/>
                  </a:cxn>
                  <a:cxn ang="0">
                    <a:pos x="22" y="2"/>
                  </a:cxn>
                  <a:cxn ang="0">
                    <a:pos x="16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6"/>
                  </a:cxn>
                  <a:cxn ang="0">
                    <a:pos x="2" y="22"/>
                  </a:cxn>
                  <a:cxn ang="0">
                    <a:pos x="0" y="30"/>
                  </a:cxn>
                  <a:cxn ang="0">
                    <a:pos x="0" y="36"/>
                  </a:cxn>
                  <a:cxn ang="0">
                    <a:pos x="0" y="42"/>
                  </a:cxn>
                  <a:cxn ang="0">
                    <a:pos x="2" y="50"/>
                  </a:cxn>
                  <a:cxn ang="0">
                    <a:pos x="6" y="56"/>
                  </a:cxn>
                  <a:cxn ang="0">
                    <a:pos x="10" y="62"/>
                  </a:cxn>
                  <a:cxn ang="0">
                    <a:pos x="10" y="62"/>
                  </a:cxn>
                  <a:cxn ang="0">
                    <a:pos x="16" y="66"/>
                  </a:cxn>
                  <a:cxn ang="0">
                    <a:pos x="22" y="70"/>
                  </a:cxn>
                  <a:cxn ang="0">
                    <a:pos x="28" y="72"/>
                  </a:cxn>
                  <a:cxn ang="0">
                    <a:pos x="36" y="72"/>
                  </a:cxn>
                  <a:cxn ang="0">
                    <a:pos x="36" y="72"/>
                  </a:cxn>
                  <a:cxn ang="0">
                    <a:pos x="42" y="72"/>
                  </a:cxn>
                  <a:cxn ang="0">
                    <a:pos x="48" y="70"/>
                  </a:cxn>
                  <a:cxn ang="0">
                    <a:pos x="56" y="66"/>
                  </a:cxn>
                  <a:cxn ang="0">
                    <a:pos x="60" y="62"/>
                  </a:cxn>
                  <a:cxn ang="0">
                    <a:pos x="60" y="62"/>
                  </a:cxn>
                  <a:cxn ang="0">
                    <a:pos x="66" y="56"/>
                  </a:cxn>
                  <a:cxn ang="0">
                    <a:pos x="68" y="50"/>
                  </a:cxn>
                  <a:cxn ang="0">
                    <a:pos x="70" y="42"/>
                  </a:cxn>
                  <a:cxn ang="0">
                    <a:pos x="72" y="36"/>
                  </a:cxn>
                  <a:cxn ang="0">
                    <a:pos x="70" y="30"/>
                  </a:cxn>
                  <a:cxn ang="0">
                    <a:pos x="68" y="22"/>
                  </a:cxn>
                  <a:cxn ang="0">
                    <a:pos x="66" y="16"/>
                  </a:cxn>
                  <a:cxn ang="0">
                    <a:pos x="60" y="10"/>
                  </a:cxn>
                  <a:cxn ang="0">
                    <a:pos x="60" y="10"/>
                  </a:cxn>
                  <a:cxn ang="0">
                    <a:pos x="56" y="6"/>
                  </a:cxn>
                  <a:cxn ang="0">
                    <a:pos x="48" y="2"/>
                  </a:cxn>
                  <a:cxn ang="0">
                    <a:pos x="42" y="0"/>
                  </a:cxn>
                  <a:cxn ang="0">
                    <a:pos x="36" y="0"/>
                  </a:cxn>
                </a:cxnLst>
                <a:rect l="0" t="0" r="r" b="b"/>
                <a:pathLst>
                  <a:path w="72" h="72">
                    <a:moveTo>
                      <a:pt x="36" y="0"/>
                    </a:moveTo>
                    <a:lnTo>
                      <a:pt x="36" y="0"/>
                    </a:lnTo>
                    <a:lnTo>
                      <a:pt x="28" y="0"/>
                    </a:lnTo>
                    <a:lnTo>
                      <a:pt x="22" y="2"/>
                    </a:lnTo>
                    <a:lnTo>
                      <a:pt x="16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6"/>
                    </a:lnTo>
                    <a:lnTo>
                      <a:pt x="2" y="22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0" y="42"/>
                    </a:lnTo>
                    <a:lnTo>
                      <a:pt x="2" y="50"/>
                    </a:lnTo>
                    <a:lnTo>
                      <a:pt x="6" y="56"/>
                    </a:lnTo>
                    <a:lnTo>
                      <a:pt x="10" y="62"/>
                    </a:lnTo>
                    <a:lnTo>
                      <a:pt x="10" y="62"/>
                    </a:lnTo>
                    <a:lnTo>
                      <a:pt x="16" y="66"/>
                    </a:lnTo>
                    <a:lnTo>
                      <a:pt x="22" y="70"/>
                    </a:lnTo>
                    <a:lnTo>
                      <a:pt x="28" y="72"/>
                    </a:lnTo>
                    <a:lnTo>
                      <a:pt x="36" y="72"/>
                    </a:lnTo>
                    <a:lnTo>
                      <a:pt x="36" y="72"/>
                    </a:lnTo>
                    <a:lnTo>
                      <a:pt x="42" y="72"/>
                    </a:lnTo>
                    <a:lnTo>
                      <a:pt x="48" y="70"/>
                    </a:lnTo>
                    <a:lnTo>
                      <a:pt x="56" y="66"/>
                    </a:lnTo>
                    <a:lnTo>
                      <a:pt x="60" y="62"/>
                    </a:lnTo>
                    <a:lnTo>
                      <a:pt x="60" y="62"/>
                    </a:lnTo>
                    <a:lnTo>
                      <a:pt x="66" y="56"/>
                    </a:lnTo>
                    <a:lnTo>
                      <a:pt x="68" y="50"/>
                    </a:lnTo>
                    <a:lnTo>
                      <a:pt x="70" y="42"/>
                    </a:lnTo>
                    <a:lnTo>
                      <a:pt x="72" y="36"/>
                    </a:lnTo>
                    <a:lnTo>
                      <a:pt x="70" y="30"/>
                    </a:lnTo>
                    <a:lnTo>
                      <a:pt x="68" y="22"/>
                    </a:lnTo>
                    <a:lnTo>
                      <a:pt x="66" y="16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56" y="6"/>
                    </a:lnTo>
                    <a:lnTo>
                      <a:pt x="48" y="2"/>
                    </a:lnTo>
                    <a:lnTo>
                      <a:pt x="42" y="0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21" name="Freeform 36"/>
              <p:cNvSpPr>
                <a:spLocks/>
              </p:cNvSpPr>
              <p:nvPr userDrawn="1"/>
            </p:nvSpPr>
            <p:spPr bwMode="auto">
              <a:xfrm>
                <a:off x="3062" y="2051"/>
                <a:ext cx="72" cy="72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8" y="0"/>
                  </a:cxn>
                  <a:cxn ang="0">
                    <a:pos x="22" y="2"/>
                  </a:cxn>
                  <a:cxn ang="0">
                    <a:pos x="16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6"/>
                  </a:cxn>
                  <a:cxn ang="0">
                    <a:pos x="2" y="22"/>
                  </a:cxn>
                  <a:cxn ang="0">
                    <a:pos x="0" y="30"/>
                  </a:cxn>
                  <a:cxn ang="0">
                    <a:pos x="0" y="36"/>
                  </a:cxn>
                  <a:cxn ang="0">
                    <a:pos x="0" y="42"/>
                  </a:cxn>
                  <a:cxn ang="0">
                    <a:pos x="2" y="50"/>
                  </a:cxn>
                  <a:cxn ang="0">
                    <a:pos x="6" y="56"/>
                  </a:cxn>
                  <a:cxn ang="0">
                    <a:pos x="10" y="62"/>
                  </a:cxn>
                  <a:cxn ang="0">
                    <a:pos x="10" y="62"/>
                  </a:cxn>
                  <a:cxn ang="0">
                    <a:pos x="16" y="66"/>
                  </a:cxn>
                  <a:cxn ang="0">
                    <a:pos x="22" y="70"/>
                  </a:cxn>
                  <a:cxn ang="0">
                    <a:pos x="28" y="72"/>
                  </a:cxn>
                  <a:cxn ang="0">
                    <a:pos x="36" y="72"/>
                  </a:cxn>
                  <a:cxn ang="0">
                    <a:pos x="36" y="72"/>
                  </a:cxn>
                  <a:cxn ang="0">
                    <a:pos x="42" y="72"/>
                  </a:cxn>
                  <a:cxn ang="0">
                    <a:pos x="48" y="70"/>
                  </a:cxn>
                  <a:cxn ang="0">
                    <a:pos x="56" y="66"/>
                  </a:cxn>
                  <a:cxn ang="0">
                    <a:pos x="60" y="62"/>
                  </a:cxn>
                  <a:cxn ang="0">
                    <a:pos x="60" y="62"/>
                  </a:cxn>
                  <a:cxn ang="0">
                    <a:pos x="66" y="56"/>
                  </a:cxn>
                  <a:cxn ang="0">
                    <a:pos x="68" y="50"/>
                  </a:cxn>
                  <a:cxn ang="0">
                    <a:pos x="70" y="42"/>
                  </a:cxn>
                  <a:cxn ang="0">
                    <a:pos x="72" y="36"/>
                  </a:cxn>
                  <a:cxn ang="0">
                    <a:pos x="70" y="30"/>
                  </a:cxn>
                  <a:cxn ang="0">
                    <a:pos x="68" y="22"/>
                  </a:cxn>
                  <a:cxn ang="0">
                    <a:pos x="66" y="16"/>
                  </a:cxn>
                  <a:cxn ang="0">
                    <a:pos x="60" y="10"/>
                  </a:cxn>
                  <a:cxn ang="0">
                    <a:pos x="60" y="10"/>
                  </a:cxn>
                  <a:cxn ang="0">
                    <a:pos x="56" y="6"/>
                  </a:cxn>
                  <a:cxn ang="0">
                    <a:pos x="48" y="2"/>
                  </a:cxn>
                  <a:cxn ang="0">
                    <a:pos x="42" y="0"/>
                  </a:cxn>
                  <a:cxn ang="0">
                    <a:pos x="36" y="0"/>
                  </a:cxn>
                </a:cxnLst>
                <a:rect l="0" t="0" r="r" b="b"/>
                <a:pathLst>
                  <a:path w="72" h="72">
                    <a:moveTo>
                      <a:pt x="36" y="0"/>
                    </a:moveTo>
                    <a:lnTo>
                      <a:pt x="36" y="0"/>
                    </a:lnTo>
                    <a:lnTo>
                      <a:pt x="28" y="0"/>
                    </a:lnTo>
                    <a:lnTo>
                      <a:pt x="22" y="2"/>
                    </a:lnTo>
                    <a:lnTo>
                      <a:pt x="16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6"/>
                    </a:lnTo>
                    <a:lnTo>
                      <a:pt x="2" y="22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0" y="42"/>
                    </a:lnTo>
                    <a:lnTo>
                      <a:pt x="2" y="50"/>
                    </a:lnTo>
                    <a:lnTo>
                      <a:pt x="6" y="56"/>
                    </a:lnTo>
                    <a:lnTo>
                      <a:pt x="10" y="62"/>
                    </a:lnTo>
                    <a:lnTo>
                      <a:pt x="10" y="62"/>
                    </a:lnTo>
                    <a:lnTo>
                      <a:pt x="16" y="66"/>
                    </a:lnTo>
                    <a:lnTo>
                      <a:pt x="22" y="70"/>
                    </a:lnTo>
                    <a:lnTo>
                      <a:pt x="28" y="72"/>
                    </a:lnTo>
                    <a:lnTo>
                      <a:pt x="36" y="72"/>
                    </a:lnTo>
                    <a:lnTo>
                      <a:pt x="36" y="72"/>
                    </a:lnTo>
                    <a:lnTo>
                      <a:pt x="42" y="72"/>
                    </a:lnTo>
                    <a:lnTo>
                      <a:pt x="48" y="70"/>
                    </a:lnTo>
                    <a:lnTo>
                      <a:pt x="56" y="66"/>
                    </a:lnTo>
                    <a:lnTo>
                      <a:pt x="60" y="62"/>
                    </a:lnTo>
                    <a:lnTo>
                      <a:pt x="60" y="62"/>
                    </a:lnTo>
                    <a:lnTo>
                      <a:pt x="66" y="56"/>
                    </a:lnTo>
                    <a:lnTo>
                      <a:pt x="68" y="50"/>
                    </a:lnTo>
                    <a:lnTo>
                      <a:pt x="70" y="42"/>
                    </a:lnTo>
                    <a:lnTo>
                      <a:pt x="72" y="36"/>
                    </a:lnTo>
                    <a:lnTo>
                      <a:pt x="70" y="30"/>
                    </a:lnTo>
                    <a:lnTo>
                      <a:pt x="68" y="22"/>
                    </a:lnTo>
                    <a:lnTo>
                      <a:pt x="66" y="16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56" y="6"/>
                    </a:lnTo>
                    <a:lnTo>
                      <a:pt x="48" y="2"/>
                    </a:lnTo>
                    <a:lnTo>
                      <a:pt x="42" y="0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22" name="Freeform 37"/>
              <p:cNvSpPr>
                <a:spLocks/>
              </p:cNvSpPr>
              <p:nvPr userDrawn="1"/>
            </p:nvSpPr>
            <p:spPr bwMode="auto">
              <a:xfrm>
                <a:off x="2846" y="2117"/>
                <a:ext cx="66" cy="66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33" y="0"/>
                  </a:cxn>
                  <a:cxn ang="0">
                    <a:pos x="27" y="2"/>
                  </a:cxn>
                  <a:cxn ang="0">
                    <a:pos x="21" y="4"/>
                  </a:cxn>
                  <a:cxn ang="0">
                    <a:pos x="15" y="6"/>
                  </a:cxn>
                  <a:cxn ang="0">
                    <a:pos x="8" y="10"/>
                  </a:cxn>
                  <a:cxn ang="0">
                    <a:pos x="8" y="10"/>
                  </a:cxn>
                  <a:cxn ang="0">
                    <a:pos x="4" y="16"/>
                  </a:cxn>
                  <a:cxn ang="0">
                    <a:pos x="2" y="20"/>
                  </a:cxn>
                  <a:cxn ang="0">
                    <a:pos x="0" y="26"/>
                  </a:cxn>
                  <a:cxn ang="0">
                    <a:pos x="0" y="32"/>
                  </a:cxn>
                  <a:cxn ang="0">
                    <a:pos x="0" y="40"/>
                  </a:cxn>
                  <a:cxn ang="0">
                    <a:pos x="2" y="46"/>
                  </a:cxn>
                  <a:cxn ang="0">
                    <a:pos x="4" y="50"/>
                  </a:cxn>
                  <a:cxn ang="0">
                    <a:pos x="8" y="56"/>
                  </a:cxn>
                  <a:cxn ang="0">
                    <a:pos x="8" y="56"/>
                  </a:cxn>
                  <a:cxn ang="0">
                    <a:pos x="15" y="60"/>
                  </a:cxn>
                  <a:cxn ang="0">
                    <a:pos x="21" y="62"/>
                  </a:cxn>
                  <a:cxn ang="0">
                    <a:pos x="27" y="64"/>
                  </a:cxn>
                  <a:cxn ang="0">
                    <a:pos x="33" y="66"/>
                  </a:cxn>
                  <a:cxn ang="0">
                    <a:pos x="33" y="66"/>
                  </a:cxn>
                  <a:cxn ang="0">
                    <a:pos x="39" y="64"/>
                  </a:cxn>
                  <a:cxn ang="0">
                    <a:pos x="45" y="62"/>
                  </a:cxn>
                  <a:cxn ang="0">
                    <a:pos x="52" y="60"/>
                  </a:cxn>
                  <a:cxn ang="0">
                    <a:pos x="56" y="56"/>
                  </a:cxn>
                  <a:cxn ang="0">
                    <a:pos x="56" y="56"/>
                  </a:cxn>
                  <a:cxn ang="0">
                    <a:pos x="60" y="50"/>
                  </a:cxn>
                  <a:cxn ang="0">
                    <a:pos x="64" y="46"/>
                  </a:cxn>
                  <a:cxn ang="0">
                    <a:pos x="66" y="40"/>
                  </a:cxn>
                  <a:cxn ang="0">
                    <a:pos x="66" y="32"/>
                  </a:cxn>
                  <a:cxn ang="0">
                    <a:pos x="66" y="26"/>
                  </a:cxn>
                  <a:cxn ang="0">
                    <a:pos x="64" y="20"/>
                  </a:cxn>
                  <a:cxn ang="0">
                    <a:pos x="60" y="16"/>
                  </a:cxn>
                  <a:cxn ang="0">
                    <a:pos x="56" y="10"/>
                  </a:cxn>
                  <a:cxn ang="0">
                    <a:pos x="56" y="10"/>
                  </a:cxn>
                  <a:cxn ang="0">
                    <a:pos x="52" y="6"/>
                  </a:cxn>
                  <a:cxn ang="0">
                    <a:pos x="45" y="4"/>
                  </a:cxn>
                  <a:cxn ang="0">
                    <a:pos x="39" y="2"/>
                  </a:cxn>
                  <a:cxn ang="0">
                    <a:pos x="33" y="0"/>
                  </a:cxn>
                </a:cxnLst>
                <a:rect l="0" t="0" r="r" b="b"/>
                <a:pathLst>
                  <a:path w="66" h="66">
                    <a:moveTo>
                      <a:pt x="33" y="0"/>
                    </a:moveTo>
                    <a:lnTo>
                      <a:pt x="33" y="0"/>
                    </a:lnTo>
                    <a:lnTo>
                      <a:pt x="27" y="2"/>
                    </a:lnTo>
                    <a:lnTo>
                      <a:pt x="21" y="4"/>
                    </a:lnTo>
                    <a:lnTo>
                      <a:pt x="15" y="6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4" y="16"/>
                    </a:lnTo>
                    <a:lnTo>
                      <a:pt x="2" y="20"/>
                    </a:lnTo>
                    <a:lnTo>
                      <a:pt x="0" y="26"/>
                    </a:lnTo>
                    <a:lnTo>
                      <a:pt x="0" y="32"/>
                    </a:lnTo>
                    <a:lnTo>
                      <a:pt x="0" y="40"/>
                    </a:lnTo>
                    <a:lnTo>
                      <a:pt x="2" y="46"/>
                    </a:lnTo>
                    <a:lnTo>
                      <a:pt x="4" y="50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15" y="60"/>
                    </a:lnTo>
                    <a:lnTo>
                      <a:pt x="21" y="62"/>
                    </a:lnTo>
                    <a:lnTo>
                      <a:pt x="27" y="64"/>
                    </a:lnTo>
                    <a:lnTo>
                      <a:pt x="33" y="66"/>
                    </a:lnTo>
                    <a:lnTo>
                      <a:pt x="33" y="66"/>
                    </a:lnTo>
                    <a:lnTo>
                      <a:pt x="39" y="64"/>
                    </a:lnTo>
                    <a:lnTo>
                      <a:pt x="45" y="62"/>
                    </a:lnTo>
                    <a:lnTo>
                      <a:pt x="52" y="60"/>
                    </a:lnTo>
                    <a:lnTo>
                      <a:pt x="56" y="56"/>
                    </a:lnTo>
                    <a:lnTo>
                      <a:pt x="56" y="56"/>
                    </a:lnTo>
                    <a:lnTo>
                      <a:pt x="60" y="50"/>
                    </a:lnTo>
                    <a:lnTo>
                      <a:pt x="64" y="46"/>
                    </a:lnTo>
                    <a:lnTo>
                      <a:pt x="66" y="40"/>
                    </a:lnTo>
                    <a:lnTo>
                      <a:pt x="66" y="32"/>
                    </a:lnTo>
                    <a:lnTo>
                      <a:pt x="66" y="26"/>
                    </a:lnTo>
                    <a:lnTo>
                      <a:pt x="64" y="20"/>
                    </a:lnTo>
                    <a:lnTo>
                      <a:pt x="60" y="16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2" y="6"/>
                    </a:lnTo>
                    <a:lnTo>
                      <a:pt x="45" y="4"/>
                    </a:lnTo>
                    <a:lnTo>
                      <a:pt x="39" y="2"/>
                    </a:lnTo>
                    <a:lnTo>
                      <a:pt x="3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23" name="Freeform 38"/>
              <p:cNvSpPr>
                <a:spLocks/>
              </p:cNvSpPr>
              <p:nvPr userDrawn="1"/>
            </p:nvSpPr>
            <p:spPr bwMode="auto">
              <a:xfrm>
                <a:off x="2846" y="2117"/>
                <a:ext cx="66" cy="66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33" y="0"/>
                  </a:cxn>
                  <a:cxn ang="0">
                    <a:pos x="27" y="2"/>
                  </a:cxn>
                  <a:cxn ang="0">
                    <a:pos x="21" y="4"/>
                  </a:cxn>
                  <a:cxn ang="0">
                    <a:pos x="15" y="6"/>
                  </a:cxn>
                  <a:cxn ang="0">
                    <a:pos x="8" y="10"/>
                  </a:cxn>
                  <a:cxn ang="0">
                    <a:pos x="8" y="10"/>
                  </a:cxn>
                  <a:cxn ang="0">
                    <a:pos x="4" y="16"/>
                  </a:cxn>
                  <a:cxn ang="0">
                    <a:pos x="2" y="20"/>
                  </a:cxn>
                  <a:cxn ang="0">
                    <a:pos x="0" y="26"/>
                  </a:cxn>
                  <a:cxn ang="0">
                    <a:pos x="0" y="32"/>
                  </a:cxn>
                  <a:cxn ang="0">
                    <a:pos x="0" y="40"/>
                  </a:cxn>
                  <a:cxn ang="0">
                    <a:pos x="2" y="46"/>
                  </a:cxn>
                  <a:cxn ang="0">
                    <a:pos x="4" y="50"/>
                  </a:cxn>
                  <a:cxn ang="0">
                    <a:pos x="8" y="56"/>
                  </a:cxn>
                  <a:cxn ang="0">
                    <a:pos x="8" y="56"/>
                  </a:cxn>
                  <a:cxn ang="0">
                    <a:pos x="15" y="60"/>
                  </a:cxn>
                  <a:cxn ang="0">
                    <a:pos x="21" y="62"/>
                  </a:cxn>
                  <a:cxn ang="0">
                    <a:pos x="27" y="64"/>
                  </a:cxn>
                  <a:cxn ang="0">
                    <a:pos x="33" y="66"/>
                  </a:cxn>
                  <a:cxn ang="0">
                    <a:pos x="33" y="66"/>
                  </a:cxn>
                  <a:cxn ang="0">
                    <a:pos x="39" y="64"/>
                  </a:cxn>
                  <a:cxn ang="0">
                    <a:pos x="45" y="62"/>
                  </a:cxn>
                  <a:cxn ang="0">
                    <a:pos x="52" y="60"/>
                  </a:cxn>
                  <a:cxn ang="0">
                    <a:pos x="56" y="56"/>
                  </a:cxn>
                  <a:cxn ang="0">
                    <a:pos x="56" y="56"/>
                  </a:cxn>
                  <a:cxn ang="0">
                    <a:pos x="60" y="50"/>
                  </a:cxn>
                  <a:cxn ang="0">
                    <a:pos x="64" y="46"/>
                  </a:cxn>
                  <a:cxn ang="0">
                    <a:pos x="66" y="40"/>
                  </a:cxn>
                  <a:cxn ang="0">
                    <a:pos x="66" y="32"/>
                  </a:cxn>
                  <a:cxn ang="0">
                    <a:pos x="66" y="26"/>
                  </a:cxn>
                  <a:cxn ang="0">
                    <a:pos x="64" y="20"/>
                  </a:cxn>
                  <a:cxn ang="0">
                    <a:pos x="60" y="16"/>
                  </a:cxn>
                  <a:cxn ang="0">
                    <a:pos x="56" y="10"/>
                  </a:cxn>
                  <a:cxn ang="0">
                    <a:pos x="56" y="10"/>
                  </a:cxn>
                  <a:cxn ang="0">
                    <a:pos x="52" y="6"/>
                  </a:cxn>
                  <a:cxn ang="0">
                    <a:pos x="45" y="4"/>
                  </a:cxn>
                  <a:cxn ang="0">
                    <a:pos x="39" y="2"/>
                  </a:cxn>
                  <a:cxn ang="0">
                    <a:pos x="33" y="0"/>
                  </a:cxn>
                </a:cxnLst>
                <a:rect l="0" t="0" r="r" b="b"/>
                <a:pathLst>
                  <a:path w="66" h="66">
                    <a:moveTo>
                      <a:pt x="33" y="0"/>
                    </a:moveTo>
                    <a:lnTo>
                      <a:pt x="33" y="0"/>
                    </a:lnTo>
                    <a:lnTo>
                      <a:pt x="27" y="2"/>
                    </a:lnTo>
                    <a:lnTo>
                      <a:pt x="21" y="4"/>
                    </a:lnTo>
                    <a:lnTo>
                      <a:pt x="15" y="6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4" y="16"/>
                    </a:lnTo>
                    <a:lnTo>
                      <a:pt x="2" y="20"/>
                    </a:lnTo>
                    <a:lnTo>
                      <a:pt x="0" y="26"/>
                    </a:lnTo>
                    <a:lnTo>
                      <a:pt x="0" y="32"/>
                    </a:lnTo>
                    <a:lnTo>
                      <a:pt x="0" y="40"/>
                    </a:lnTo>
                    <a:lnTo>
                      <a:pt x="2" y="46"/>
                    </a:lnTo>
                    <a:lnTo>
                      <a:pt x="4" y="50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15" y="60"/>
                    </a:lnTo>
                    <a:lnTo>
                      <a:pt x="21" y="62"/>
                    </a:lnTo>
                    <a:lnTo>
                      <a:pt x="27" y="64"/>
                    </a:lnTo>
                    <a:lnTo>
                      <a:pt x="33" y="66"/>
                    </a:lnTo>
                    <a:lnTo>
                      <a:pt x="33" y="66"/>
                    </a:lnTo>
                    <a:lnTo>
                      <a:pt x="39" y="64"/>
                    </a:lnTo>
                    <a:lnTo>
                      <a:pt x="45" y="62"/>
                    </a:lnTo>
                    <a:lnTo>
                      <a:pt x="52" y="60"/>
                    </a:lnTo>
                    <a:lnTo>
                      <a:pt x="56" y="56"/>
                    </a:lnTo>
                    <a:lnTo>
                      <a:pt x="56" y="56"/>
                    </a:lnTo>
                    <a:lnTo>
                      <a:pt x="60" y="50"/>
                    </a:lnTo>
                    <a:lnTo>
                      <a:pt x="64" y="46"/>
                    </a:lnTo>
                    <a:lnTo>
                      <a:pt x="66" y="40"/>
                    </a:lnTo>
                    <a:lnTo>
                      <a:pt x="66" y="32"/>
                    </a:lnTo>
                    <a:lnTo>
                      <a:pt x="66" y="26"/>
                    </a:lnTo>
                    <a:lnTo>
                      <a:pt x="64" y="20"/>
                    </a:lnTo>
                    <a:lnTo>
                      <a:pt x="60" y="16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2" y="6"/>
                    </a:lnTo>
                    <a:lnTo>
                      <a:pt x="45" y="4"/>
                    </a:lnTo>
                    <a:lnTo>
                      <a:pt x="39" y="2"/>
                    </a:lnTo>
                    <a:lnTo>
                      <a:pt x="3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24" name="Freeform 39"/>
              <p:cNvSpPr>
                <a:spLocks/>
              </p:cNvSpPr>
              <p:nvPr userDrawn="1"/>
            </p:nvSpPr>
            <p:spPr bwMode="auto">
              <a:xfrm>
                <a:off x="2642" y="2213"/>
                <a:ext cx="60" cy="60"/>
              </a:xfrm>
              <a:custGeom>
                <a:avLst/>
                <a:gdLst/>
                <a:ahLst/>
                <a:cxnLst>
                  <a:cxn ang="0">
                    <a:pos x="31" y="0"/>
                  </a:cxn>
                  <a:cxn ang="0">
                    <a:pos x="31" y="0"/>
                  </a:cxn>
                  <a:cxn ang="0">
                    <a:pos x="19" y="2"/>
                  </a:cxn>
                  <a:cxn ang="0">
                    <a:pos x="11" y="9"/>
                  </a:cxn>
                  <a:cxn ang="0">
                    <a:pos x="11" y="9"/>
                  </a:cxn>
                  <a:cxn ang="0">
                    <a:pos x="2" y="19"/>
                  </a:cxn>
                  <a:cxn ang="0">
                    <a:pos x="0" y="31"/>
                  </a:cxn>
                  <a:cxn ang="0">
                    <a:pos x="2" y="42"/>
                  </a:cxn>
                  <a:cxn ang="0">
                    <a:pos x="11" y="52"/>
                  </a:cxn>
                  <a:cxn ang="0">
                    <a:pos x="11" y="52"/>
                  </a:cxn>
                  <a:cxn ang="0">
                    <a:pos x="19" y="58"/>
                  </a:cxn>
                  <a:cxn ang="0">
                    <a:pos x="31" y="60"/>
                  </a:cxn>
                  <a:cxn ang="0">
                    <a:pos x="31" y="60"/>
                  </a:cxn>
                  <a:cxn ang="0">
                    <a:pos x="42" y="58"/>
                  </a:cxn>
                  <a:cxn ang="0">
                    <a:pos x="52" y="52"/>
                  </a:cxn>
                  <a:cxn ang="0">
                    <a:pos x="52" y="52"/>
                  </a:cxn>
                  <a:cxn ang="0">
                    <a:pos x="58" y="42"/>
                  </a:cxn>
                  <a:cxn ang="0">
                    <a:pos x="60" y="31"/>
                  </a:cxn>
                  <a:cxn ang="0">
                    <a:pos x="58" y="19"/>
                  </a:cxn>
                  <a:cxn ang="0">
                    <a:pos x="52" y="9"/>
                  </a:cxn>
                  <a:cxn ang="0">
                    <a:pos x="52" y="9"/>
                  </a:cxn>
                  <a:cxn ang="0">
                    <a:pos x="42" y="2"/>
                  </a:cxn>
                  <a:cxn ang="0">
                    <a:pos x="31" y="0"/>
                  </a:cxn>
                </a:cxnLst>
                <a:rect l="0" t="0" r="r" b="b"/>
                <a:pathLst>
                  <a:path w="60" h="60">
                    <a:moveTo>
                      <a:pt x="31" y="0"/>
                    </a:moveTo>
                    <a:lnTo>
                      <a:pt x="31" y="0"/>
                    </a:lnTo>
                    <a:lnTo>
                      <a:pt x="19" y="2"/>
                    </a:lnTo>
                    <a:lnTo>
                      <a:pt x="11" y="9"/>
                    </a:lnTo>
                    <a:lnTo>
                      <a:pt x="11" y="9"/>
                    </a:lnTo>
                    <a:lnTo>
                      <a:pt x="2" y="19"/>
                    </a:lnTo>
                    <a:lnTo>
                      <a:pt x="0" y="31"/>
                    </a:lnTo>
                    <a:lnTo>
                      <a:pt x="2" y="42"/>
                    </a:lnTo>
                    <a:lnTo>
                      <a:pt x="11" y="52"/>
                    </a:lnTo>
                    <a:lnTo>
                      <a:pt x="11" y="52"/>
                    </a:lnTo>
                    <a:lnTo>
                      <a:pt x="19" y="58"/>
                    </a:lnTo>
                    <a:lnTo>
                      <a:pt x="31" y="60"/>
                    </a:lnTo>
                    <a:lnTo>
                      <a:pt x="31" y="60"/>
                    </a:lnTo>
                    <a:lnTo>
                      <a:pt x="42" y="58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8" y="42"/>
                    </a:lnTo>
                    <a:lnTo>
                      <a:pt x="60" y="31"/>
                    </a:lnTo>
                    <a:lnTo>
                      <a:pt x="58" y="19"/>
                    </a:lnTo>
                    <a:lnTo>
                      <a:pt x="52" y="9"/>
                    </a:lnTo>
                    <a:lnTo>
                      <a:pt x="52" y="9"/>
                    </a:lnTo>
                    <a:lnTo>
                      <a:pt x="42" y="2"/>
                    </a:lnTo>
                    <a:lnTo>
                      <a:pt x="3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25" name="Freeform 40"/>
              <p:cNvSpPr>
                <a:spLocks/>
              </p:cNvSpPr>
              <p:nvPr userDrawn="1"/>
            </p:nvSpPr>
            <p:spPr bwMode="auto">
              <a:xfrm>
                <a:off x="2642" y="2213"/>
                <a:ext cx="60" cy="60"/>
              </a:xfrm>
              <a:custGeom>
                <a:avLst/>
                <a:gdLst/>
                <a:ahLst/>
                <a:cxnLst>
                  <a:cxn ang="0">
                    <a:pos x="31" y="0"/>
                  </a:cxn>
                  <a:cxn ang="0">
                    <a:pos x="31" y="0"/>
                  </a:cxn>
                  <a:cxn ang="0">
                    <a:pos x="19" y="2"/>
                  </a:cxn>
                  <a:cxn ang="0">
                    <a:pos x="11" y="9"/>
                  </a:cxn>
                  <a:cxn ang="0">
                    <a:pos x="11" y="9"/>
                  </a:cxn>
                  <a:cxn ang="0">
                    <a:pos x="2" y="19"/>
                  </a:cxn>
                  <a:cxn ang="0">
                    <a:pos x="0" y="31"/>
                  </a:cxn>
                  <a:cxn ang="0">
                    <a:pos x="2" y="42"/>
                  </a:cxn>
                  <a:cxn ang="0">
                    <a:pos x="11" y="52"/>
                  </a:cxn>
                  <a:cxn ang="0">
                    <a:pos x="11" y="52"/>
                  </a:cxn>
                  <a:cxn ang="0">
                    <a:pos x="19" y="58"/>
                  </a:cxn>
                  <a:cxn ang="0">
                    <a:pos x="31" y="60"/>
                  </a:cxn>
                  <a:cxn ang="0">
                    <a:pos x="31" y="60"/>
                  </a:cxn>
                  <a:cxn ang="0">
                    <a:pos x="42" y="58"/>
                  </a:cxn>
                  <a:cxn ang="0">
                    <a:pos x="52" y="52"/>
                  </a:cxn>
                  <a:cxn ang="0">
                    <a:pos x="52" y="52"/>
                  </a:cxn>
                  <a:cxn ang="0">
                    <a:pos x="58" y="42"/>
                  </a:cxn>
                  <a:cxn ang="0">
                    <a:pos x="60" y="31"/>
                  </a:cxn>
                  <a:cxn ang="0">
                    <a:pos x="58" y="19"/>
                  </a:cxn>
                  <a:cxn ang="0">
                    <a:pos x="52" y="9"/>
                  </a:cxn>
                  <a:cxn ang="0">
                    <a:pos x="52" y="9"/>
                  </a:cxn>
                  <a:cxn ang="0">
                    <a:pos x="42" y="2"/>
                  </a:cxn>
                  <a:cxn ang="0">
                    <a:pos x="31" y="0"/>
                  </a:cxn>
                </a:cxnLst>
                <a:rect l="0" t="0" r="r" b="b"/>
                <a:pathLst>
                  <a:path w="60" h="60">
                    <a:moveTo>
                      <a:pt x="31" y="0"/>
                    </a:moveTo>
                    <a:lnTo>
                      <a:pt x="31" y="0"/>
                    </a:lnTo>
                    <a:lnTo>
                      <a:pt x="19" y="2"/>
                    </a:lnTo>
                    <a:lnTo>
                      <a:pt x="11" y="9"/>
                    </a:lnTo>
                    <a:lnTo>
                      <a:pt x="11" y="9"/>
                    </a:lnTo>
                    <a:lnTo>
                      <a:pt x="2" y="19"/>
                    </a:lnTo>
                    <a:lnTo>
                      <a:pt x="0" y="31"/>
                    </a:lnTo>
                    <a:lnTo>
                      <a:pt x="2" y="42"/>
                    </a:lnTo>
                    <a:lnTo>
                      <a:pt x="11" y="52"/>
                    </a:lnTo>
                    <a:lnTo>
                      <a:pt x="11" y="52"/>
                    </a:lnTo>
                    <a:lnTo>
                      <a:pt x="19" y="58"/>
                    </a:lnTo>
                    <a:lnTo>
                      <a:pt x="31" y="60"/>
                    </a:lnTo>
                    <a:lnTo>
                      <a:pt x="31" y="60"/>
                    </a:lnTo>
                    <a:lnTo>
                      <a:pt x="42" y="58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8" y="42"/>
                    </a:lnTo>
                    <a:lnTo>
                      <a:pt x="60" y="31"/>
                    </a:lnTo>
                    <a:lnTo>
                      <a:pt x="58" y="19"/>
                    </a:lnTo>
                    <a:lnTo>
                      <a:pt x="52" y="9"/>
                    </a:lnTo>
                    <a:lnTo>
                      <a:pt x="52" y="9"/>
                    </a:lnTo>
                    <a:lnTo>
                      <a:pt x="42" y="2"/>
                    </a:lnTo>
                    <a:lnTo>
                      <a:pt x="3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26" name="Freeform 41"/>
              <p:cNvSpPr>
                <a:spLocks/>
              </p:cNvSpPr>
              <p:nvPr userDrawn="1"/>
            </p:nvSpPr>
            <p:spPr bwMode="auto">
              <a:xfrm>
                <a:off x="2462" y="2351"/>
                <a:ext cx="54" cy="48"/>
              </a:xfrm>
              <a:custGeom>
                <a:avLst/>
                <a:gdLst/>
                <a:ahLst/>
                <a:cxnLst>
                  <a:cxn ang="0">
                    <a:pos x="27" y="0"/>
                  </a:cxn>
                  <a:cxn ang="0">
                    <a:pos x="27" y="0"/>
                  </a:cxn>
                  <a:cxn ang="0">
                    <a:pos x="17" y="2"/>
                  </a:cxn>
                  <a:cxn ang="0">
                    <a:pos x="6" y="8"/>
                  </a:cxn>
                  <a:cxn ang="0">
                    <a:pos x="6" y="8"/>
                  </a:cxn>
                  <a:cxn ang="0">
                    <a:pos x="2" y="15"/>
                  </a:cxn>
                  <a:cxn ang="0">
                    <a:pos x="0" y="24"/>
                  </a:cxn>
                  <a:cxn ang="0">
                    <a:pos x="2" y="33"/>
                  </a:cxn>
                  <a:cxn ang="0">
                    <a:pos x="6" y="41"/>
                  </a:cxn>
                  <a:cxn ang="0">
                    <a:pos x="6" y="41"/>
                  </a:cxn>
                  <a:cxn ang="0">
                    <a:pos x="17" y="47"/>
                  </a:cxn>
                  <a:cxn ang="0">
                    <a:pos x="27" y="48"/>
                  </a:cxn>
                  <a:cxn ang="0">
                    <a:pos x="27" y="48"/>
                  </a:cxn>
                  <a:cxn ang="0">
                    <a:pos x="38" y="47"/>
                  </a:cxn>
                  <a:cxn ang="0">
                    <a:pos x="46" y="41"/>
                  </a:cxn>
                  <a:cxn ang="0">
                    <a:pos x="46" y="41"/>
                  </a:cxn>
                  <a:cxn ang="0">
                    <a:pos x="52" y="33"/>
                  </a:cxn>
                  <a:cxn ang="0">
                    <a:pos x="54" y="24"/>
                  </a:cxn>
                  <a:cxn ang="0">
                    <a:pos x="52" y="15"/>
                  </a:cxn>
                  <a:cxn ang="0">
                    <a:pos x="46" y="8"/>
                  </a:cxn>
                  <a:cxn ang="0">
                    <a:pos x="46" y="8"/>
                  </a:cxn>
                  <a:cxn ang="0">
                    <a:pos x="38" y="2"/>
                  </a:cxn>
                  <a:cxn ang="0">
                    <a:pos x="27" y="0"/>
                  </a:cxn>
                </a:cxnLst>
                <a:rect l="0" t="0" r="r" b="b"/>
                <a:pathLst>
                  <a:path w="54" h="48">
                    <a:moveTo>
                      <a:pt x="27" y="0"/>
                    </a:moveTo>
                    <a:lnTo>
                      <a:pt x="27" y="0"/>
                    </a:lnTo>
                    <a:lnTo>
                      <a:pt x="17" y="2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2" y="15"/>
                    </a:lnTo>
                    <a:lnTo>
                      <a:pt x="0" y="24"/>
                    </a:lnTo>
                    <a:lnTo>
                      <a:pt x="2" y="33"/>
                    </a:lnTo>
                    <a:lnTo>
                      <a:pt x="6" y="41"/>
                    </a:lnTo>
                    <a:lnTo>
                      <a:pt x="6" y="41"/>
                    </a:lnTo>
                    <a:lnTo>
                      <a:pt x="17" y="47"/>
                    </a:lnTo>
                    <a:lnTo>
                      <a:pt x="27" y="48"/>
                    </a:lnTo>
                    <a:lnTo>
                      <a:pt x="27" y="48"/>
                    </a:lnTo>
                    <a:lnTo>
                      <a:pt x="38" y="47"/>
                    </a:lnTo>
                    <a:lnTo>
                      <a:pt x="46" y="41"/>
                    </a:lnTo>
                    <a:lnTo>
                      <a:pt x="46" y="41"/>
                    </a:lnTo>
                    <a:lnTo>
                      <a:pt x="52" y="33"/>
                    </a:lnTo>
                    <a:lnTo>
                      <a:pt x="54" y="24"/>
                    </a:lnTo>
                    <a:lnTo>
                      <a:pt x="52" y="15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38" y="2"/>
                    </a:lnTo>
                    <a:lnTo>
                      <a:pt x="2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27" name="Freeform 42"/>
              <p:cNvSpPr>
                <a:spLocks/>
              </p:cNvSpPr>
              <p:nvPr userDrawn="1"/>
            </p:nvSpPr>
            <p:spPr bwMode="auto">
              <a:xfrm>
                <a:off x="2462" y="2351"/>
                <a:ext cx="54" cy="48"/>
              </a:xfrm>
              <a:custGeom>
                <a:avLst/>
                <a:gdLst/>
                <a:ahLst/>
                <a:cxnLst>
                  <a:cxn ang="0">
                    <a:pos x="27" y="0"/>
                  </a:cxn>
                  <a:cxn ang="0">
                    <a:pos x="27" y="0"/>
                  </a:cxn>
                  <a:cxn ang="0">
                    <a:pos x="17" y="2"/>
                  </a:cxn>
                  <a:cxn ang="0">
                    <a:pos x="6" y="8"/>
                  </a:cxn>
                  <a:cxn ang="0">
                    <a:pos x="6" y="8"/>
                  </a:cxn>
                  <a:cxn ang="0">
                    <a:pos x="2" y="15"/>
                  </a:cxn>
                  <a:cxn ang="0">
                    <a:pos x="0" y="24"/>
                  </a:cxn>
                  <a:cxn ang="0">
                    <a:pos x="2" y="33"/>
                  </a:cxn>
                  <a:cxn ang="0">
                    <a:pos x="6" y="41"/>
                  </a:cxn>
                  <a:cxn ang="0">
                    <a:pos x="6" y="41"/>
                  </a:cxn>
                  <a:cxn ang="0">
                    <a:pos x="17" y="47"/>
                  </a:cxn>
                  <a:cxn ang="0">
                    <a:pos x="27" y="48"/>
                  </a:cxn>
                  <a:cxn ang="0">
                    <a:pos x="27" y="48"/>
                  </a:cxn>
                  <a:cxn ang="0">
                    <a:pos x="38" y="47"/>
                  </a:cxn>
                  <a:cxn ang="0">
                    <a:pos x="46" y="41"/>
                  </a:cxn>
                  <a:cxn ang="0">
                    <a:pos x="46" y="41"/>
                  </a:cxn>
                  <a:cxn ang="0">
                    <a:pos x="52" y="33"/>
                  </a:cxn>
                  <a:cxn ang="0">
                    <a:pos x="54" y="24"/>
                  </a:cxn>
                  <a:cxn ang="0">
                    <a:pos x="52" y="15"/>
                  </a:cxn>
                  <a:cxn ang="0">
                    <a:pos x="46" y="8"/>
                  </a:cxn>
                  <a:cxn ang="0">
                    <a:pos x="46" y="8"/>
                  </a:cxn>
                  <a:cxn ang="0">
                    <a:pos x="38" y="2"/>
                  </a:cxn>
                  <a:cxn ang="0">
                    <a:pos x="27" y="0"/>
                  </a:cxn>
                </a:cxnLst>
                <a:rect l="0" t="0" r="r" b="b"/>
                <a:pathLst>
                  <a:path w="54" h="48">
                    <a:moveTo>
                      <a:pt x="27" y="0"/>
                    </a:moveTo>
                    <a:lnTo>
                      <a:pt x="27" y="0"/>
                    </a:lnTo>
                    <a:lnTo>
                      <a:pt x="17" y="2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2" y="15"/>
                    </a:lnTo>
                    <a:lnTo>
                      <a:pt x="0" y="24"/>
                    </a:lnTo>
                    <a:lnTo>
                      <a:pt x="2" y="33"/>
                    </a:lnTo>
                    <a:lnTo>
                      <a:pt x="6" y="41"/>
                    </a:lnTo>
                    <a:lnTo>
                      <a:pt x="6" y="41"/>
                    </a:lnTo>
                    <a:lnTo>
                      <a:pt x="17" y="47"/>
                    </a:lnTo>
                    <a:lnTo>
                      <a:pt x="27" y="48"/>
                    </a:lnTo>
                    <a:lnTo>
                      <a:pt x="27" y="48"/>
                    </a:lnTo>
                    <a:lnTo>
                      <a:pt x="38" y="47"/>
                    </a:lnTo>
                    <a:lnTo>
                      <a:pt x="46" y="41"/>
                    </a:lnTo>
                    <a:lnTo>
                      <a:pt x="46" y="41"/>
                    </a:lnTo>
                    <a:lnTo>
                      <a:pt x="52" y="33"/>
                    </a:lnTo>
                    <a:lnTo>
                      <a:pt x="54" y="24"/>
                    </a:lnTo>
                    <a:lnTo>
                      <a:pt x="52" y="15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38" y="2"/>
                    </a:lnTo>
                    <a:lnTo>
                      <a:pt x="2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28" name="Freeform 43"/>
              <p:cNvSpPr>
                <a:spLocks/>
              </p:cNvSpPr>
              <p:nvPr userDrawn="1"/>
            </p:nvSpPr>
            <p:spPr bwMode="auto">
              <a:xfrm>
                <a:off x="2300" y="2513"/>
                <a:ext cx="48" cy="48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6" y="2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2" y="16"/>
                  </a:cxn>
                  <a:cxn ang="0">
                    <a:pos x="0" y="24"/>
                  </a:cxn>
                  <a:cxn ang="0">
                    <a:pos x="2" y="34"/>
                  </a:cxn>
                  <a:cxn ang="0">
                    <a:pos x="8" y="42"/>
                  </a:cxn>
                  <a:cxn ang="0">
                    <a:pos x="8" y="42"/>
                  </a:cxn>
                  <a:cxn ang="0">
                    <a:pos x="16" y="46"/>
                  </a:cxn>
                  <a:cxn ang="0">
                    <a:pos x="24" y="48"/>
                  </a:cxn>
                  <a:cxn ang="0">
                    <a:pos x="24" y="48"/>
                  </a:cxn>
                  <a:cxn ang="0">
                    <a:pos x="34" y="46"/>
                  </a:cxn>
                  <a:cxn ang="0">
                    <a:pos x="40" y="42"/>
                  </a:cxn>
                  <a:cxn ang="0">
                    <a:pos x="40" y="42"/>
                  </a:cxn>
                  <a:cxn ang="0">
                    <a:pos x="46" y="34"/>
                  </a:cxn>
                  <a:cxn ang="0">
                    <a:pos x="48" y="24"/>
                  </a:cxn>
                  <a:cxn ang="0">
                    <a:pos x="46" y="16"/>
                  </a:cxn>
                  <a:cxn ang="0">
                    <a:pos x="40" y="8"/>
                  </a:cxn>
                  <a:cxn ang="0">
                    <a:pos x="40" y="8"/>
                  </a:cxn>
                  <a:cxn ang="0">
                    <a:pos x="34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lnTo>
                      <a:pt x="24" y="0"/>
                    </a:lnTo>
                    <a:lnTo>
                      <a:pt x="16" y="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2" y="16"/>
                    </a:lnTo>
                    <a:lnTo>
                      <a:pt x="0" y="24"/>
                    </a:lnTo>
                    <a:lnTo>
                      <a:pt x="2" y="34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16" y="46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34" y="46"/>
                    </a:lnTo>
                    <a:lnTo>
                      <a:pt x="40" y="42"/>
                    </a:lnTo>
                    <a:lnTo>
                      <a:pt x="40" y="42"/>
                    </a:lnTo>
                    <a:lnTo>
                      <a:pt x="46" y="34"/>
                    </a:lnTo>
                    <a:lnTo>
                      <a:pt x="48" y="24"/>
                    </a:lnTo>
                    <a:lnTo>
                      <a:pt x="46" y="16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34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29" name="Freeform 44"/>
              <p:cNvSpPr>
                <a:spLocks/>
              </p:cNvSpPr>
              <p:nvPr userDrawn="1"/>
            </p:nvSpPr>
            <p:spPr bwMode="auto">
              <a:xfrm>
                <a:off x="2300" y="2513"/>
                <a:ext cx="48" cy="48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6" y="2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2" y="16"/>
                  </a:cxn>
                  <a:cxn ang="0">
                    <a:pos x="0" y="24"/>
                  </a:cxn>
                  <a:cxn ang="0">
                    <a:pos x="2" y="34"/>
                  </a:cxn>
                  <a:cxn ang="0">
                    <a:pos x="8" y="42"/>
                  </a:cxn>
                  <a:cxn ang="0">
                    <a:pos x="8" y="42"/>
                  </a:cxn>
                  <a:cxn ang="0">
                    <a:pos x="16" y="46"/>
                  </a:cxn>
                  <a:cxn ang="0">
                    <a:pos x="24" y="48"/>
                  </a:cxn>
                  <a:cxn ang="0">
                    <a:pos x="24" y="48"/>
                  </a:cxn>
                  <a:cxn ang="0">
                    <a:pos x="34" y="46"/>
                  </a:cxn>
                  <a:cxn ang="0">
                    <a:pos x="40" y="42"/>
                  </a:cxn>
                  <a:cxn ang="0">
                    <a:pos x="40" y="42"/>
                  </a:cxn>
                  <a:cxn ang="0">
                    <a:pos x="46" y="34"/>
                  </a:cxn>
                  <a:cxn ang="0">
                    <a:pos x="48" y="24"/>
                  </a:cxn>
                  <a:cxn ang="0">
                    <a:pos x="46" y="16"/>
                  </a:cxn>
                  <a:cxn ang="0">
                    <a:pos x="40" y="8"/>
                  </a:cxn>
                  <a:cxn ang="0">
                    <a:pos x="40" y="8"/>
                  </a:cxn>
                  <a:cxn ang="0">
                    <a:pos x="34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lnTo>
                      <a:pt x="24" y="0"/>
                    </a:lnTo>
                    <a:lnTo>
                      <a:pt x="16" y="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2" y="16"/>
                    </a:lnTo>
                    <a:lnTo>
                      <a:pt x="0" y="24"/>
                    </a:lnTo>
                    <a:lnTo>
                      <a:pt x="2" y="34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16" y="46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34" y="46"/>
                    </a:lnTo>
                    <a:lnTo>
                      <a:pt x="40" y="42"/>
                    </a:lnTo>
                    <a:lnTo>
                      <a:pt x="40" y="42"/>
                    </a:lnTo>
                    <a:lnTo>
                      <a:pt x="46" y="34"/>
                    </a:lnTo>
                    <a:lnTo>
                      <a:pt x="48" y="24"/>
                    </a:lnTo>
                    <a:lnTo>
                      <a:pt x="46" y="16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34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30" name="Freeform 45"/>
              <p:cNvSpPr>
                <a:spLocks/>
              </p:cNvSpPr>
              <p:nvPr userDrawn="1"/>
            </p:nvSpPr>
            <p:spPr bwMode="auto">
              <a:xfrm>
                <a:off x="3656" y="2279"/>
                <a:ext cx="102" cy="102"/>
              </a:xfrm>
              <a:custGeom>
                <a:avLst/>
                <a:gdLst/>
                <a:ahLst/>
                <a:cxnLst>
                  <a:cxn ang="0">
                    <a:pos x="52" y="0"/>
                  </a:cxn>
                  <a:cxn ang="0">
                    <a:pos x="52" y="0"/>
                  </a:cxn>
                  <a:cxn ang="0">
                    <a:pos x="42" y="0"/>
                  </a:cxn>
                  <a:cxn ang="0">
                    <a:pos x="34" y="2"/>
                  </a:cxn>
                  <a:cxn ang="0">
                    <a:pos x="28" y="6"/>
                  </a:cxn>
                  <a:cxn ang="0">
                    <a:pos x="20" y="10"/>
                  </a:cxn>
                  <a:cxn ang="0">
                    <a:pos x="14" y="16"/>
                  </a:cxn>
                  <a:cxn ang="0">
                    <a:pos x="8" y="22"/>
                  </a:cxn>
                  <a:cxn ang="0">
                    <a:pos x="4" y="30"/>
                  </a:cxn>
                  <a:cxn ang="0">
                    <a:pos x="2" y="38"/>
                  </a:cxn>
                  <a:cxn ang="0">
                    <a:pos x="2" y="38"/>
                  </a:cxn>
                  <a:cxn ang="0">
                    <a:pos x="0" y="48"/>
                  </a:cxn>
                  <a:cxn ang="0">
                    <a:pos x="0" y="58"/>
                  </a:cxn>
                  <a:cxn ang="0">
                    <a:pos x="2" y="68"/>
                  </a:cxn>
                  <a:cxn ang="0">
                    <a:pos x="6" y="76"/>
                  </a:cxn>
                  <a:cxn ang="0">
                    <a:pos x="12" y="84"/>
                  </a:cxn>
                  <a:cxn ang="0">
                    <a:pos x="20" y="92"/>
                  </a:cxn>
                  <a:cxn ang="0">
                    <a:pos x="28" y="96"/>
                  </a:cxn>
                  <a:cxn ang="0">
                    <a:pos x="38" y="100"/>
                  </a:cxn>
                  <a:cxn ang="0">
                    <a:pos x="38" y="100"/>
                  </a:cxn>
                  <a:cxn ang="0">
                    <a:pos x="52" y="102"/>
                  </a:cxn>
                  <a:cxn ang="0">
                    <a:pos x="52" y="102"/>
                  </a:cxn>
                  <a:cxn ang="0">
                    <a:pos x="60" y="102"/>
                  </a:cxn>
                  <a:cxn ang="0">
                    <a:pos x="68" y="100"/>
                  </a:cxn>
                  <a:cxn ang="0">
                    <a:pos x="76" y="96"/>
                  </a:cxn>
                  <a:cxn ang="0">
                    <a:pos x="82" y="92"/>
                  </a:cxn>
                  <a:cxn ang="0">
                    <a:pos x="88" y="86"/>
                  </a:cxn>
                  <a:cxn ang="0">
                    <a:pos x="94" y="80"/>
                  </a:cxn>
                  <a:cxn ang="0">
                    <a:pos x="98" y="72"/>
                  </a:cxn>
                  <a:cxn ang="0">
                    <a:pos x="102" y="64"/>
                  </a:cxn>
                  <a:cxn ang="0">
                    <a:pos x="102" y="64"/>
                  </a:cxn>
                  <a:cxn ang="0">
                    <a:pos x="102" y="54"/>
                  </a:cxn>
                  <a:cxn ang="0">
                    <a:pos x="102" y="44"/>
                  </a:cxn>
                  <a:cxn ang="0">
                    <a:pos x="100" y="34"/>
                  </a:cxn>
                  <a:cxn ang="0">
                    <a:pos x="96" y="26"/>
                  </a:cxn>
                  <a:cxn ang="0">
                    <a:pos x="90" y="18"/>
                  </a:cxn>
                  <a:cxn ang="0">
                    <a:pos x="84" y="10"/>
                  </a:cxn>
                  <a:cxn ang="0">
                    <a:pos x="74" y="4"/>
                  </a:cxn>
                  <a:cxn ang="0">
                    <a:pos x="64" y="2"/>
                  </a:cxn>
                  <a:cxn ang="0">
                    <a:pos x="64" y="2"/>
                  </a:cxn>
                  <a:cxn ang="0">
                    <a:pos x="52" y="0"/>
                  </a:cxn>
                </a:cxnLst>
                <a:rect l="0" t="0" r="r" b="b"/>
                <a:pathLst>
                  <a:path w="102" h="102">
                    <a:moveTo>
                      <a:pt x="52" y="0"/>
                    </a:moveTo>
                    <a:lnTo>
                      <a:pt x="52" y="0"/>
                    </a:lnTo>
                    <a:lnTo>
                      <a:pt x="42" y="0"/>
                    </a:lnTo>
                    <a:lnTo>
                      <a:pt x="34" y="2"/>
                    </a:lnTo>
                    <a:lnTo>
                      <a:pt x="28" y="6"/>
                    </a:lnTo>
                    <a:lnTo>
                      <a:pt x="20" y="10"/>
                    </a:lnTo>
                    <a:lnTo>
                      <a:pt x="14" y="16"/>
                    </a:lnTo>
                    <a:lnTo>
                      <a:pt x="8" y="22"/>
                    </a:lnTo>
                    <a:lnTo>
                      <a:pt x="4" y="30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0" y="48"/>
                    </a:lnTo>
                    <a:lnTo>
                      <a:pt x="0" y="58"/>
                    </a:lnTo>
                    <a:lnTo>
                      <a:pt x="2" y="68"/>
                    </a:lnTo>
                    <a:lnTo>
                      <a:pt x="6" y="76"/>
                    </a:lnTo>
                    <a:lnTo>
                      <a:pt x="12" y="84"/>
                    </a:lnTo>
                    <a:lnTo>
                      <a:pt x="20" y="92"/>
                    </a:lnTo>
                    <a:lnTo>
                      <a:pt x="28" y="96"/>
                    </a:lnTo>
                    <a:lnTo>
                      <a:pt x="38" y="100"/>
                    </a:lnTo>
                    <a:lnTo>
                      <a:pt x="38" y="100"/>
                    </a:lnTo>
                    <a:lnTo>
                      <a:pt x="52" y="102"/>
                    </a:lnTo>
                    <a:lnTo>
                      <a:pt x="52" y="102"/>
                    </a:lnTo>
                    <a:lnTo>
                      <a:pt x="60" y="102"/>
                    </a:lnTo>
                    <a:lnTo>
                      <a:pt x="68" y="100"/>
                    </a:lnTo>
                    <a:lnTo>
                      <a:pt x="76" y="96"/>
                    </a:lnTo>
                    <a:lnTo>
                      <a:pt x="82" y="92"/>
                    </a:lnTo>
                    <a:lnTo>
                      <a:pt x="88" y="86"/>
                    </a:lnTo>
                    <a:lnTo>
                      <a:pt x="94" y="80"/>
                    </a:lnTo>
                    <a:lnTo>
                      <a:pt x="98" y="72"/>
                    </a:lnTo>
                    <a:lnTo>
                      <a:pt x="102" y="64"/>
                    </a:lnTo>
                    <a:lnTo>
                      <a:pt x="102" y="64"/>
                    </a:lnTo>
                    <a:lnTo>
                      <a:pt x="102" y="54"/>
                    </a:lnTo>
                    <a:lnTo>
                      <a:pt x="102" y="44"/>
                    </a:lnTo>
                    <a:lnTo>
                      <a:pt x="100" y="34"/>
                    </a:lnTo>
                    <a:lnTo>
                      <a:pt x="96" y="26"/>
                    </a:lnTo>
                    <a:lnTo>
                      <a:pt x="90" y="18"/>
                    </a:lnTo>
                    <a:lnTo>
                      <a:pt x="84" y="10"/>
                    </a:lnTo>
                    <a:lnTo>
                      <a:pt x="74" y="4"/>
                    </a:lnTo>
                    <a:lnTo>
                      <a:pt x="64" y="2"/>
                    </a:lnTo>
                    <a:lnTo>
                      <a:pt x="64" y="2"/>
                    </a:lnTo>
                    <a:lnTo>
                      <a:pt x="5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31" name="Freeform 46"/>
              <p:cNvSpPr>
                <a:spLocks/>
              </p:cNvSpPr>
              <p:nvPr userDrawn="1"/>
            </p:nvSpPr>
            <p:spPr bwMode="auto">
              <a:xfrm>
                <a:off x="3656" y="2279"/>
                <a:ext cx="102" cy="102"/>
              </a:xfrm>
              <a:custGeom>
                <a:avLst/>
                <a:gdLst/>
                <a:ahLst/>
                <a:cxnLst>
                  <a:cxn ang="0">
                    <a:pos x="52" y="0"/>
                  </a:cxn>
                  <a:cxn ang="0">
                    <a:pos x="52" y="0"/>
                  </a:cxn>
                  <a:cxn ang="0">
                    <a:pos x="42" y="0"/>
                  </a:cxn>
                  <a:cxn ang="0">
                    <a:pos x="34" y="2"/>
                  </a:cxn>
                  <a:cxn ang="0">
                    <a:pos x="28" y="6"/>
                  </a:cxn>
                  <a:cxn ang="0">
                    <a:pos x="20" y="10"/>
                  </a:cxn>
                  <a:cxn ang="0">
                    <a:pos x="14" y="16"/>
                  </a:cxn>
                  <a:cxn ang="0">
                    <a:pos x="8" y="22"/>
                  </a:cxn>
                  <a:cxn ang="0">
                    <a:pos x="4" y="30"/>
                  </a:cxn>
                  <a:cxn ang="0">
                    <a:pos x="2" y="38"/>
                  </a:cxn>
                  <a:cxn ang="0">
                    <a:pos x="2" y="38"/>
                  </a:cxn>
                  <a:cxn ang="0">
                    <a:pos x="0" y="48"/>
                  </a:cxn>
                  <a:cxn ang="0">
                    <a:pos x="0" y="58"/>
                  </a:cxn>
                  <a:cxn ang="0">
                    <a:pos x="2" y="68"/>
                  </a:cxn>
                  <a:cxn ang="0">
                    <a:pos x="6" y="76"/>
                  </a:cxn>
                  <a:cxn ang="0">
                    <a:pos x="12" y="84"/>
                  </a:cxn>
                  <a:cxn ang="0">
                    <a:pos x="20" y="92"/>
                  </a:cxn>
                  <a:cxn ang="0">
                    <a:pos x="28" y="96"/>
                  </a:cxn>
                  <a:cxn ang="0">
                    <a:pos x="38" y="100"/>
                  </a:cxn>
                  <a:cxn ang="0">
                    <a:pos x="38" y="100"/>
                  </a:cxn>
                  <a:cxn ang="0">
                    <a:pos x="52" y="102"/>
                  </a:cxn>
                  <a:cxn ang="0">
                    <a:pos x="52" y="102"/>
                  </a:cxn>
                  <a:cxn ang="0">
                    <a:pos x="60" y="102"/>
                  </a:cxn>
                  <a:cxn ang="0">
                    <a:pos x="68" y="100"/>
                  </a:cxn>
                  <a:cxn ang="0">
                    <a:pos x="76" y="96"/>
                  </a:cxn>
                  <a:cxn ang="0">
                    <a:pos x="82" y="92"/>
                  </a:cxn>
                  <a:cxn ang="0">
                    <a:pos x="88" y="86"/>
                  </a:cxn>
                  <a:cxn ang="0">
                    <a:pos x="94" y="80"/>
                  </a:cxn>
                  <a:cxn ang="0">
                    <a:pos x="98" y="72"/>
                  </a:cxn>
                  <a:cxn ang="0">
                    <a:pos x="102" y="64"/>
                  </a:cxn>
                  <a:cxn ang="0">
                    <a:pos x="102" y="64"/>
                  </a:cxn>
                  <a:cxn ang="0">
                    <a:pos x="102" y="54"/>
                  </a:cxn>
                  <a:cxn ang="0">
                    <a:pos x="102" y="44"/>
                  </a:cxn>
                  <a:cxn ang="0">
                    <a:pos x="100" y="34"/>
                  </a:cxn>
                  <a:cxn ang="0">
                    <a:pos x="96" y="26"/>
                  </a:cxn>
                  <a:cxn ang="0">
                    <a:pos x="90" y="18"/>
                  </a:cxn>
                  <a:cxn ang="0">
                    <a:pos x="84" y="10"/>
                  </a:cxn>
                  <a:cxn ang="0">
                    <a:pos x="74" y="4"/>
                  </a:cxn>
                  <a:cxn ang="0">
                    <a:pos x="64" y="2"/>
                  </a:cxn>
                  <a:cxn ang="0">
                    <a:pos x="64" y="2"/>
                  </a:cxn>
                  <a:cxn ang="0">
                    <a:pos x="52" y="0"/>
                  </a:cxn>
                </a:cxnLst>
                <a:rect l="0" t="0" r="r" b="b"/>
                <a:pathLst>
                  <a:path w="102" h="102">
                    <a:moveTo>
                      <a:pt x="52" y="0"/>
                    </a:moveTo>
                    <a:lnTo>
                      <a:pt x="52" y="0"/>
                    </a:lnTo>
                    <a:lnTo>
                      <a:pt x="42" y="0"/>
                    </a:lnTo>
                    <a:lnTo>
                      <a:pt x="34" y="2"/>
                    </a:lnTo>
                    <a:lnTo>
                      <a:pt x="28" y="6"/>
                    </a:lnTo>
                    <a:lnTo>
                      <a:pt x="20" y="10"/>
                    </a:lnTo>
                    <a:lnTo>
                      <a:pt x="14" y="16"/>
                    </a:lnTo>
                    <a:lnTo>
                      <a:pt x="8" y="22"/>
                    </a:lnTo>
                    <a:lnTo>
                      <a:pt x="4" y="30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0" y="48"/>
                    </a:lnTo>
                    <a:lnTo>
                      <a:pt x="0" y="58"/>
                    </a:lnTo>
                    <a:lnTo>
                      <a:pt x="2" y="68"/>
                    </a:lnTo>
                    <a:lnTo>
                      <a:pt x="6" y="76"/>
                    </a:lnTo>
                    <a:lnTo>
                      <a:pt x="12" y="84"/>
                    </a:lnTo>
                    <a:lnTo>
                      <a:pt x="20" y="92"/>
                    </a:lnTo>
                    <a:lnTo>
                      <a:pt x="28" y="96"/>
                    </a:lnTo>
                    <a:lnTo>
                      <a:pt x="38" y="100"/>
                    </a:lnTo>
                    <a:lnTo>
                      <a:pt x="38" y="100"/>
                    </a:lnTo>
                    <a:lnTo>
                      <a:pt x="52" y="102"/>
                    </a:lnTo>
                    <a:lnTo>
                      <a:pt x="52" y="102"/>
                    </a:lnTo>
                    <a:lnTo>
                      <a:pt x="60" y="102"/>
                    </a:lnTo>
                    <a:lnTo>
                      <a:pt x="68" y="100"/>
                    </a:lnTo>
                    <a:lnTo>
                      <a:pt x="76" y="96"/>
                    </a:lnTo>
                    <a:lnTo>
                      <a:pt x="82" y="92"/>
                    </a:lnTo>
                    <a:lnTo>
                      <a:pt x="88" y="86"/>
                    </a:lnTo>
                    <a:lnTo>
                      <a:pt x="94" y="80"/>
                    </a:lnTo>
                    <a:lnTo>
                      <a:pt x="98" y="72"/>
                    </a:lnTo>
                    <a:lnTo>
                      <a:pt x="102" y="64"/>
                    </a:lnTo>
                    <a:lnTo>
                      <a:pt x="102" y="64"/>
                    </a:lnTo>
                    <a:lnTo>
                      <a:pt x="102" y="54"/>
                    </a:lnTo>
                    <a:lnTo>
                      <a:pt x="102" y="44"/>
                    </a:lnTo>
                    <a:lnTo>
                      <a:pt x="100" y="34"/>
                    </a:lnTo>
                    <a:lnTo>
                      <a:pt x="96" y="26"/>
                    </a:lnTo>
                    <a:lnTo>
                      <a:pt x="90" y="18"/>
                    </a:lnTo>
                    <a:lnTo>
                      <a:pt x="84" y="10"/>
                    </a:lnTo>
                    <a:lnTo>
                      <a:pt x="74" y="4"/>
                    </a:lnTo>
                    <a:lnTo>
                      <a:pt x="64" y="2"/>
                    </a:lnTo>
                    <a:lnTo>
                      <a:pt x="64" y="2"/>
                    </a:lnTo>
                    <a:lnTo>
                      <a:pt x="5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32" name="Freeform 47"/>
              <p:cNvSpPr>
                <a:spLocks/>
              </p:cNvSpPr>
              <p:nvPr userDrawn="1"/>
            </p:nvSpPr>
            <p:spPr bwMode="auto">
              <a:xfrm>
                <a:off x="3836" y="2369"/>
                <a:ext cx="90" cy="90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45" y="0"/>
                  </a:cxn>
                  <a:cxn ang="0">
                    <a:pos x="38" y="0"/>
                  </a:cxn>
                  <a:cxn ang="0">
                    <a:pos x="32" y="2"/>
                  </a:cxn>
                  <a:cxn ang="0">
                    <a:pos x="18" y="10"/>
                  </a:cxn>
                  <a:cxn ang="0">
                    <a:pos x="12" y="14"/>
                  </a:cxn>
                  <a:cxn ang="0">
                    <a:pos x="8" y="20"/>
                  </a:cxn>
                  <a:cxn ang="0">
                    <a:pos x="4" y="28"/>
                  </a:cxn>
                  <a:cxn ang="0">
                    <a:pos x="2" y="33"/>
                  </a:cxn>
                  <a:cxn ang="0">
                    <a:pos x="2" y="33"/>
                  </a:cxn>
                  <a:cxn ang="0">
                    <a:pos x="0" y="43"/>
                  </a:cxn>
                  <a:cxn ang="0">
                    <a:pos x="0" y="51"/>
                  </a:cxn>
                  <a:cxn ang="0">
                    <a:pos x="2" y="61"/>
                  </a:cxn>
                  <a:cxn ang="0">
                    <a:pos x="6" y="69"/>
                  </a:cxn>
                  <a:cxn ang="0">
                    <a:pos x="12" y="77"/>
                  </a:cxn>
                  <a:cxn ang="0">
                    <a:pos x="18" y="83"/>
                  </a:cxn>
                  <a:cxn ang="0">
                    <a:pos x="26" y="86"/>
                  </a:cxn>
                  <a:cxn ang="0">
                    <a:pos x="33" y="90"/>
                  </a:cxn>
                  <a:cxn ang="0">
                    <a:pos x="33" y="90"/>
                  </a:cxn>
                  <a:cxn ang="0">
                    <a:pos x="45" y="90"/>
                  </a:cxn>
                  <a:cxn ang="0">
                    <a:pos x="45" y="90"/>
                  </a:cxn>
                  <a:cxn ang="0">
                    <a:pos x="53" y="90"/>
                  </a:cxn>
                  <a:cxn ang="0">
                    <a:pos x="61" y="88"/>
                  </a:cxn>
                  <a:cxn ang="0">
                    <a:pos x="73" y="83"/>
                  </a:cxn>
                  <a:cxn ang="0">
                    <a:pos x="78" y="77"/>
                  </a:cxn>
                  <a:cxn ang="0">
                    <a:pos x="83" y="71"/>
                  </a:cxn>
                  <a:cxn ang="0">
                    <a:pos x="86" y="65"/>
                  </a:cxn>
                  <a:cxn ang="0">
                    <a:pos x="90" y="57"/>
                  </a:cxn>
                  <a:cxn ang="0">
                    <a:pos x="90" y="57"/>
                  </a:cxn>
                  <a:cxn ang="0">
                    <a:pos x="90" y="49"/>
                  </a:cxn>
                  <a:cxn ang="0">
                    <a:pos x="90" y="39"/>
                  </a:cxn>
                  <a:cxn ang="0">
                    <a:pos x="88" y="32"/>
                  </a:cxn>
                  <a:cxn ang="0">
                    <a:pos x="84" y="24"/>
                  </a:cxn>
                  <a:cxn ang="0">
                    <a:pos x="80" y="16"/>
                  </a:cxn>
                  <a:cxn ang="0">
                    <a:pos x="75" y="10"/>
                  </a:cxn>
                  <a:cxn ang="0">
                    <a:pos x="67" y="6"/>
                  </a:cxn>
                  <a:cxn ang="0">
                    <a:pos x="57" y="2"/>
                  </a:cxn>
                  <a:cxn ang="0">
                    <a:pos x="57" y="2"/>
                  </a:cxn>
                  <a:cxn ang="0">
                    <a:pos x="45" y="0"/>
                  </a:cxn>
                </a:cxnLst>
                <a:rect l="0" t="0" r="r" b="b"/>
                <a:pathLst>
                  <a:path w="90" h="90">
                    <a:moveTo>
                      <a:pt x="45" y="0"/>
                    </a:moveTo>
                    <a:lnTo>
                      <a:pt x="45" y="0"/>
                    </a:lnTo>
                    <a:lnTo>
                      <a:pt x="38" y="0"/>
                    </a:lnTo>
                    <a:lnTo>
                      <a:pt x="32" y="2"/>
                    </a:lnTo>
                    <a:lnTo>
                      <a:pt x="18" y="10"/>
                    </a:lnTo>
                    <a:lnTo>
                      <a:pt x="12" y="14"/>
                    </a:lnTo>
                    <a:lnTo>
                      <a:pt x="8" y="20"/>
                    </a:lnTo>
                    <a:lnTo>
                      <a:pt x="4" y="28"/>
                    </a:lnTo>
                    <a:lnTo>
                      <a:pt x="2" y="33"/>
                    </a:lnTo>
                    <a:lnTo>
                      <a:pt x="2" y="33"/>
                    </a:lnTo>
                    <a:lnTo>
                      <a:pt x="0" y="43"/>
                    </a:lnTo>
                    <a:lnTo>
                      <a:pt x="0" y="51"/>
                    </a:lnTo>
                    <a:lnTo>
                      <a:pt x="2" y="61"/>
                    </a:lnTo>
                    <a:lnTo>
                      <a:pt x="6" y="69"/>
                    </a:lnTo>
                    <a:lnTo>
                      <a:pt x="12" y="77"/>
                    </a:lnTo>
                    <a:lnTo>
                      <a:pt x="18" y="83"/>
                    </a:lnTo>
                    <a:lnTo>
                      <a:pt x="26" y="86"/>
                    </a:lnTo>
                    <a:lnTo>
                      <a:pt x="33" y="90"/>
                    </a:lnTo>
                    <a:lnTo>
                      <a:pt x="33" y="90"/>
                    </a:lnTo>
                    <a:lnTo>
                      <a:pt x="45" y="90"/>
                    </a:lnTo>
                    <a:lnTo>
                      <a:pt x="45" y="90"/>
                    </a:lnTo>
                    <a:lnTo>
                      <a:pt x="53" y="90"/>
                    </a:lnTo>
                    <a:lnTo>
                      <a:pt x="61" y="88"/>
                    </a:lnTo>
                    <a:lnTo>
                      <a:pt x="73" y="83"/>
                    </a:lnTo>
                    <a:lnTo>
                      <a:pt x="78" y="77"/>
                    </a:lnTo>
                    <a:lnTo>
                      <a:pt x="83" y="71"/>
                    </a:lnTo>
                    <a:lnTo>
                      <a:pt x="86" y="65"/>
                    </a:lnTo>
                    <a:lnTo>
                      <a:pt x="90" y="57"/>
                    </a:lnTo>
                    <a:lnTo>
                      <a:pt x="90" y="57"/>
                    </a:lnTo>
                    <a:lnTo>
                      <a:pt x="90" y="49"/>
                    </a:lnTo>
                    <a:lnTo>
                      <a:pt x="90" y="39"/>
                    </a:lnTo>
                    <a:lnTo>
                      <a:pt x="88" y="32"/>
                    </a:lnTo>
                    <a:lnTo>
                      <a:pt x="84" y="24"/>
                    </a:lnTo>
                    <a:lnTo>
                      <a:pt x="80" y="16"/>
                    </a:lnTo>
                    <a:lnTo>
                      <a:pt x="75" y="10"/>
                    </a:lnTo>
                    <a:lnTo>
                      <a:pt x="67" y="6"/>
                    </a:lnTo>
                    <a:lnTo>
                      <a:pt x="57" y="2"/>
                    </a:lnTo>
                    <a:lnTo>
                      <a:pt x="57" y="2"/>
                    </a:lnTo>
                    <a:lnTo>
                      <a:pt x="4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33" name="Freeform 48"/>
              <p:cNvSpPr>
                <a:spLocks/>
              </p:cNvSpPr>
              <p:nvPr userDrawn="1"/>
            </p:nvSpPr>
            <p:spPr bwMode="auto">
              <a:xfrm>
                <a:off x="3836" y="2369"/>
                <a:ext cx="90" cy="90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45" y="0"/>
                  </a:cxn>
                  <a:cxn ang="0">
                    <a:pos x="38" y="0"/>
                  </a:cxn>
                  <a:cxn ang="0">
                    <a:pos x="32" y="2"/>
                  </a:cxn>
                  <a:cxn ang="0">
                    <a:pos x="18" y="10"/>
                  </a:cxn>
                  <a:cxn ang="0">
                    <a:pos x="12" y="14"/>
                  </a:cxn>
                  <a:cxn ang="0">
                    <a:pos x="8" y="20"/>
                  </a:cxn>
                  <a:cxn ang="0">
                    <a:pos x="4" y="28"/>
                  </a:cxn>
                  <a:cxn ang="0">
                    <a:pos x="2" y="33"/>
                  </a:cxn>
                  <a:cxn ang="0">
                    <a:pos x="2" y="33"/>
                  </a:cxn>
                  <a:cxn ang="0">
                    <a:pos x="0" y="43"/>
                  </a:cxn>
                  <a:cxn ang="0">
                    <a:pos x="0" y="51"/>
                  </a:cxn>
                  <a:cxn ang="0">
                    <a:pos x="2" y="61"/>
                  </a:cxn>
                  <a:cxn ang="0">
                    <a:pos x="6" y="69"/>
                  </a:cxn>
                  <a:cxn ang="0">
                    <a:pos x="12" y="77"/>
                  </a:cxn>
                  <a:cxn ang="0">
                    <a:pos x="18" y="83"/>
                  </a:cxn>
                  <a:cxn ang="0">
                    <a:pos x="26" y="86"/>
                  </a:cxn>
                  <a:cxn ang="0">
                    <a:pos x="33" y="90"/>
                  </a:cxn>
                  <a:cxn ang="0">
                    <a:pos x="33" y="90"/>
                  </a:cxn>
                  <a:cxn ang="0">
                    <a:pos x="45" y="90"/>
                  </a:cxn>
                  <a:cxn ang="0">
                    <a:pos x="45" y="90"/>
                  </a:cxn>
                  <a:cxn ang="0">
                    <a:pos x="53" y="90"/>
                  </a:cxn>
                  <a:cxn ang="0">
                    <a:pos x="61" y="88"/>
                  </a:cxn>
                  <a:cxn ang="0">
                    <a:pos x="73" y="83"/>
                  </a:cxn>
                  <a:cxn ang="0">
                    <a:pos x="78" y="77"/>
                  </a:cxn>
                  <a:cxn ang="0">
                    <a:pos x="83" y="71"/>
                  </a:cxn>
                  <a:cxn ang="0">
                    <a:pos x="86" y="65"/>
                  </a:cxn>
                  <a:cxn ang="0">
                    <a:pos x="90" y="57"/>
                  </a:cxn>
                  <a:cxn ang="0">
                    <a:pos x="90" y="57"/>
                  </a:cxn>
                  <a:cxn ang="0">
                    <a:pos x="90" y="49"/>
                  </a:cxn>
                  <a:cxn ang="0">
                    <a:pos x="90" y="39"/>
                  </a:cxn>
                  <a:cxn ang="0">
                    <a:pos x="88" y="32"/>
                  </a:cxn>
                  <a:cxn ang="0">
                    <a:pos x="84" y="24"/>
                  </a:cxn>
                  <a:cxn ang="0">
                    <a:pos x="80" y="16"/>
                  </a:cxn>
                  <a:cxn ang="0">
                    <a:pos x="75" y="10"/>
                  </a:cxn>
                  <a:cxn ang="0">
                    <a:pos x="67" y="6"/>
                  </a:cxn>
                  <a:cxn ang="0">
                    <a:pos x="57" y="2"/>
                  </a:cxn>
                  <a:cxn ang="0">
                    <a:pos x="57" y="2"/>
                  </a:cxn>
                  <a:cxn ang="0">
                    <a:pos x="45" y="0"/>
                  </a:cxn>
                </a:cxnLst>
                <a:rect l="0" t="0" r="r" b="b"/>
                <a:pathLst>
                  <a:path w="90" h="90">
                    <a:moveTo>
                      <a:pt x="45" y="0"/>
                    </a:moveTo>
                    <a:lnTo>
                      <a:pt x="45" y="0"/>
                    </a:lnTo>
                    <a:lnTo>
                      <a:pt x="38" y="0"/>
                    </a:lnTo>
                    <a:lnTo>
                      <a:pt x="32" y="2"/>
                    </a:lnTo>
                    <a:lnTo>
                      <a:pt x="18" y="10"/>
                    </a:lnTo>
                    <a:lnTo>
                      <a:pt x="12" y="14"/>
                    </a:lnTo>
                    <a:lnTo>
                      <a:pt x="8" y="20"/>
                    </a:lnTo>
                    <a:lnTo>
                      <a:pt x="4" y="28"/>
                    </a:lnTo>
                    <a:lnTo>
                      <a:pt x="2" y="33"/>
                    </a:lnTo>
                    <a:lnTo>
                      <a:pt x="2" y="33"/>
                    </a:lnTo>
                    <a:lnTo>
                      <a:pt x="0" y="43"/>
                    </a:lnTo>
                    <a:lnTo>
                      <a:pt x="0" y="51"/>
                    </a:lnTo>
                    <a:lnTo>
                      <a:pt x="2" y="61"/>
                    </a:lnTo>
                    <a:lnTo>
                      <a:pt x="6" y="69"/>
                    </a:lnTo>
                    <a:lnTo>
                      <a:pt x="12" y="77"/>
                    </a:lnTo>
                    <a:lnTo>
                      <a:pt x="18" y="83"/>
                    </a:lnTo>
                    <a:lnTo>
                      <a:pt x="26" y="86"/>
                    </a:lnTo>
                    <a:lnTo>
                      <a:pt x="33" y="90"/>
                    </a:lnTo>
                    <a:lnTo>
                      <a:pt x="33" y="90"/>
                    </a:lnTo>
                    <a:lnTo>
                      <a:pt x="45" y="90"/>
                    </a:lnTo>
                    <a:lnTo>
                      <a:pt x="45" y="90"/>
                    </a:lnTo>
                    <a:lnTo>
                      <a:pt x="53" y="90"/>
                    </a:lnTo>
                    <a:lnTo>
                      <a:pt x="61" y="88"/>
                    </a:lnTo>
                    <a:lnTo>
                      <a:pt x="73" y="83"/>
                    </a:lnTo>
                    <a:lnTo>
                      <a:pt x="78" y="77"/>
                    </a:lnTo>
                    <a:lnTo>
                      <a:pt x="83" y="71"/>
                    </a:lnTo>
                    <a:lnTo>
                      <a:pt x="86" y="65"/>
                    </a:lnTo>
                    <a:lnTo>
                      <a:pt x="90" y="57"/>
                    </a:lnTo>
                    <a:lnTo>
                      <a:pt x="90" y="57"/>
                    </a:lnTo>
                    <a:lnTo>
                      <a:pt x="90" y="49"/>
                    </a:lnTo>
                    <a:lnTo>
                      <a:pt x="90" y="39"/>
                    </a:lnTo>
                    <a:lnTo>
                      <a:pt x="88" y="32"/>
                    </a:lnTo>
                    <a:lnTo>
                      <a:pt x="84" y="24"/>
                    </a:lnTo>
                    <a:lnTo>
                      <a:pt x="80" y="16"/>
                    </a:lnTo>
                    <a:lnTo>
                      <a:pt x="75" y="10"/>
                    </a:lnTo>
                    <a:lnTo>
                      <a:pt x="67" y="6"/>
                    </a:lnTo>
                    <a:lnTo>
                      <a:pt x="57" y="2"/>
                    </a:lnTo>
                    <a:lnTo>
                      <a:pt x="57" y="2"/>
                    </a:lnTo>
                    <a:lnTo>
                      <a:pt x="4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34" name="Freeform 49"/>
              <p:cNvSpPr>
                <a:spLocks/>
              </p:cNvSpPr>
              <p:nvPr userDrawn="1"/>
            </p:nvSpPr>
            <p:spPr bwMode="auto">
              <a:xfrm>
                <a:off x="3998" y="2483"/>
                <a:ext cx="84" cy="84"/>
              </a:xfrm>
              <a:custGeom>
                <a:avLst/>
                <a:gdLst/>
                <a:ahLst/>
                <a:cxnLst>
                  <a:cxn ang="0">
                    <a:pos x="41" y="0"/>
                  </a:cxn>
                  <a:cxn ang="0">
                    <a:pos x="41" y="0"/>
                  </a:cxn>
                  <a:cxn ang="0">
                    <a:pos x="29" y="2"/>
                  </a:cxn>
                  <a:cxn ang="0">
                    <a:pos x="17" y="8"/>
                  </a:cxn>
                  <a:cxn ang="0">
                    <a:pos x="6" y="18"/>
                  </a:cxn>
                  <a:cxn ang="0">
                    <a:pos x="4" y="24"/>
                  </a:cxn>
                  <a:cxn ang="0">
                    <a:pos x="0" y="30"/>
                  </a:cxn>
                  <a:cxn ang="0">
                    <a:pos x="0" y="30"/>
                  </a:cxn>
                  <a:cxn ang="0">
                    <a:pos x="0" y="40"/>
                  </a:cxn>
                  <a:cxn ang="0">
                    <a:pos x="0" y="48"/>
                  </a:cxn>
                  <a:cxn ang="0">
                    <a:pos x="2" y="56"/>
                  </a:cxn>
                  <a:cxn ang="0">
                    <a:pos x="4" y="62"/>
                  </a:cxn>
                  <a:cxn ang="0">
                    <a:pos x="11" y="68"/>
                  </a:cxn>
                  <a:cxn ang="0">
                    <a:pos x="17" y="74"/>
                  </a:cxn>
                  <a:cxn ang="0">
                    <a:pos x="23" y="78"/>
                  </a:cxn>
                  <a:cxn ang="0">
                    <a:pos x="31" y="82"/>
                  </a:cxn>
                  <a:cxn ang="0">
                    <a:pos x="31" y="82"/>
                  </a:cxn>
                  <a:cxn ang="0">
                    <a:pos x="41" y="84"/>
                  </a:cxn>
                  <a:cxn ang="0">
                    <a:pos x="41" y="84"/>
                  </a:cxn>
                  <a:cxn ang="0">
                    <a:pos x="56" y="82"/>
                  </a:cxn>
                  <a:cxn ang="0">
                    <a:pos x="68" y="74"/>
                  </a:cxn>
                  <a:cxn ang="0">
                    <a:pos x="78" y="66"/>
                  </a:cxn>
                  <a:cxn ang="0">
                    <a:pos x="80" y="58"/>
                  </a:cxn>
                  <a:cxn ang="0">
                    <a:pos x="84" y="52"/>
                  </a:cxn>
                  <a:cxn ang="0">
                    <a:pos x="84" y="52"/>
                  </a:cxn>
                  <a:cxn ang="0">
                    <a:pos x="84" y="44"/>
                  </a:cxn>
                  <a:cxn ang="0">
                    <a:pos x="84" y="36"/>
                  </a:cxn>
                  <a:cxn ang="0">
                    <a:pos x="82" y="28"/>
                  </a:cxn>
                  <a:cxn ang="0">
                    <a:pos x="80" y="20"/>
                  </a:cxn>
                  <a:cxn ang="0">
                    <a:pos x="74" y="14"/>
                  </a:cxn>
                  <a:cxn ang="0">
                    <a:pos x="68" y="8"/>
                  </a:cxn>
                  <a:cxn ang="0">
                    <a:pos x="62" y="4"/>
                  </a:cxn>
                  <a:cxn ang="0">
                    <a:pos x="54" y="2"/>
                  </a:cxn>
                  <a:cxn ang="0">
                    <a:pos x="54" y="2"/>
                  </a:cxn>
                  <a:cxn ang="0">
                    <a:pos x="41" y="0"/>
                  </a:cxn>
                </a:cxnLst>
                <a:rect l="0" t="0" r="r" b="b"/>
                <a:pathLst>
                  <a:path w="84" h="84">
                    <a:moveTo>
                      <a:pt x="41" y="0"/>
                    </a:moveTo>
                    <a:lnTo>
                      <a:pt x="41" y="0"/>
                    </a:lnTo>
                    <a:lnTo>
                      <a:pt x="29" y="2"/>
                    </a:lnTo>
                    <a:lnTo>
                      <a:pt x="17" y="8"/>
                    </a:lnTo>
                    <a:lnTo>
                      <a:pt x="6" y="18"/>
                    </a:lnTo>
                    <a:lnTo>
                      <a:pt x="4" y="2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2" y="56"/>
                    </a:lnTo>
                    <a:lnTo>
                      <a:pt x="4" y="62"/>
                    </a:lnTo>
                    <a:lnTo>
                      <a:pt x="11" y="68"/>
                    </a:lnTo>
                    <a:lnTo>
                      <a:pt x="17" y="74"/>
                    </a:lnTo>
                    <a:lnTo>
                      <a:pt x="23" y="78"/>
                    </a:lnTo>
                    <a:lnTo>
                      <a:pt x="31" y="82"/>
                    </a:lnTo>
                    <a:lnTo>
                      <a:pt x="31" y="82"/>
                    </a:lnTo>
                    <a:lnTo>
                      <a:pt x="41" y="84"/>
                    </a:lnTo>
                    <a:lnTo>
                      <a:pt x="41" y="84"/>
                    </a:lnTo>
                    <a:lnTo>
                      <a:pt x="56" y="82"/>
                    </a:lnTo>
                    <a:lnTo>
                      <a:pt x="68" y="74"/>
                    </a:lnTo>
                    <a:lnTo>
                      <a:pt x="78" y="66"/>
                    </a:lnTo>
                    <a:lnTo>
                      <a:pt x="80" y="58"/>
                    </a:lnTo>
                    <a:lnTo>
                      <a:pt x="84" y="52"/>
                    </a:lnTo>
                    <a:lnTo>
                      <a:pt x="84" y="52"/>
                    </a:lnTo>
                    <a:lnTo>
                      <a:pt x="84" y="44"/>
                    </a:lnTo>
                    <a:lnTo>
                      <a:pt x="84" y="36"/>
                    </a:lnTo>
                    <a:lnTo>
                      <a:pt x="82" y="28"/>
                    </a:lnTo>
                    <a:lnTo>
                      <a:pt x="80" y="20"/>
                    </a:lnTo>
                    <a:lnTo>
                      <a:pt x="74" y="14"/>
                    </a:lnTo>
                    <a:lnTo>
                      <a:pt x="68" y="8"/>
                    </a:lnTo>
                    <a:lnTo>
                      <a:pt x="62" y="4"/>
                    </a:lnTo>
                    <a:lnTo>
                      <a:pt x="54" y="2"/>
                    </a:lnTo>
                    <a:lnTo>
                      <a:pt x="54" y="2"/>
                    </a:lnTo>
                    <a:lnTo>
                      <a:pt x="4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35" name="Freeform 50"/>
              <p:cNvSpPr>
                <a:spLocks/>
              </p:cNvSpPr>
              <p:nvPr userDrawn="1"/>
            </p:nvSpPr>
            <p:spPr bwMode="auto">
              <a:xfrm>
                <a:off x="3998" y="2483"/>
                <a:ext cx="84" cy="84"/>
              </a:xfrm>
              <a:custGeom>
                <a:avLst/>
                <a:gdLst/>
                <a:ahLst/>
                <a:cxnLst>
                  <a:cxn ang="0">
                    <a:pos x="41" y="0"/>
                  </a:cxn>
                  <a:cxn ang="0">
                    <a:pos x="41" y="0"/>
                  </a:cxn>
                  <a:cxn ang="0">
                    <a:pos x="29" y="2"/>
                  </a:cxn>
                  <a:cxn ang="0">
                    <a:pos x="17" y="8"/>
                  </a:cxn>
                  <a:cxn ang="0">
                    <a:pos x="6" y="18"/>
                  </a:cxn>
                  <a:cxn ang="0">
                    <a:pos x="4" y="24"/>
                  </a:cxn>
                  <a:cxn ang="0">
                    <a:pos x="0" y="30"/>
                  </a:cxn>
                  <a:cxn ang="0">
                    <a:pos x="0" y="30"/>
                  </a:cxn>
                  <a:cxn ang="0">
                    <a:pos x="0" y="40"/>
                  </a:cxn>
                  <a:cxn ang="0">
                    <a:pos x="0" y="48"/>
                  </a:cxn>
                  <a:cxn ang="0">
                    <a:pos x="2" y="56"/>
                  </a:cxn>
                  <a:cxn ang="0">
                    <a:pos x="4" y="62"/>
                  </a:cxn>
                  <a:cxn ang="0">
                    <a:pos x="11" y="68"/>
                  </a:cxn>
                  <a:cxn ang="0">
                    <a:pos x="17" y="74"/>
                  </a:cxn>
                  <a:cxn ang="0">
                    <a:pos x="23" y="78"/>
                  </a:cxn>
                  <a:cxn ang="0">
                    <a:pos x="31" y="82"/>
                  </a:cxn>
                  <a:cxn ang="0">
                    <a:pos x="31" y="82"/>
                  </a:cxn>
                  <a:cxn ang="0">
                    <a:pos x="41" y="84"/>
                  </a:cxn>
                  <a:cxn ang="0">
                    <a:pos x="41" y="84"/>
                  </a:cxn>
                  <a:cxn ang="0">
                    <a:pos x="56" y="82"/>
                  </a:cxn>
                  <a:cxn ang="0">
                    <a:pos x="68" y="74"/>
                  </a:cxn>
                  <a:cxn ang="0">
                    <a:pos x="78" y="66"/>
                  </a:cxn>
                  <a:cxn ang="0">
                    <a:pos x="80" y="58"/>
                  </a:cxn>
                  <a:cxn ang="0">
                    <a:pos x="84" y="52"/>
                  </a:cxn>
                  <a:cxn ang="0">
                    <a:pos x="84" y="52"/>
                  </a:cxn>
                  <a:cxn ang="0">
                    <a:pos x="84" y="44"/>
                  </a:cxn>
                  <a:cxn ang="0">
                    <a:pos x="84" y="36"/>
                  </a:cxn>
                  <a:cxn ang="0">
                    <a:pos x="82" y="28"/>
                  </a:cxn>
                  <a:cxn ang="0">
                    <a:pos x="80" y="20"/>
                  </a:cxn>
                  <a:cxn ang="0">
                    <a:pos x="74" y="14"/>
                  </a:cxn>
                  <a:cxn ang="0">
                    <a:pos x="68" y="8"/>
                  </a:cxn>
                  <a:cxn ang="0">
                    <a:pos x="62" y="4"/>
                  </a:cxn>
                  <a:cxn ang="0">
                    <a:pos x="54" y="2"/>
                  </a:cxn>
                  <a:cxn ang="0">
                    <a:pos x="54" y="2"/>
                  </a:cxn>
                  <a:cxn ang="0">
                    <a:pos x="41" y="0"/>
                  </a:cxn>
                </a:cxnLst>
                <a:rect l="0" t="0" r="r" b="b"/>
                <a:pathLst>
                  <a:path w="84" h="84">
                    <a:moveTo>
                      <a:pt x="41" y="0"/>
                    </a:moveTo>
                    <a:lnTo>
                      <a:pt x="41" y="0"/>
                    </a:lnTo>
                    <a:lnTo>
                      <a:pt x="29" y="2"/>
                    </a:lnTo>
                    <a:lnTo>
                      <a:pt x="17" y="8"/>
                    </a:lnTo>
                    <a:lnTo>
                      <a:pt x="6" y="18"/>
                    </a:lnTo>
                    <a:lnTo>
                      <a:pt x="4" y="2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2" y="56"/>
                    </a:lnTo>
                    <a:lnTo>
                      <a:pt x="4" y="62"/>
                    </a:lnTo>
                    <a:lnTo>
                      <a:pt x="11" y="68"/>
                    </a:lnTo>
                    <a:lnTo>
                      <a:pt x="17" y="74"/>
                    </a:lnTo>
                    <a:lnTo>
                      <a:pt x="23" y="78"/>
                    </a:lnTo>
                    <a:lnTo>
                      <a:pt x="31" y="82"/>
                    </a:lnTo>
                    <a:lnTo>
                      <a:pt x="31" y="82"/>
                    </a:lnTo>
                    <a:lnTo>
                      <a:pt x="41" y="84"/>
                    </a:lnTo>
                    <a:lnTo>
                      <a:pt x="41" y="84"/>
                    </a:lnTo>
                    <a:lnTo>
                      <a:pt x="56" y="82"/>
                    </a:lnTo>
                    <a:lnTo>
                      <a:pt x="68" y="74"/>
                    </a:lnTo>
                    <a:lnTo>
                      <a:pt x="78" y="66"/>
                    </a:lnTo>
                    <a:lnTo>
                      <a:pt x="80" y="58"/>
                    </a:lnTo>
                    <a:lnTo>
                      <a:pt x="84" y="52"/>
                    </a:lnTo>
                    <a:lnTo>
                      <a:pt x="84" y="52"/>
                    </a:lnTo>
                    <a:lnTo>
                      <a:pt x="84" y="44"/>
                    </a:lnTo>
                    <a:lnTo>
                      <a:pt x="84" y="36"/>
                    </a:lnTo>
                    <a:lnTo>
                      <a:pt x="82" y="28"/>
                    </a:lnTo>
                    <a:lnTo>
                      <a:pt x="80" y="20"/>
                    </a:lnTo>
                    <a:lnTo>
                      <a:pt x="74" y="14"/>
                    </a:lnTo>
                    <a:lnTo>
                      <a:pt x="68" y="8"/>
                    </a:lnTo>
                    <a:lnTo>
                      <a:pt x="62" y="4"/>
                    </a:lnTo>
                    <a:lnTo>
                      <a:pt x="54" y="2"/>
                    </a:lnTo>
                    <a:lnTo>
                      <a:pt x="54" y="2"/>
                    </a:lnTo>
                    <a:lnTo>
                      <a:pt x="4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36" name="Freeform 51"/>
              <p:cNvSpPr>
                <a:spLocks/>
              </p:cNvSpPr>
              <p:nvPr userDrawn="1"/>
            </p:nvSpPr>
            <p:spPr bwMode="auto">
              <a:xfrm>
                <a:off x="4136" y="2621"/>
                <a:ext cx="78" cy="78"/>
              </a:xfrm>
              <a:custGeom>
                <a:avLst/>
                <a:gdLst/>
                <a:ahLst/>
                <a:cxnLst>
                  <a:cxn ang="0">
                    <a:pos x="39" y="0"/>
                  </a:cxn>
                  <a:cxn ang="0">
                    <a:pos x="39" y="0"/>
                  </a:cxn>
                  <a:cxn ang="0">
                    <a:pos x="27" y="2"/>
                  </a:cxn>
                  <a:cxn ang="0">
                    <a:pos x="15" y="8"/>
                  </a:cxn>
                  <a:cxn ang="0">
                    <a:pos x="6" y="19"/>
                  </a:cxn>
                  <a:cxn ang="0">
                    <a:pos x="2" y="29"/>
                  </a:cxn>
                  <a:cxn ang="0">
                    <a:pos x="2" y="29"/>
                  </a:cxn>
                  <a:cxn ang="0">
                    <a:pos x="0" y="37"/>
                  </a:cxn>
                  <a:cxn ang="0">
                    <a:pos x="0" y="45"/>
                  </a:cxn>
                  <a:cxn ang="0">
                    <a:pos x="2" y="51"/>
                  </a:cxn>
                  <a:cxn ang="0">
                    <a:pos x="6" y="58"/>
                  </a:cxn>
                  <a:cxn ang="0">
                    <a:pos x="11" y="64"/>
                  </a:cxn>
                  <a:cxn ang="0">
                    <a:pos x="15" y="70"/>
                  </a:cxn>
                  <a:cxn ang="0">
                    <a:pos x="21" y="74"/>
                  </a:cxn>
                  <a:cxn ang="0">
                    <a:pos x="29" y="76"/>
                  </a:cxn>
                  <a:cxn ang="0">
                    <a:pos x="29" y="76"/>
                  </a:cxn>
                  <a:cxn ang="0">
                    <a:pos x="39" y="78"/>
                  </a:cxn>
                  <a:cxn ang="0">
                    <a:pos x="39" y="78"/>
                  </a:cxn>
                  <a:cxn ang="0">
                    <a:pos x="51" y="76"/>
                  </a:cxn>
                  <a:cxn ang="0">
                    <a:pos x="62" y="70"/>
                  </a:cxn>
                  <a:cxn ang="0">
                    <a:pos x="70" y="62"/>
                  </a:cxn>
                  <a:cxn ang="0">
                    <a:pos x="76" y="50"/>
                  </a:cxn>
                  <a:cxn ang="0">
                    <a:pos x="76" y="50"/>
                  </a:cxn>
                  <a:cxn ang="0">
                    <a:pos x="78" y="41"/>
                  </a:cxn>
                  <a:cxn ang="0">
                    <a:pos x="76" y="35"/>
                  </a:cxn>
                  <a:cxn ang="0">
                    <a:pos x="76" y="27"/>
                  </a:cxn>
                  <a:cxn ang="0">
                    <a:pos x="72" y="21"/>
                  </a:cxn>
                  <a:cxn ang="0">
                    <a:pos x="68" y="15"/>
                  </a:cxn>
                  <a:cxn ang="0">
                    <a:pos x="62" y="8"/>
                  </a:cxn>
                  <a:cxn ang="0">
                    <a:pos x="56" y="4"/>
                  </a:cxn>
                  <a:cxn ang="0">
                    <a:pos x="50" y="2"/>
                  </a:cxn>
                  <a:cxn ang="0">
                    <a:pos x="50" y="2"/>
                  </a:cxn>
                  <a:cxn ang="0">
                    <a:pos x="39" y="0"/>
                  </a:cxn>
                </a:cxnLst>
                <a:rect l="0" t="0" r="r" b="b"/>
                <a:pathLst>
                  <a:path w="78" h="78">
                    <a:moveTo>
                      <a:pt x="39" y="0"/>
                    </a:moveTo>
                    <a:lnTo>
                      <a:pt x="39" y="0"/>
                    </a:lnTo>
                    <a:lnTo>
                      <a:pt x="27" y="2"/>
                    </a:lnTo>
                    <a:lnTo>
                      <a:pt x="15" y="8"/>
                    </a:lnTo>
                    <a:lnTo>
                      <a:pt x="6" y="19"/>
                    </a:lnTo>
                    <a:lnTo>
                      <a:pt x="2" y="29"/>
                    </a:lnTo>
                    <a:lnTo>
                      <a:pt x="2" y="29"/>
                    </a:lnTo>
                    <a:lnTo>
                      <a:pt x="0" y="37"/>
                    </a:lnTo>
                    <a:lnTo>
                      <a:pt x="0" y="45"/>
                    </a:lnTo>
                    <a:lnTo>
                      <a:pt x="2" y="51"/>
                    </a:lnTo>
                    <a:lnTo>
                      <a:pt x="6" y="58"/>
                    </a:lnTo>
                    <a:lnTo>
                      <a:pt x="11" y="64"/>
                    </a:lnTo>
                    <a:lnTo>
                      <a:pt x="15" y="70"/>
                    </a:lnTo>
                    <a:lnTo>
                      <a:pt x="21" y="74"/>
                    </a:lnTo>
                    <a:lnTo>
                      <a:pt x="29" y="76"/>
                    </a:lnTo>
                    <a:lnTo>
                      <a:pt x="29" y="76"/>
                    </a:lnTo>
                    <a:lnTo>
                      <a:pt x="39" y="78"/>
                    </a:lnTo>
                    <a:lnTo>
                      <a:pt x="39" y="78"/>
                    </a:lnTo>
                    <a:lnTo>
                      <a:pt x="51" y="76"/>
                    </a:lnTo>
                    <a:lnTo>
                      <a:pt x="62" y="70"/>
                    </a:lnTo>
                    <a:lnTo>
                      <a:pt x="70" y="62"/>
                    </a:lnTo>
                    <a:lnTo>
                      <a:pt x="76" y="50"/>
                    </a:lnTo>
                    <a:lnTo>
                      <a:pt x="76" y="50"/>
                    </a:lnTo>
                    <a:lnTo>
                      <a:pt x="78" y="41"/>
                    </a:lnTo>
                    <a:lnTo>
                      <a:pt x="76" y="35"/>
                    </a:lnTo>
                    <a:lnTo>
                      <a:pt x="76" y="27"/>
                    </a:lnTo>
                    <a:lnTo>
                      <a:pt x="72" y="21"/>
                    </a:lnTo>
                    <a:lnTo>
                      <a:pt x="68" y="15"/>
                    </a:lnTo>
                    <a:lnTo>
                      <a:pt x="62" y="8"/>
                    </a:lnTo>
                    <a:lnTo>
                      <a:pt x="56" y="4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37" name="Freeform 52"/>
              <p:cNvSpPr>
                <a:spLocks/>
              </p:cNvSpPr>
              <p:nvPr userDrawn="1"/>
            </p:nvSpPr>
            <p:spPr bwMode="auto">
              <a:xfrm>
                <a:off x="4136" y="2621"/>
                <a:ext cx="78" cy="78"/>
              </a:xfrm>
              <a:custGeom>
                <a:avLst/>
                <a:gdLst/>
                <a:ahLst/>
                <a:cxnLst>
                  <a:cxn ang="0">
                    <a:pos x="39" y="0"/>
                  </a:cxn>
                  <a:cxn ang="0">
                    <a:pos x="39" y="0"/>
                  </a:cxn>
                  <a:cxn ang="0">
                    <a:pos x="27" y="2"/>
                  </a:cxn>
                  <a:cxn ang="0">
                    <a:pos x="15" y="8"/>
                  </a:cxn>
                  <a:cxn ang="0">
                    <a:pos x="6" y="19"/>
                  </a:cxn>
                  <a:cxn ang="0">
                    <a:pos x="2" y="29"/>
                  </a:cxn>
                  <a:cxn ang="0">
                    <a:pos x="2" y="29"/>
                  </a:cxn>
                  <a:cxn ang="0">
                    <a:pos x="0" y="37"/>
                  </a:cxn>
                  <a:cxn ang="0">
                    <a:pos x="0" y="45"/>
                  </a:cxn>
                  <a:cxn ang="0">
                    <a:pos x="2" y="51"/>
                  </a:cxn>
                  <a:cxn ang="0">
                    <a:pos x="6" y="58"/>
                  </a:cxn>
                  <a:cxn ang="0">
                    <a:pos x="11" y="64"/>
                  </a:cxn>
                  <a:cxn ang="0">
                    <a:pos x="15" y="70"/>
                  </a:cxn>
                  <a:cxn ang="0">
                    <a:pos x="21" y="74"/>
                  </a:cxn>
                  <a:cxn ang="0">
                    <a:pos x="29" y="76"/>
                  </a:cxn>
                  <a:cxn ang="0">
                    <a:pos x="29" y="76"/>
                  </a:cxn>
                  <a:cxn ang="0">
                    <a:pos x="39" y="78"/>
                  </a:cxn>
                  <a:cxn ang="0">
                    <a:pos x="39" y="78"/>
                  </a:cxn>
                  <a:cxn ang="0">
                    <a:pos x="51" y="76"/>
                  </a:cxn>
                  <a:cxn ang="0">
                    <a:pos x="62" y="70"/>
                  </a:cxn>
                  <a:cxn ang="0">
                    <a:pos x="70" y="62"/>
                  </a:cxn>
                  <a:cxn ang="0">
                    <a:pos x="76" y="50"/>
                  </a:cxn>
                  <a:cxn ang="0">
                    <a:pos x="76" y="50"/>
                  </a:cxn>
                  <a:cxn ang="0">
                    <a:pos x="78" y="41"/>
                  </a:cxn>
                  <a:cxn ang="0">
                    <a:pos x="76" y="35"/>
                  </a:cxn>
                  <a:cxn ang="0">
                    <a:pos x="76" y="27"/>
                  </a:cxn>
                  <a:cxn ang="0">
                    <a:pos x="72" y="21"/>
                  </a:cxn>
                  <a:cxn ang="0">
                    <a:pos x="68" y="15"/>
                  </a:cxn>
                  <a:cxn ang="0">
                    <a:pos x="62" y="8"/>
                  </a:cxn>
                  <a:cxn ang="0">
                    <a:pos x="56" y="4"/>
                  </a:cxn>
                  <a:cxn ang="0">
                    <a:pos x="50" y="2"/>
                  </a:cxn>
                  <a:cxn ang="0">
                    <a:pos x="50" y="2"/>
                  </a:cxn>
                  <a:cxn ang="0">
                    <a:pos x="39" y="0"/>
                  </a:cxn>
                </a:cxnLst>
                <a:rect l="0" t="0" r="r" b="b"/>
                <a:pathLst>
                  <a:path w="78" h="78">
                    <a:moveTo>
                      <a:pt x="39" y="0"/>
                    </a:moveTo>
                    <a:lnTo>
                      <a:pt x="39" y="0"/>
                    </a:lnTo>
                    <a:lnTo>
                      <a:pt x="27" y="2"/>
                    </a:lnTo>
                    <a:lnTo>
                      <a:pt x="15" y="8"/>
                    </a:lnTo>
                    <a:lnTo>
                      <a:pt x="6" y="19"/>
                    </a:lnTo>
                    <a:lnTo>
                      <a:pt x="2" y="29"/>
                    </a:lnTo>
                    <a:lnTo>
                      <a:pt x="2" y="29"/>
                    </a:lnTo>
                    <a:lnTo>
                      <a:pt x="0" y="37"/>
                    </a:lnTo>
                    <a:lnTo>
                      <a:pt x="0" y="45"/>
                    </a:lnTo>
                    <a:lnTo>
                      <a:pt x="2" y="51"/>
                    </a:lnTo>
                    <a:lnTo>
                      <a:pt x="6" y="58"/>
                    </a:lnTo>
                    <a:lnTo>
                      <a:pt x="11" y="64"/>
                    </a:lnTo>
                    <a:lnTo>
                      <a:pt x="15" y="70"/>
                    </a:lnTo>
                    <a:lnTo>
                      <a:pt x="21" y="74"/>
                    </a:lnTo>
                    <a:lnTo>
                      <a:pt x="29" y="76"/>
                    </a:lnTo>
                    <a:lnTo>
                      <a:pt x="29" y="76"/>
                    </a:lnTo>
                    <a:lnTo>
                      <a:pt x="39" y="78"/>
                    </a:lnTo>
                    <a:lnTo>
                      <a:pt x="39" y="78"/>
                    </a:lnTo>
                    <a:lnTo>
                      <a:pt x="51" y="76"/>
                    </a:lnTo>
                    <a:lnTo>
                      <a:pt x="62" y="70"/>
                    </a:lnTo>
                    <a:lnTo>
                      <a:pt x="70" y="62"/>
                    </a:lnTo>
                    <a:lnTo>
                      <a:pt x="76" y="50"/>
                    </a:lnTo>
                    <a:lnTo>
                      <a:pt x="76" y="50"/>
                    </a:lnTo>
                    <a:lnTo>
                      <a:pt x="78" y="41"/>
                    </a:lnTo>
                    <a:lnTo>
                      <a:pt x="76" y="35"/>
                    </a:lnTo>
                    <a:lnTo>
                      <a:pt x="76" y="27"/>
                    </a:lnTo>
                    <a:lnTo>
                      <a:pt x="72" y="21"/>
                    </a:lnTo>
                    <a:lnTo>
                      <a:pt x="68" y="15"/>
                    </a:lnTo>
                    <a:lnTo>
                      <a:pt x="62" y="8"/>
                    </a:lnTo>
                    <a:lnTo>
                      <a:pt x="56" y="4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38" name="Freeform 53"/>
              <p:cNvSpPr>
                <a:spLocks/>
              </p:cNvSpPr>
              <p:nvPr userDrawn="1"/>
            </p:nvSpPr>
            <p:spPr bwMode="auto">
              <a:xfrm>
                <a:off x="4250" y="2783"/>
                <a:ext cx="72" cy="72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6" y="2"/>
                  </a:cxn>
                  <a:cxn ang="0">
                    <a:pos x="15" y="9"/>
                  </a:cxn>
                  <a:cxn ang="0">
                    <a:pos x="6" y="17"/>
                  </a:cxn>
                  <a:cxn ang="0">
                    <a:pos x="2" y="28"/>
                  </a:cxn>
                  <a:cxn ang="0">
                    <a:pos x="2" y="28"/>
                  </a:cxn>
                  <a:cxn ang="0">
                    <a:pos x="0" y="34"/>
                  </a:cxn>
                  <a:cxn ang="0">
                    <a:pos x="2" y="42"/>
                  </a:cxn>
                  <a:cxn ang="0">
                    <a:pos x="2" y="49"/>
                  </a:cxn>
                  <a:cxn ang="0">
                    <a:pos x="6" y="55"/>
                  </a:cxn>
                  <a:cxn ang="0">
                    <a:pos x="11" y="60"/>
                  </a:cxn>
                  <a:cxn ang="0">
                    <a:pos x="15" y="66"/>
                  </a:cxn>
                  <a:cxn ang="0">
                    <a:pos x="21" y="68"/>
                  </a:cxn>
                  <a:cxn ang="0">
                    <a:pos x="28" y="72"/>
                  </a:cxn>
                  <a:cxn ang="0">
                    <a:pos x="28" y="72"/>
                  </a:cxn>
                  <a:cxn ang="0">
                    <a:pos x="36" y="72"/>
                  </a:cxn>
                  <a:cxn ang="0">
                    <a:pos x="36" y="72"/>
                  </a:cxn>
                  <a:cxn ang="0">
                    <a:pos x="49" y="70"/>
                  </a:cxn>
                  <a:cxn ang="0">
                    <a:pos x="57" y="66"/>
                  </a:cxn>
                  <a:cxn ang="0">
                    <a:pos x="66" y="57"/>
                  </a:cxn>
                  <a:cxn ang="0">
                    <a:pos x="72" y="47"/>
                  </a:cxn>
                  <a:cxn ang="0">
                    <a:pos x="72" y="47"/>
                  </a:cxn>
                  <a:cxn ang="0">
                    <a:pos x="72" y="38"/>
                  </a:cxn>
                  <a:cxn ang="0">
                    <a:pos x="72" y="32"/>
                  </a:cxn>
                  <a:cxn ang="0">
                    <a:pos x="70" y="26"/>
                  </a:cxn>
                  <a:cxn ang="0">
                    <a:pos x="68" y="19"/>
                  </a:cxn>
                  <a:cxn ang="0">
                    <a:pos x="64" y="13"/>
                  </a:cxn>
                  <a:cxn ang="0">
                    <a:pos x="60" y="9"/>
                  </a:cxn>
                  <a:cxn ang="0">
                    <a:pos x="53" y="5"/>
                  </a:cxn>
                  <a:cxn ang="0">
                    <a:pos x="47" y="2"/>
                  </a:cxn>
                  <a:cxn ang="0">
                    <a:pos x="47" y="2"/>
                  </a:cxn>
                  <a:cxn ang="0">
                    <a:pos x="36" y="0"/>
                  </a:cxn>
                </a:cxnLst>
                <a:rect l="0" t="0" r="r" b="b"/>
                <a:pathLst>
                  <a:path w="72" h="72">
                    <a:moveTo>
                      <a:pt x="36" y="0"/>
                    </a:moveTo>
                    <a:lnTo>
                      <a:pt x="36" y="0"/>
                    </a:lnTo>
                    <a:lnTo>
                      <a:pt x="26" y="2"/>
                    </a:lnTo>
                    <a:lnTo>
                      <a:pt x="15" y="9"/>
                    </a:lnTo>
                    <a:lnTo>
                      <a:pt x="6" y="17"/>
                    </a:lnTo>
                    <a:lnTo>
                      <a:pt x="2" y="28"/>
                    </a:lnTo>
                    <a:lnTo>
                      <a:pt x="2" y="28"/>
                    </a:lnTo>
                    <a:lnTo>
                      <a:pt x="0" y="34"/>
                    </a:lnTo>
                    <a:lnTo>
                      <a:pt x="2" y="42"/>
                    </a:lnTo>
                    <a:lnTo>
                      <a:pt x="2" y="49"/>
                    </a:lnTo>
                    <a:lnTo>
                      <a:pt x="6" y="55"/>
                    </a:lnTo>
                    <a:lnTo>
                      <a:pt x="11" y="60"/>
                    </a:lnTo>
                    <a:lnTo>
                      <a:pt x="15" y="66"/>
                    </a:lnTo>
                    <a:lnTo>
                      <a:pt x="21" y="68"/>
                    </a:lnTo>
                    <a:lnTo>
                      <a:pt x="28" y="72"/>
                    </a:lnTo>
                    <a:lnTo>
                      <a:pt x="28" y="72"/>
                    </a:lnTo>
                    <a:lnTo>
                      <a:pt x="36" y="72"/>
                    </a:lnTo>
                    <a:lnTo>
                      <a:pt x="36" y="72"/>
                    </a:lnTo>
                    <a:lnTo>
                      <a:pt x="49" y="70"/>
                    </a:lnTo>
                    <a:lnTo>
                      <a:pt x="57" y="66"/>
                    </a:lnTo>
                    <a:lnTo>
                      <a:pt x="66" y="57"/>
                    </a:lnTo>
                    <a:lnTo>
                      <a:pt x="72" y="47"/>
                    </a:lnTo>
                    <a:lnTo>
                      <a:pt x="72" y="47"/>
                    </a:lnTo>
                    <a:lnTo>
                      <a:pt x="72" y="38"/>
                    </a:lnTo>
                    <a:lnTo>
                      <a:pt x="72" y="32"/>
                    </a:lnTo>
                    <a:lnTo>
                      <a:pt x="70" y="26"/>
                    </a:lnTo>
                    <a:lnTo>
                      <a:pt x="68" y="19"/>
                    </a:lnTo>
                    <a:lnTo>
                      <a:pt x="64" y="13"/>
                    </a:lnTo>
                    <a:lnTo>
                      <a:pt x="60" y="9"/>
                    </a:lnTo>
                    <a:lnTo>
                      <a:pt x="53" y="5"/>
                    </a:lnTo>
                    <a:lnTo>
                      <a:pt x="47" y="2"/>
                    </a:lnTo>
                    <a:lnTo>
                      <a:pt x="47" y="2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39" name="Freeform 54"/>
              <p:cNvSpPr>
                <a:spLocks/>
              </p:cNvSpPr>
              <p:nvPr userDrawn="1"/>
            </p:nvSpPr>
            <p:spPr bwMode="auto">
              <a:xfrm>
                <a:off x="4250" y="2783"/>
                <a:ext cx="72" cy="72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6" y="2"/>
                  </a:cxn>
                  <a:cxn ang="0">
                    <a:pos x="15" y="9"/>
                  </a:cxn>
                  <a:cxn ang="0">
                    <a:pos x="6" y="17"/>
                  </a:cxn>
                  <a:cxn ang="0">
                    <a:pos x="2" y="28"/>
                  </a:cxn>
                  <a:cxn ang="0">
                    <a:pos x="2" y="28"/>
                  </a:cxn>
                  <a:cxn ang="0">
                    <a:pos x="0" y="34"/>
                  </a:cxn>
                  <a:cxn ang="0">
                    <a:pos x="2" y="42"/>
                  </a:cxn>
                  <a:cxn ang="0">
                    <a:pos x="2" y="49"/>
                  </a:cxn>
                  <a:cxn ang="0">
                    <a:pos x="6" y="55"/>
                  </a:cxn>
                  <a:cxn ang="0">
                    <a:pos x="11" y="60"/>
                  </a:cxn>
                  <a:cxn ang="0">
                    <a:pos x="15" y="66"/>
                  </a:cxn>
                  <a:cxn ang="0">
                    <a:pos x="21" y="68"/>
                  </a:cxn>
                  <a:cxn ang="0">
                    <a:pos x="28" y="72"/>
                  </a:cxn>
                  <a:cxn ang="0">
                    <a:pos x="28" y="72"/>
                  </a:cxn>
                  <a:cxn ang="0">
                    <a:pos x="36" y="72"/>
                  </a:cxn>
                  <a:cxn ang="0">
                    <a:pos x="36" y="72"/>
                  </a:cxn>
                  <a:cxn ang="0">
                    <a:pos x="49" y="70"/>
                  </a:cxn>
                  <a:cxn ang="0">
                    <a:pos x="57" y="66"/>
                  </a:cxn>
                  <a:cxn ang="0">
                    <a:pos x="66" y="57"/>
                  </a:cxn>
                  <a:cxn ang="0">
                    <a:pos x="72" y="47"/>
                  </a:cxn>
                  <a:cxn ang="0">
                    <a:pos x="72" y="47"/>
                  </a:cxn>
                  <a:cxn ang="0">
                    <a:pos x="72" y="38"/>
                  </a:cxn>
                  <a:cxn ang="0">
                    <a:pos x="72" y="32"/>
                  </a:cxn>
                  <a:cxn ang="0">
                    <a:pos x="70" y="26"/>
                  </a:cxn>
                  <a:cxn ang="0">
                    <a:pos x="68" y="19"/>
                  </a:cxn>
                  <a:cxn ang="0">
                    <a:pos x="64" y="13"/>
                  </a:cxn>
                  <a:cxn ang="0">
                    <a:pos x="60" y="9"/>
                  </a:cxn>
                  <a:cxn ang="0">
                    <a:pos x="53" y="5"/>
                  </a:cxn>
                  <a:cxn ang="0">
                    <a:pos x="47" y="2"/>
                  </a:cxn>
                  <a:cxn ang="0">
                    <a:pos x="47" y="2"/>
                  </a:cxn>
                  <a:cxn ang="0">
                    <a:pos x="36" y="0"/>
                  </a:cxn>
                </a:cxnLst>
                <a:rect l="0" t="0" r="r" b="b"/>
                <a:pathLst>
                  <a:path w="72" h="72">
                    <a:moveTo>
                      <a:pt x="36" y="0"/>
                    </a:moveTo>
                    <a:lnTo>
                      <a:pt x="36" y="0"/>
                    </a:lnTo>
                    <a:lnTo>
                      <a:pt x="26" y="2"/>
                    </a:lnTo>
                    <a:lnTo>
                      <a:pt x="15" y="9"/>
                    </a:lnTo>
                    <a:lnTo>
                      <a:pt x="6" y="17"/>
                    </a:lnTo>
                    <a:lnTo>
                      <a:pt x="2" y="28"/>
                    </a:lnTo>
                    <a:lnTo>
                      <a:pt x="2" y="28"/>
                    </a:lnTo>
                    <a:lnTo>
                      <a:pt x="0" y="34"/>
                    </a:lnTo>
                    <a:lnTo>
                      <a:pt x="2" y="42"/>
                    </a:lnTo>
                    <a:lnTo>
                      <a:pt x="2" y="49"/>
                    </a:lnTo>
                    <a:lnTo>
                      <a:pt x="6" y="55"/>
                    </a:lnTo>
                    <a:lnTo>
                      <a:pt x="11" y="60"/>
                    </a:lnTo>
                    <a:lnTo>
                      <a:pt x="15" y="66"/>
                    </a:lnTo>
                    <a:lnTo>
                      <a:pt x="21" y="68"/>
                    </a:lnTo>
                    <a:lnTo>
                      <a:pt x="28" y="72"/>
                    </a:lnTo>
                    <a:lnTo>
                      <a:pt x="28" y="72"/>
                    </a:lnTo>
                    <a:lnTo>
                      <a:pt x="36" y="72"/>
                    </a:lnTo>
                    <a:lnTo>
                      <a:pt x="36" y="72"/>
                    </a:lnTo>
                    <a:lnTo>
                      <a:pt x="49" y="70"/>
                    </a:lnTo>
                    <a:lnTo>
                      <a:pt x="57" y="66"/>
                    </a:lnTo>
                    <a:lnTo>
                      <a:pt x="66" y="57"/>
                    </a:lnTo>
                    <a:lnTo>
                      <a:pt x="72" y="47"/>
                    </a:lnTo>
                    <a:lnTo>
                      <a:pt x="72" y="47"/>
                    </a:lnTo>
                    <a:lnTo>
                      <a:pt x="72" y="38"/>
                    </a:lnTo>
                    <a:lnTo>
                      <a:pt x="72" y="32"/>
                    </a:lnTo>
                    <a:lnTo>
                      <a:pt x="70" y="26"/>
                    </a:lnTo>
                    <a:lnTo>
                      <a:pt x="68" y="19"/>
                    </a:lnTo>
                    <a:lnTo>
                      <a:pt x="64" y="13"/>
                    </a:lnTo>
                    <a:lnTo>
                      <a:pt x="60" y="9"/>
                    </a:lnTo>
                    <a:lnTo>
                      <a:pt x="53" y="5"/>
                    </a:lnTo>
                    <a:lnTo>
                      <a:pt x="47" y="2"/>
                    </a:lnTo>
                    <a:lnTo>
                      <a:pt x="47" y="2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40" name="Freeform 55"/>
              <p:cNvSpPr>
                <a:spLocks/>
              </p:cNvSpPr>
              <p:nvPr userDrawn="1"/>
            </p:nvSpPr>
            <p:spPr bwMode="auto">
              <a:xfrm>
                <a:off x="4340" y="2963"/>
                <a:ext cx="60" cy="60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0"/>
                  </a:cxn>
                  <a:cxn ang="0">
                    <a:pos x="20" y="0"/>
                  </a:cxn>
                  <a:cxn ang="0">
                    <a:pos x="12" y="6"/>
                  </a:cxn>
                  <a:cxn ang="0">
                    <a:pos x="6" y="12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0" y="28"/>
                  </a:cxn>
                  <a:cxn ang="0">
                    <a:pos x="0" y="34"/>
                  </a:cxn>
                  <a:cxn ang="0">
                    <a:pos x="4" y="46"/>
                  </a:cxn>
                  <a:cxn ang="0">
                    <a:pos x="12" y="54"/>
                  </a:cxn>
                  <a:cxn ang="0">
                    <a:pos x="16" y="58"/>
                  </a:cxn>
                  <a:cxn ang="0">
                    <a:pos x="22" y="60"/>
                  </a:cxn>
                  <a:cxn ang="0">
                    <a:pos x="22" y="60"/>
                  </a:cxn>
                  <a:cxn ang="0">
                    <a:pos x="30" y="60"/>
                  </a:cxn>
                  <a:cxn ang="0">
                    <a:pos x="30" y="60"/>
                  </a:cxn>
                  <a:cxn ang="0">
                    <a:pos x="40" y="58"/>
                  </a:cxn>
                  <a:cxn ang="0">
                    <a:pos x="48" y="54"/>
                  </a:cxn>
                  <a:cxn ang="0">
                    <a:pos x="56" y="46"/>
                  </a:cxn>
                  <a:cxn ang="0">
                    <a:pos x="60" y="38"/>
                  </a:cxn>
                  <a:cxn ang="0">
                    <a:pos x="60" y="38"/>
                  </a:cxn>
                  <a:cxn ang="0">
                    <a:pos x="60" y="32"/>
                  </a:cxn>
                  <a:cxn ang="0">
                    <a:pos x="60" y="26"/>
                  </a:cxn>
                  <a:cxn ang="0">
                    <a:pos x="56" y="14"/>
                  </a:cxn>
                  <a:cxn ang="0">
                    <a:pos x="48" y="6"/>
                  </a:cxn>
                  <a:cxn ang="0">
                    <a:pos x="44" y="2"/>
                  </a:cxn>
                  <a:cxn ang="0">
                    <a:pos x="38" y="0"/>
                  </a:cxn>
                  <a:cxn ang="0">
                    <a:pos x="38" y="0"/>
                  </a:cxn>
                  <a:cxn ang="0">
                    <a:pos x="30" y="0"/>
                  </a:cxn>
                </a:cxnLst>
                <a:rect l="0" t="0" r="r" b="b"/>
                <a:pathLst>
                  <a:path w="60" h="60">
                    <a:moveTo>
                      <a:pt x="30" y="0"/>
                    </a:moveTo>
                    <a:lnTo>
                      <a:pt x="30" y="0"/>
                    </a:lnTo>
                    <a:lnTo>
                      <a:pt x="20" y="0"/>
                    </a:lnTo>
                    <a:lnTo>
                      <a:pt x="12" y="6"/>
                    </a:lnTo>
                    <a:lnTo>
                      <a:pt x="6" y="1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8"/>
                    </a:lnTo>
                    <a:lnTo>
                      <a:pt x="0" y="34"/>
                    </a:lnTo>
                    <a:lnTo>
                      <a:pt x="4" y="46"/>
                    </a:lnTo>
                    <a:lnTo>
                      <a:pt x="12" y="54"/>
                    </a:lnTo>
                    <a:lnTo>
                      <a:pt x="16" y="58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40" y="58"/>
                    </a:lnTo>
                    <a:lnTo>
                      <a:pt x="48" y="54"/>
                    </a:lnTo>
                    <a:lnTo>
                      <a:pt x="56" y="46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2"/>
                    </a:lnTo>
                    <a:lnTo>
                      <a:pt x="60" y="26"/>
                    </a:lnTo>
                    <a:lnTo>
                      <a:pt x="56" y="14"/>
                    </a:lnTo>
                    <a:lnTo>
                      <a:pt x="48" y="6"/>
                    </a:lnTo>
                    <a:lnTo>
                      <a:pt x="44" y="2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41" name="Freeform 56"/>
              <p:cNvSpPr>
                <a:spLocks/>
              </p:cNvSpPr>
              <p:nvPr userDrawn="1"/>
            </p:nvSpPr>
            <p:spPr bwMode="auto">
              <a:xfrm>
                <a:off x="4340" y="2963"/>
                <a:ext cx="60" cy="60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0"/>
                  </a:cxn>
                  <a:cxn ang="0">
                    <a:pos x="20" y="0"/>
                  </a:cxn>
                  <a:cxn ang="0">
                    <a:pos x="12" y="6"/>
                  </a:cxn>
                  <a:cxn ang="0">
                    <a:pos x="6" y="12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0" y="28"/>
                  </a:cxn>
                  <a:cxn ang="0">
                    <a:pos x="0" y="34"/>
                  </a:cxn>
                  <a:cxn ang="0">
                    <a:pos x="4" y="46"/>
                  </a:cxn>
                  <a:cxn ang="0">
                    <a:pos x="12" y="54"/>
                  </a:cxn>
                  <a:cxn ang="0">
                    <a:pos x="16" y="58"/>
                  </a:cxn>
                  <a:cxn ang="0">
                    <a:pos x="22" y="60"/>
                  </a:cxn>
                  <a:cxn ang="0">
                    <a:pos x="22" y="60"/>
                  </a:cxn>
                  <a:cxn ang="0">
                    <a:pos x="30" y="60"/>
                  </a:cxn>
                  <a:cxn ang="0">
                    <a:pos x="30" y="60"/>
                  </a:cxn>
                  <a:cxn ang="0">
                    <a:pos x="40" y="58"/>
                  </a:cxn>
                  <a:cxn ang="0">
                    <a:pos x="48" y="54"/>
                  </a:cxn>
                  <a:cxn ang="0">
                    <a:pos x="56" y="46"/>
                  </a:cxn>
                  <a:cxn ang="0">
                    <a:pos x="60" y="38"/>
                  </a:cxn>
                  <a:cxn ang="0">
                    <a:pos x="60" y="38"/>
                  </a:cxn>
                  <a:cxn ang="0">
                    <a:pos x="60" y="32"/>
                  </a:cxn>
                  <a:cxn ang="0">
                    <a:pos x="60" y="26"/>
                  </a:cxn>
                  <a:cxn ang="0">
                    <a:pos x="56" y="14"/>
                  </a:cxn>
                  <a:cxn ang="0">
                    <a:pos x="48" y="6"/>
                  </a:cxn>
                  <a:cxn ang="0">
                    <a:pos x="44" y="2"/>
                  </a:cxn>
                  <a:cxn ang="0">
                    <a:pos x="38" y="0"/>
                  </a:cxn>
                  <a:cxn ang="0">
                    <a:pos x="38" y="0"/>
                  </a:cxn>
                  <a:cxn ang="0">
                    <a:pos x="30" y="0"/>
                  </a:cxn>
                </a:cxnLst>
                <a:rect l="0" t="0" r="r" b="b"/>
                <a:pathLst>
                  <a:path w="60" h="60">
                    <a:moveTo>
                      <a:pt x="30" y="0"/>
                    </a:moveTo>
                    <a:lnTo>
                      <a:pt x="30" y="0"/>
                    </a:lnTo>
                    <a:lnTo>
                      <a:pt x="20" y="0"/>
                    </a:lnTo>
                    <a:lnTo>
                      <a:pt x="12" y="6"/>
                    </a:lnTo>
                    <a:lnTo>
                      <a:pt x="6" y="1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8"/>
                    </a:lnTo>
                    <a:lnTo>
                      <a:pt x="0" y="34"/>
                    </a:lnTo>
                    <a:lnTo>
                      <a:pt x="4" y="46"/>
                    </a:lnTo>
                    <a:lnTo>
                      <a:pt x="12" y="54"/>
                    </a:lnTo>
                    <a:lnTo>
                      <a:pt x="16" y="58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40" y="58"/>
                    </a:lnTo>
                    <a:lnTo>
                      <a:pt x="48" y="54"/>
                    </a:lnTo>
                    <a:lnTo>
                      <a:pt x="56" y="46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2"/>
                    </a:lnTo>
                    <a:lnTo>
                      <a:pt x="60" y="26"/>
                    </a:lnTo>
                    <a:lnTo>
                      <a:pt x="56" y="14"/>
                    </a:lnTo>
                    <a:lnTo>
                      <a:pt x="48" y="6"/>
                    </a:lnTo>
                    <a:lnTo>
                      <a:pt x="44" y="2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42" name="Freeform 57"/>
              <p:cNvSpPr>
                <a:spLocks/>
              </p:cNvSpPr>
              <p:nvPr userDrawn="1"/>
            </p:nvSpPr>
            <p:spPr bwMode="auto">
              <a:xfrm>
                <a:off x="4394" y="3155"/>
                <a:ext cx="54" cy="54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0"/>
                  </a:cxn>
                  <a:cxn ang="0">
                    <a:pos x="10" y="4"/>
                  </a:cxn>
                  <a:cxn ang="0">
                    <a:pos x="4" y="12"/>
                  </a:cxn>
                  <a:cxn ang="0">
                    <a:pos x="0" y="20"/>
                  </a:cxn>
                  <a:cxn ang="0">
                    <a:pos x="0" y="20"/>
                  </a:cxn>
                  <a:cxn ang="0">
                    <a:pos x="0" y="30"/>
                  </a:cxn>
                  <a:cxn ang="0">
                    <a:pos x="2" y="40"/>
                  </a:cxn>
                  <a:cxn ang="0">
                    <a:pos x="10" y="48"/>
                  </a:cxn>
                  <a:cxn ang="0">
                    <a:pos x="20" y="54"/>
                  </a:cxn>
                  <a:cxn ang="0">
                    <a:pos x="20" y="54"/>
                  </a:cxn>
                  <a:cxn ang="0">
                    <a:pos x="26" y="54"/>
                  </a:cxn>
                  <a:cxn ang="0">
                    <a:pos x="26" y="54"/>
                  </a:cxn>
                  <a:cxn ang="0">
                    <a:pos x="36" y="52"/>
                  </a:cxn>
                  <a:cxn ang="0">
                    <a:pos x="42" y="48"/>
                  </a:cxn>
                  <a:cxn ang="0">
                    <a:pos x="48" y="42"/>
                  </a:cxn>
                  <a:cxn ang="0">
                    <a:pos x="52" y="34"/>
                  </a:cxn>
                  <a:cxn ang="0">
                    <a:pos x="52" y="34"/>
                  </a:cxn>
                  <a:cxn ang="0">
                    <a:pos x="54" y="22"/>
                  </a:cxn>
                  <a:cxn ang="0">
                    <a:pos x="50" y="12"/>
                  </a:cxn>
                  <a:cxn ang="0">
                    <a:pos x="44" y="4"/>
                  </a:cxn>
                  <a:cxn ang="0">
                    <a:pos x="34" y="0"/>
                  </a:cxn>
                  <a:cxn ang="0">
                    <a:pos x="34" y="0"/>
                  </a:cxn>
                  <a:cxn ang="0">
                    <a:pos x="26" y="0"/>
                  </a:cxn>
                </a:cxnLst>
                <a:rect l="0" t="0" r="r" b="b"/>
                <a:pathLst>
                  <a:path w="54" h="54">
                    <a:moveTo>
                      <a:pt x="26" y="0"/>
                    </a:moveTo>
                    <a:lnTo>
                      <a:pt x="26" y="0"/>
                    </a:lnTo>
                    <a:lnTo>
                      <a:pt x="18" y="0"/>
                    </a:lnTo>
                    <a:lnTo>
                      <a:pt x="10" y="4"/>
                    </a:lnTo>
                    <a:lnTo>
                      <a:pt x="4" y="12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30"/>
                    </a:lnTo>
                    <a:lnTo>
                      <a:pt x="2" y="40"/>
                    </a:lnTo>
                    <a:lnTo>
                      <a:pt x="10" y="48"/>
                    </a:lnTo>
                    <a:lnTo>
                      <a:pt x="20" y="54"/>
                    </a:lnTo>
                    <a:lnTo>
                      <a:pt x="20" y="54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36" y="52"/>
                    </a:lnTo>
                    <a:lnTo>
                      <a:pt x="42" y="48"/>
                    </a:lnTo>
                    <a:lnTo>
                      <a:pt x="48" y="42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4" y="22"/>
                    </a:lnTo>
                    <a:lnTo>
                      <a:pt x="50" y="12"/>
                    </a:lnTo>
                    <a:lnTo>
                      <a:pt x="44" y="4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43" name="Freeform 58"/>
              <p:cNvSpPr>
                <a:spLocks/>
              </p:cNvSpPr>
              <p:nvPr userDrawn="1"/>
            </p:nvSpPr>
            <p:spPr bwMode="auto">
              <a:xfrm>
                <a:off x="4394" y="3155"/>
                <a:ext cx="54" cy="54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0"/>
                  </a:cxn>
                  <a:cxn ang="0">
                    <a:pos x="10" y="4"/>
                  </a:cxn>
                  <a:cxn ang="0">
                    <a:pos x="4" y="12"/>
                  </a:cxn>
                  <a:cxn ang="0">
                    <a:pos x="0" y="20"/>
                  </a:cxn>
                  <a:cxn ang="0">
                    <a:pos x="0" y="20"/>
                  </a:cxn>
                  <a:cxn ang="0">
                    <a:pos x="0" y="30"/>
                  </a:cxn>
                  <a:cxn ang="0">
                    <a:pos x="2" y="40"/>
                  </a:cxn>
                  <a:cxn ang="0">
                    <a:pos x="10" y="48"/>
                  </a:cxn>
                  <a:cxn ang="0">
                    <a:pos x="20" y="54"/>
                  </a:cxn>
                  <a:cxn ang="0">
                    <a:pos x="20" y="54"/>
                  </a:cxn>
                  <a:cxn ang="0">
                    <a:pos x="26" y="54"/>
                  </a:cxn>
                  <a:cxn ang="0">
                    <a:pos x="26" y="54"/>
                  </a:cxn>
                  <a:cxn ang="0">
                    <a:pos x="36" y="52"/>
                  </a:cxn>
                  <a:cxn ang="0">
                    <a:pos x="42" y="48"/>
                  </a:cxn>
                  <a:cxn ang="0">
                    <a:pos x="48" y="42"/>
                  </a:cxn>
                  <a:cxn ang="0">
                    <a:pos x="52" y="34"/>
                  </a:cxn>
                  <a:cxn ang="0">
                    <a:pos x="52" y="34"/>
                  </a:cxn>
                  <a:cxn ang="0">
                    <a:pos x="54" y="22"/>
                  </a:cxn>
                  <a:cxn ang="0">
                    <a:pos x="50" y="12"/>
                  </a:cxn>
                  <a:cxn ang="0">
                    <a:pos x="44" y="4"/>
                  </a:cxn>
                  <a:cxn ang="0">
                    <a:pos x="34" y="0"/>
                  </a:cxn>
                  <a:cxn ang="0">
                    <a:pos x="34" y="0"/>
                  </a:cxn>
                  <a:cxn ang="0">
                    <a:pos x="26" y="0"/>
                  </a:cxn>
                </a:cxnLst>
                <a:rect l="0" t="0" r="r" b="b"/>
                <a:pathLst>
                  <a:path w="54" h="54">
                    <a:moveTo>
                      <a:pt x="26" y="0"/>
                    </a:moveTo>
                    <a:lnTo>
                      <a:pt x="26" y="0"/>
                    </a:lnTo>
                    <a:lnTo>
                      <a:pt x="18" y="0"/>
                    </a:lnTo>
                    <a:lnTo>
                      <a:pt x="10" y="4"/>
                    </a:lnTo>
                    <a:lnTo>
                      <a:pt x="4" y="12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30"/>
                    </a:lnTo>
                    <a:lnTo>
                      <a:pt x="2" y="40"/>
                    </a:lnTo>
                    <a:lnTo>
                      <a:pt x="10" y="48"/>
                    </a:lnTo>
                    <a:lnTo>
                      <a:pt x="20" y="54"/>
                    </a:lnTo>
                    <a:lnTo>
                      <a:pt x="20" y="54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36" y="52"/>
                    </a:lnTo>
                    <a:lnTo>
                      <a:pt x="42" y="48"/>
                    </a:lnTo>
                    <a:lnTo>
                      <a:pt x="48" y="42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4" y="22"/>
                    </a:lnTo>
                    <a:lnTo>
                      <a:pt x="50" y="12"/>
                    </a:lnTo>
                    <a:lnTo>
                      <a:pt x="44" y="4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44" name="Freeform 59"/>
              <p:cNvSpPr>
                <a:spLocks/>
              </p:cNvSpPr>
              <p:nvPr userDrawn="1"/>
            </p:nvSpPr>
            <p:spPr bwMode="auto">
              <a:xfrm>
                <a:off x="4412" y="3347"/>
                <a:ext cx="48" cy="54"/>
              </a:xfrm>
              <a:custGeom>
                <a:avLst/>
                <a:gdLst/>
                <a:ahLst/>
                <a:cxnLst>
                  <a:cxn ang="0">
                    <a:pos x="25" y="0"/>
                  </a:cxn>
                  <a:cxn ang="0">
                    <a:pos x="25" y="0"/>
                  </a:cxn>
                  <a:cxn ang="0">
                    <a:pos x="18" y="2"/>
                  </a:cxn>
                  <a:cxn ang="0">
                    <a:pos x="10" y="7"/>
                  </a:cxn>
                  <a:cxn ang="0">
                    <a:pos x="4" y="13"/>
                  </a:cxn>
                  <a:cxn ang="0">
                    <a:pos x="2" y="20"/>
                  </a:cxn>
                  <a:cxn ang="0">
                    <a:pos x="2" y="20"/>
                  </a:cxn>
                  <a:cxn ang="0">
                    <a:pos x="0" y="30"/>
                  </a:cxn>
                  <a:cxn ang="0">
                    <a:pos x="4" y="41"/>
                  </a:cxn>
                  <a:cxn ang="0">
                    <a:pos x="10" y="48"/>
                  </a:cxn>
                  <a:cxn ang="0">
                    <a:pos x="18" y="54"/>
                  </a:cxn>
                  <a:cxn ang="0">
                    <a:pos x="18" y="54"/>
                  </a:cxn>
                  <a:cxn ang="0">
                    <a:pos x="25" y="54"/>
                  </a:cxn>
                  <a:cxn ang="0">
                    <a:pos x="25" y="54"/>
                  </a:cxn>
                  <a:cxn ang="0">
                    <a:pos x="33" y="52"/>
                  </a:cxn>
                  <a:cxn ang="0">
                    <a:pos x="39" y="48"/>
                  </a:cxn>
                  <a:cxn ang="0">
                    <a:pos x="44" y="44"/>
                  </a:cxn>
                  <a:cxn ang="0">
                    <a:pos x="46" y="35"/>
                  </a:cxn>
                  <a:cxn ang="0">
                    <a:pos x="46" y="35"/>
                  </a:cxn>
                  <a:cxn ang="0">
                    <a:pos x="48" y="24"/>
                  </a:cxn>
                  <a:cxn ang="0">
                    <a:pos x="44" y="13"/>
                  </a:cxn>
                  <a:cxn ang="0">
                    <a:pos x="39" y="7"/>
                  </a:cxn>
                  <a:cxn ang="0">
                    <a:pos x="31" y="2"/>
                  </a:cxn>
                  <a:cxn ang="0">
                    <a:pos x="31" y="2"/>
                  </a:cxn>
                  <a:cxn ang="0">
                    <a:pos x="25" y="0"/>
                  </a:cxn>
                </a:cxnLst>
                <a:rect l="0" t="0" r="r" b="b"/>
                <a:pathLst>
                  <a:path w="48" h="54">
                    <a:moveTo>
                      <a:pt x="25" y="0"/>
                    </a:moveTo>
                    <a:lnTo>
                      <a:pt x="25" y="0"/>
                    </a:lnTo>
                    <a:lnTo>
                      <a:pt x="18" y="2"/>
                    </a:lnTo>
                    <a:lnTo>
                      <a:pt x="10" y="7"/>
                    </a:lnTo>
                    <a:lnTo>
                      <a:pt x="4" y="13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0" y="30"/>
                    </a:lnTo>
                    <a:lnTo>
                      <a:pt x="4" y="41"/>
                    </a:lnTo>
                    <a:lnTo>
                      <a:pt x="10" y="48"/>
                    </a:lnTo>
                    <a:lnTo>
                      <a:pt x="18" y="54"/>
                    </a:lnTo>
                    <a:lnTo>
                      <a:pt x="18" y="54"/>
                    </a:lnTo>
                    <a:lnTo>
                      <a:pt x="25" y="54"/>
                    </a:lnTo>
                    <a:lnTo>
                      <a:pt x="25" y="54"/>
                    </a:lnTo>
                    <a:lnTo>
                      <a:pt x="33" y="52"/>
                    </a:lnTo>
                    <a:lnTo>
                      <a:pt x="39" y="48"/>
                    </a:lnTo>
                    <a:lnTo>
                      <a:pt x="44" y="44"/>
                    </a:lnTo>
                    <a:lnTo>
                      <a:pt x="46" y="35"/>
                    </a:lnTo>
                    <a:lnTo>
                      <a:pt x="46" y="35"/>
                    </a:lnTo>
                    <a:lnTo>
                      <a:pt x="48" y="24"/>
                    </a:lnTo>
                    <a:lnTo>
                      <a:pt x="44" y="13"/>
                    </a:lnTo>
                    <a:lnTo>
                      <a:pt x="39" y="7"/>
                    </a:lnTo>
                    <a:lnTo>
                      <a:pt x="31" y="2"/>
                    </a:lnTo>
                    <a:lnTo>
                      <a:pt x="31" y="2"/>
                    </a:lnTo>
                    <a:lnTo>
                      <a:pt x="2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45" name="Freeform 60"/>
              <p:cNvSpPr>
                <a:spLocks/>
              </p:cNvSpPr>
              <p:nvPr userDrawn="1"/>
            </p:nvSpPr>
            <p:spPr bwMode="auto">
              <a:xfrm>
                <a:off x="4412" y="3347"/>
                <a:ext cx="48" cy="54"/>
              </a:xfrm>
              <a:custGeom>
                <a:avLst/>
                <a:gdLst/>
                <a:ahLst/>
                <a:cxnLst>
                  <a:cxn ang="0">
                    <a:pos x="25" y="0"/>
                  </a:cxn>
                  <a:cxn ang="0">
                    <a:pos x="25" y="0"/>
                  </a:cxn>
                  <a:cxn ang="0">
                    <a:pos x="18" y="2"/>
                  </a:cxn>
                  <a:cxn ang="0">
                    <a:pos x="10" y="7"/>
                  </a:cxn>
                  <a:cxn ang="0">
                    <a:pos x="4" y="13"/>
                  </a:cxn>
                  <a:cxn ang="0">
                    <a:pos x="2" y="20"/>
                  </a:cxn>
                  <a:cxn ang="0">
                    <a:pos x="2" y="20"/>
                  </a:cxn>
                  <a:cxn ang="0">
                    <a:pos x="0" y="30"/>
                  </a:cxn>
                  <a:cxn ang="0">
                    <a:pos x="4" y="41"/>
                  </a:cxn>
                  <a:cxn ang="0">
                    <a:pos x="10" y="48"/>
                  </a:cxn>
                  <a:cxn ang="0">
                    <a:pos x="18" y="54"/>
                  </a:cxn>
                  <a:cxn ang="0">
                    <a:pos x="18" y="54"/>
                  </a:cxn>
                  <a:cxn ang="0">
                    <a:pos x="25" y="54"/>
                  </a:cxn>
                  <a:cxn ang="0">
                    <a:pos x="25" y="54"/>
                  </a:cxn>
                  <a:cxn ang="0">
                    <a:pos x="33" y="52"/>
                  </a:cxn>
                  <a:cxn ang="0">
                    <a:pos x="39" y="48"/>
                  </a:cxn>
                  <a:cxn ang="0">
                    <a:pos x="44" y="44"/>
                  </a:cxn>
                  <a:cxn ang="0">
                    <a:pos x="46" y="35"/>
                  </a:cxn>
                  <a:cxn ang="0">
                    <a:pos x="46" y="35"/>
                  </a:cxn>
                  <a:cxn ang="0">
                    <a:pos x="48" y="24"/>
                  </a:cxn>
                  <a:cxn ang="0">
                    <a:pos x="44" y="13"/>
                  </a:cxn>
                  <a:cxn ang="0">
                    <a:pos x="39" y="7"/>
                  </a:cxn>
                  <a:cxn ang="0">
                    <a:pos x="31" y="2"/>
                  </a:cxn>
                  <a:cxn ang="0">
                    <a:pos x="31" y="2"/>
                  </a:cxn>
                  <a:cxn ang="0">
                    <a:pos x="25" y="0"/>
                  </a:cxn>
                </a:cxnLst>
                <a:rect l="0" t="0" r="r" b="b"/>
                <a:pathLst>
                  <a:path w="48" h="54">
                    <a:moveTo>
                      <a:pt x="25" y="0"/>
                    </a:moveTo>
                    <a:lnTo>
                      <a:pt x="25" y="0"/>
                    </a:lnTo>
                    <a:lnTo>
                      <a:pt x="18" y="2"/>
                    </a:lnTo>
                    <a:lnTo>
                      <a:pt x="10" y="7"/>
                    </a:lnTo>
                    <a:lnTo>
                      <a:pt x="4" y="13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0" y="30"/>
                    </a:lnTo>
                    <a:lnTo>
                      <a:pt x="4" y="41"/>
                    </a:lnTo>
                    <a:lnTo>
                      <a:pt x="10" y="48"/>
                    </a:lnTo>
                    <a:lnTo>
                      <a:pt x="18" y="54"/>
                    </a:lnTo>
                    <a:lnTo>
                      <a:pt x="18" y="54"/>
                    </a:lnTo>
                    <a:lnTo>
                      <a:pt x="25" y="54"/>
                    </a:lnTo>
                    <a:lnTo>
                      <a:pt x="25" y="54"/>
                    </a:lnTo>
                    <a:lnTo>
                      <a:pt x="33" y="52"/>
                    </a:lnTo>
                    <a:lnTo>
                      <a:pt x="39" y="48"/>
                    </a:lnTo>
                    <a:lnTo>
                      <a:pt x="44" y="44"/>
                    </a:lnTo>
                    <a:lnTo>
                      <a:pt x="46" y="35"/>
                    </a:lnTo>
                    <a:lnTo>
                      <a:pt x="46" y="35"/>
                    </a:lnTo>
                    <a:lnTo>
                      <a:pt x="48" y="24"/>
                    </a:lnTo>
                    <a:lnTo>
                      <a:pt x="44" y="13"/>
                    </a:lnTo>
                    <a:lnTo>
                      <a:pt x="39" y="7"/>
                    </a:lnTo>
                    <a:lnTo>
                      <a:pt x="31" y="2"/>
                    </a:lnTo>
                    <a:lnTo>
                      <a:pt x="31" y="2"/>
                    </a:lnTo>
                    <a:lnTo>
                      <a:pt x="2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46" name="Freeform 61"/>
              <p:cNvSpPr>
                <a:spLocks/>
              </p:cNvSpPr>
              <p:nvPr userDrawn="1"/>
            </p:nvSpPr>
            <p:spPr bwMode="auto">
              <a:xfrm>
                <a:off x="4394" y="3545"/>
                <a:ext cx="48" cy="42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8" y="0"/>
                  </a:cxn>
                  <a:cxn ang="0">
                    <a:pos x="9" y="4"/>
                  </a:cxn>
                  <a:cxn ang="0">
                    <a:pos x="5" y="10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0" y="23"/>
                  </a:cxn>
                  <a:cxn ang="0">
                    <a:pos x="5" y="31"/>
                  </a:cxn>
                  <a:cxn ang="0">
                    <a:pos x="9" y="38"/>
                  </a:cxn>
                  <a:cxn ang="0">
                    <a:pos x="18" y="42"/>
                  </a:cxn>
                  <a:cxn ang="0">
                    <a:pos x="18" y="42"/>
                  </a:cxn>
                  <a:cxn ang="0">
                    <a:pos x="24" y="42"/>
                  </a:cxn>
                  <a:cxn ang="0">
                    <a:pos x="24" y="42"/>
                  </a:cxn>
                  <a:cxn ang="0">
                    <a:pos x="33" y="40"/>
                  </a:cxn>
                  <a:cxn ang="0">
                    <a:pos x="39" y="38"/>
                  </a:cxn>
                  <a:cxn ang="0">
                    <a:pos x="44" y="33"/>
                  </a:cxn>
                  <a:cxn ang="0">
                    <a:pos x="48" y="27"/>
                  </a:cxn>
                  <a:cxn ang="0">
                    <a:pos x="48" y="27"/>
                  </a:cxn>
                  <a:cxn ang="0">
                    <a:pos x="48" y="17"/>
                  </a:cxn>
                  <a:cxn ang="0">
                    <a:pos x="46" y="10"/>
                  </a:cxn>
                  <a:cxn ang="0">
                    <a:pos x="39" y="4"/>
                  </a:cxn>
                  <a:cxn ang="0">
                    <a:pos x="31" y="0"/>
                  </a:cxn>
                  <a:cxn ang="0">
                    <a:pos x="31" y="0"/>
                  </a:cxn>
                  <a:cxn ang="0">
                    <a:pos x="24" y="0"/>
                  </a:cxn>
                </a:cxnLst>
                <a:rect l="0" t="0" r="r" b="b"/>
                <a:pathLst>
                  <a:path w="48" h="42">
                    <a:moveTo>
                      <a:pt x="24" y="0"/>
                    </a:moveTo>
                    <a:lnTo>
                      <a:pt x="24" y="0"/>
                    </a:lnTo>
                    <a:lnTo>
                      <a:pt x="18" y="0"/>
                    </a:lnTo>
                    <a:lnTo>
                      <a:pt x="9" y="4"/>
                    </a:lnTo>
                    <a:lnTo>
                      <a:pt x="5" y="10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0" y="23"/>
                    </a:lnTo>
                    <a:lnTo>
                      <a:pt x="5" y="31"/>
                    </a:lnTo>
                    <a:lnTo>
                      <a:pt x="9" y="38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33" y="40"/>
                    </a:lnTo>
                    <a:lnTo>
                      <a:pt x="39" y="38"/>
                    </a:lnTo>
                    <a:lnTo>
                      <a:pt x="44" y="33"/>
                    </a:lnTo>
                    <a:lnTo>
                      <a:pt x="48" y="27"/>
                    </a:lnTo>
                    <a:lnTo>
                      <a:pt x="48" y="27"/>
                    </a:lnTo>
                    <a:lnTo>
                      <a:pt x="48" y="17"/>
                    </a:lnTo>
                    <a:lnTo>
                      <a:pt x="46" y="10"/>
                    </a:lnTo>
                    <a:lnTo>
                      <a:pt x="39" y="4"/>
                    </a:lnTo>
                    <a:lnTo>
                      <a:pt x="31" y="0"/>
                    </a:lnTo>
                    <a:lnTo>
                      <a:pt x="31" y="0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47" name="Freeform 62"/>
              <p:cNvSpPr>
                <a:spLocks/>
              </p:cNvSpPr>
              <p:nvPr userDrawn="1"/>
            </p:nvSpPr>
            <p:spPr bwMode="auto">
              <a:xfrm>
                <a:off x="4394" y="3545"/>
                <a:ext cx="48" cy="42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8" y="0"/>
                  </a:cxn>
                  <a:cxn ang="0">
                    <a:pos x="9" y="4"/>
                  </a:cxn>
                  <a:cxn ang="0">
                    <a:pos x="5" y="10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0" y="23"/>
                  </a:cxn>
                  <a:cxn ang="0">
                    <a:pos x="5" y="31"/>
                  </a:cxn>
                  <a:cxn ang="0">
                    <a:pos x="9" y="38"/>
                  </a:cxn>
                  <a:cxn ang="0">
                    <a:pos x="18" y="42"/>
                  </a:cxn>
                  <a:cxn ang="0">
                    <a:pos x="18" y="42"/>
                  </a:cxn>
                  <a:cxn ang="0">
                    <a:pos x="24" y="42"/>
                  </a:cxn>
                  <a:cxn ang="0">
                    <a:pos x="24" y="42"/>
                  </a:cxn>
                  <a:cxn ang="0">
                    <a:pos x="33" y="40"/>
                  </a:cxn>
                  <a:cxn ang="0">
                    <a:pos x="39" y="38"/>
                  </a:cxn>
                  <a:cxn ang="0">
                    <a:pos x="44" y="33"/>
                  </a:cxn>
                  <a:cxn ang="0">
                    <a:pos x="48" y="27"/>
                  </a:cxn>
                  <a:cxn ang="0">
                    <a:pos x="48" y="27"/>
                  </a:cxn>
                  <a:cxn ang="0">
                    <a:pos x="48" y="17"/>
                  </a:cxn>
                  <a:cxn ang="0">
                    <a:pos x="46" y="10"/>
                  </a:cxn>
                  <a:cxn ang="0">
                    <a:pos x="39" y="4"/>
                  </a:cxn>
                  <a:cxn ang="0">
                    <a:pos x="31" y="0"/>
                  </a:cxn>
                  <a:cxn ang="0">
                    <a:pos x="31" y="0"/>
                  </a:cxn>
                  <a:cxn ang="0">
                    <a:pos x="24" y="0"/>
                  </a:cxn>
                </a:cxnLst>
                <a:rect l="0" t="0" r="r" b="b"/>
                <a:pathLst>
                  <a:path w="48" h="42">
                    <a:moveTo>
                      <a:pt x="24" y="0"/>
                    </a:moveTo>
                    <a:lnTo>
                      <a:pt x="24" y="0"/>
                    </a:lnTo>
                    <a:lnTo>
                      <a:pt x="18" y="0"/>
                    </a:lnTo>
                    <a:lnTo>
                      <a:pt x="9" y="4"/>
                    </a:lnTo>
                    <a:lnTo>
                      <a:pt x="5" y="10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0" y="23"/>
                    </a:lnTo>
                    <a:lnTo>
                      <a:pt x="5" y="31"/>
                    </a:lnTo>
                    <a:lnTo>
                      <a:pt x="9" y="38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33" y="40"/>
                    </a:lnTo>
                    <a:lnTo>
                      <a:pt x="39" y="38"/>
                    </a:lnTo>
                    <a:lnTo>
                      <a:pt x="44" y="33"/>
                    </a:lnTo>
                    <a:lnTo>
                      <a:pt x="48" y="27"/>
                    </a:lnTo>
                    <a:lnTo>
                      <a:pt x="48" y="27"/>
                    </a:lnTo>
                    <a:lnTo>
                      <a:pt x="48" y="17"/>
                    </a:lnTo>
                    <a:lnTo>
                      <a:pt x="46" y="10"/>
                    </a:lnTo>
                    <a:lnTo>
                      <a:pt x="39" y="4"/>
                    </a:lnTo>
                    <a:lnTo>
                      <a:pt x="31" y="0"/>
                    </a:lnTo>
                    <a:lnTo>
                      <a:pt x="31" y="0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48" name="Freeform 63"/>
              <p:cNvSpPr>
                <a:spLocks/>
              </p:cNvSpPr>
              <p:nvPr userDrawn="1"/>
            </p:nvSpPr>
            <p:spPr bwMode="auto">
              <a:xfrm>
                <a:off x="4346" y="3731"/>
                <a:ext cx="42" cy="42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1" y="0"/>
                  </a:cxn>
                  <a:cxn ang="0">
                    <a:pos x="15" y="2"/>
                  </a:cxn>
                  <a:cxn ang="0">
                    <a:pos x="9" y="5"/>
                  </a:cxn>
                  <a:cxn ang="0">
                    <a:pos x="5" y="11"/>
                  </a:cxn>
                  <a:cxn ang="0">
                    <a:pos x="0" y="17"/>
                  </a:cxn>
                  <a:cxn ang="0">
                    <a:pos x="0" y="17"/>
                  </a:cxn>
                  <a:cxn ang="0">
                    <a:pos x="0" y="26"/>
                  </a:cxn>
                  <a:cxn ang="0">
                    <a:pos x="2" y="32"/>
                  </a:cxn>
                  <a:cxn ang="0">
                    <a:pos x="9" y="38"/>
                  </a:cxn>
                  <a:cxn ang="0">
                    <a:pos x="17" y="42"/>
                  </a:cxn>
                  <a:cxn ang="0">
                    <a:pos x="17" y="42"/>
                  </a:cxn>
                  <a:cxn ang="0">
                    <a:pos x="21" y="42"/>
                  </a:cxn>
                  <a:cxn ang="0">
                    <a:pos x="21" y="42"/>
                  </a:cxn>
                  <a:cxn ang="0">
                    <a:pos x="27" y="42"/>
                  </a:cxn>
                  <a:cxn ang="0">
                    <a:pos x="34" y="38"/>
                  </a:cxn>
                  <a:cxn ang="0">
                    <a:pos x="38" y="34"/>
                  </a:cxn>
                  <a:cxn ang="0">
                    <a:pos x="42" y="27"/>
                  </a:cxn>
                  <a:cxn ang="0">
                    <a:pos x="42" y="27"/>
                  </a:cxn>
                  <a:cxn ang="0">
                    <a:pos x="42" y="19"/>
                  </a:cxn>
                  <a:cxn ang="0">
                    <a:pos x="40" y="11"/>
                  </a:cxn>
                  <a:cxn ang="0">
                    <a:pos x="34" y="5"/>
                  </a:cxn>
                  <a:cxn ang="0">
                    <a:pos x="27" y="2"/>
                  </a:cxn>
                  <a:cxn ang="0">
                    <a:pos x="27" y="2"/>
                  </a:cxn>
                  <a:cxn ang="0">
                    <a:pos x="21" y="0"/>
                  </a:cxn>
                </a:cxnLst>
                <a:rect l="0" t="0" r="r" b="b"/>
                <a:pathLst>
                  <a:path w="42" h="42">
                    <a:moveTo>
                      <a:pt x="21" y="0"/>
                    </a:moveTo>
                    <a:lnTo>
                      <a:pt x="21" y="0"/>
                    </a:lnTo>
                    <a:lnTo>
                      <a:pt x="15" y="2"/>
                    </a:lnTo>
                    <a:lnTo>
                      <a:pt x="9" y="5"/>
                    </a:lnTo>
                    <a:lnTo>
                      <a:pt x="5" y="11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0" y="26"/>
                    </a:lnTo>
                    <a:lnTo>
                      <a:pt x="2" y="32"/>
                    </a:lnTo>
                    <a:lnTo>
                      <a:pt x="9" y="38"/>
                    </a:lnTo>
                    <a:lnTo>
                      <a:pt x="17" y="42"/>
                    </a:lnTo>
                    <a:lnTo>
                      <a:pt x="17" y="42"/>
                    </a:lnTo>
                    <a:lnTo>
                      <a:pt x="21" y="42"/>
                    </a:lnTo>
                    <a:lnTo>
                      <a:pt x="21" y="42"/>
                    </a:lnTo>
                    <a:lnTo>
                      <a:pt x="27" y="42"/>
                    </a:lnTo>
                    <a:lnTo>
                      <a:pt x="34" y="38"/>
                    </a:lnTo>
                    <a:lnTo>
                      <a:pt x="38" y="34"/>
                    </a:lnTo>
                    <a:lnTo>
                      <a:pt x="42" y="27"/>
                    </a:lnTo>
                    <a:lnTo>
                      <a:pt x="42" y="27"/>
                    </a:lnTo>
                    <a:lnTo>
                      <a:pt x="42" y="19"/>
                    </a:lnTo>
                    <a:lnTo>
                      <a:pt x="40" y="11"/>
                    </a:lnTo>
                    <a:lnTo>
                      <a:pt x="34" y="5"/>
                    </a:lnTo>
                    <a:lnTo>
                      <a:pt x="27" y="2"/>
                    </a:lnTo>
                    <a:lnTo>
                      <a:pt x="27" y="2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49" name="Freeform 64"/>
              <p:cNvSpPr>
                <a:spLocks/>
              </p:cNvSpPr>
              <p:nvPr userDrawn="1"/>
            </p:nvSpPr>
            <p:spPr bwMode="auto">
              <a:xfrm>
                <a:off x="4346" y="3731"/>
                <a:ext cx="42" cy="42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1" y="0"/>
                  </a:cxn>
                  <a:cxn ang="0">
                    <a:pos x="15" y="2"/>
                  </a:cxn>
                  <a:cxn ang="0">
                    <a:pos x="9" y="5"/>
                  </a:cxn>
                  <a:cxn ang="0">
                    <a:pos x="5" y="11"/>
                  </a:cxn>
                  <a:cxn ang="0">
                    <a:pos x="0" y="17"/>
                  </a:cxn>
                  <a:cxn ang="0">
                    <a:pos x="0" y="17"/>
                  </a:cxn>
                  <a:cxn ang="0">
                    <a:pos x="0" y="26"/>
                  </a:cxn>
                  <a:cxn ang="0">
                    <a:pos x="2" y="32"/>
                  </a:cxn>
                  <a:cxn ang="0">
                    <a:pos x="9" y="38"/>
                  </a:cxn>
                  <a:cxn ang="0">
                    <a:pos x="17" y="42"/>
                  </a:cxn>
                  <a:cxn ang="0">
                    <a:pos x="17" y="42"/>
                  </a:cxn>
                  <a:cxn ang="0">
                    <a:pos x="21" y="42"/>
                  </a:cxn>
                  <a:cxn ang="0">
                    <a:pos x="21" y="42"/>
                  </a:cxn>
                  <a:cxn ang="0">
                    <a:pos x="27" y="42"/>
                  </a:cxn>
                  <a:cxn ang="0">
                    <a:pos x="34" y="38"/>
                  </a:cxn>
                  <a:cxn ang="0">
                    <a:pos x="38" y="34"/>
                  </a:cxn>
                  <a:cxn ang="0">
                    <a:pos x="42" y="27"/>
                  </a:cxn>
                  <a:cxn ang="0">
                    <a:pos x="42" y="27"/>
                  </a:cxn>
                  <a:cxn ang="0">
                    <a:pos x="42" y="19"/>
                  </a:cxn>
                  <a:cxn ang="0">
                    <a:pos x="40" y="11"/>
                  </a:cxn>
                  <a:cxn ang="0">
                    <a:pos x="34" y="5"/>
                  </a:cxn>
                  <a:cxn ang="0">
                    <a:pos x="27" y="2"/>
                  </a:cxn>
                  <a:cxn ang="0">
                    <a:pos x="27" y="2"/>
                  </a:cxn>
                  <a:cxn ang="0">
                    <a:pos x="21" y="0"/>
                  </a:cxn>
                </a:cxnLst>
                <a:rect l="0" t="0" r="r" b="b"/>
                <a:pathLst>
                  <a:path w="42" h="42">
                    <a:moveTo>
                      <a:pt x="21" y="0"/>
                    </a:moveTo>
                    <a:lnTo>
                      <a:pt x="21" y="0"/>
                    </a:lnTo>
                    <a:lnTo>
                      <a:pt x="15" y="2"/>
                    </a:lnTo>
                    <a:lnTo>
                      <a:pt x="9" y="5"/>
                    </a:lnTo>
                    <a:lnTo>
                      <a:pt x="5" y="11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0" y="26"/>
                    </a:lnTo>
                    <a:lnTo>
                      <a:pt x="2" y="32"/>
                    </a:lnTo>
                    <a:lnTo>
                      <a:pt x="9" y="38"/>
                    </a:lnTo>
                    <a:lnTo>
                      <a:pt x="17" y="42"/>
                    </a:lnTo>
                    <a:lnTo>
                      <a:pt x="17" y="42"/>
                    </a:lnTo>
                    <a:lnTo>
                      <a:pt x="21" y="42"/>
                    </a:lnTo>
                    <a:lnTo>
                      <a:pt x="21" y="42"/>
                    </a:lnTo>
                    <a:lnTo>
                      <a:pt x="27" y="42"/>
                    </a:lnTo>
                    <a:lnTo>
                      <a:pt x="34" y="38"/>
                    </a:lnTo>
                    <a:lnTo>
                      <a:pt x="38" y="34"/>
                    </a:lnTo>
                    <a:lnTo>
                      <a:pt x="42" y="27"/>
                    </a:lnTo>
                    <a:lnTo>
                      <a:pt x="42" y="27"/>
                    </a:lnTo>
                    <a:lnTo>
                      <a:pt x="42" y="19"/>
                    </a:lnTo>
                    <a:lnTo>
                      <a:pt x="40" y="11"/>
                    </a:lnTo>
                    <a:lnTo>
                      <a:pt x="34" y="5"/>
                    </a:lnTo>
                    <a:lnTo>
                      <a:pt x="27" y="2"/>
                    </a:lnTo>
                    <a:lnTo>
                      <a:pt x="27" y="2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50" name="Freeform 65"/>
              <p:cNvSpPr>
                <a:spLocks/>
              </p:cNvSpPr>
              <p:nvPr userDrawn="1"/>
            </p:nvSpPr>
            <p:spPr bwMode="auto">
              <a:xfrm>
                <a:off x="3470" y="2231"/>
                <a:ext cx="102" cy="102"/>
              </a:xfrm>
              <a:custGeom>
                <a:avLst/>
                <a:gdLst/>
                <a:ahLst/>
                <a:cxnLst>
                  <a:cxn ang="0">
                    <a:pos x="50" y="0"/>
                  </a:cxn>
                  <a:cxn ang="0">
                    <a:pos x="50" y="0"/>
                  </a:cxn>
                  <a:cxn ang="0">
                    <a:pos x="42" y="0"/>
                  </a:cxn>
                  <a:cxn ang="0">
                    <a:pos x="34" y="2"/>
                  </a:cxn>
                  <a:cxn ang="0">
                    <a:pos x="26" y="6"/>
                  </a:cxn>
                  <a:cxn ang="0">
                    <a:pos x="20" y="10"/>
                  </a:cxn>
                  <a:cxn ang="0">
                    <a:pos x="14" y="16"/>
                  </a:cxn>
                  <a:cxn ang="0">
                    <a:pos x="8" y="22"/>
                  </a:cxn>
                  <a:cxn ang="0">
                    <a:pos x="4" y="30"/>
                  </a:cxn>
                  <a:cxn ang="0">
                    <a:pos x="0" y="38"/>
                  </a:cxn>
                  <a:cxn ang="0">
                    <a:pos x="0" y="38"/>
                  </a:cxn>
                  <a:cxn ang="0">
                    <a:pos x="0" y="48"/>
                  </a:cxn>
                  <a:cxn ang="0">
                    <a:pos x="0" y="58"/>
                  </a:cxn>
                  <a:cxn ang="0">
                    <a:pos x="2" y="68"/>
                  </a:cxn>
                  <a:cxn ang="0">
                    <a:pos x="6" y="76"/>
                  </a:cxn>
                  <a:cxn ang="0">
                    <a:pos x="12" y="84"/>
                  </a:cxn>
                  <a:cxn ang="0">
                    <a:pos x="18" y="92"/>
                  </a:cxn>
                  <a:cxn ang="0">
                    <a:pos x="28" y="96"/>
                  </a:cxn>
                  <a:cxn ang="0">
                    <a:pos x="38" y="100"/>
                  </a:cxn>
                  <a:cxn ang="0">
                    <a:pos x="38" y="100"/>
                  </a:cxn>
                  <a:cxn ang="0">
                    <a:pos x="50" y="102"/>
                  </a:cxn>
                  <a:cxn ang="0">
                    <a:pos x="50" y="102"/>
                  </a:cxn>
                  <a:cxn ang="0">
                    <a:pos x="60" y="102"/>
                  </a:cxn>
                  <a:cxn ang="0">
                    <a:pos x="68" y="100"/>
                  </a:cxn>
                  <a:cxn ang="0">
                    <a:pos x="74" y="96"/>
                  </a:cxn>
                  <a:cxn ang="0">
                    <a:pos x="82" y="92"/>
                  </a:cxn>
                  <a:cxn ang="0">
                    <a:pos x="88" y="86"/>
                  </a:cxn>
                  <a:cxn ang="0">
                    <a:pos x="94" y="80"/>
                  </a:cxn>
                  <a:cxn ang="0">
                    <a:pos x="98" y="72"/>
                  </a:cxn>
                  <a:cxn ang="0">
                    <a:pos x="100" y="64"/>
                  </a:cxn>
                  <a:cxn ang="0">
                    <a:pos x="100" y="64"/>
                  </a:cxn>
                  <a:cxn ang="0">
                    <a:pos x="102" y="54"/>
                  </a:cxn>
                  <a:cxn ang="0">
                    <a:pos x="102" y="44"/>
                  </a:cxn>
                  <a:cxn ang="0">
                    <a:pos x="100" y="34"/>
                  </a:cxn>
                  <a:cxn ang="0">
                    <a:pos x="96" y="26"/>
                  </a:cxn>
                  <a:cxn ang="0">
                    <a:pos x="90" y="18"/>
                  </a:cxn>
                  <a:cxn ang="0">
                    <a:pos x="82" y="10"/>
                  </a:cxn>
                  <a:cxn ang="0">
                    <a:pos x="74" y="4"/>
                  </a:cxn>
                  <a:cxn ang="0">
                    <a:pos x="64" y="2"/>
                  </a:cxn>
                  <a:cxn ang="0">
                    <a:pos x="64" y="2"/>
                  </a:cxn>
                  <a:cxn ang="0">
                    <a:pos x="50" y="0"/>
                  </a:cxn>
                </a:cxnLst>
                <a:rect l="0" t="0" r="r" b="b"/>
                <a:pathLst>
                  <a:path w="102" h="102">
                    <a:moveTo>
                      <a:pt x="50" y="0"/>
                    </a:moveTo>
                    <a:lnTo>
                      <a:pt x="50" y="0"/>
                    </a:lnTo>
                    <a:lnTo>
                      <a:pt x="42" y="0"/>
                    </a:lnTo>
                    <a:lnTo>
                      <a:pt x="34" y="2"/>
                    </a:lnTo>
                    <a:lnTo>
                      <a:pt x="26" y="6"/>
                    </a:lnTo>
                    <a:lnTo>
                      <a:pt x="20" y="10"/>
                    </a:lnTo>
                    <a:lnTo>
                      <a:pt x="14" y="16"/>
                    </a:lnTo>
                    <a:lnTo>
                      <a:pt x="8" y="22"/>
                    </a:lnTo>
                    <a:lnTo>
                      <a:pt x="4" y="30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48"/>
                    </a:lnTo>
                    <a:lnTo>
                      <a:pt x="0" y="58"/>
                    </a:lnTo>
                    <a:lnTo>
                      <a:pt x="2" y="68"/>
                    </a:lnTo>
                    <a:lnTo>
                      <a:pt x="6" y="76"/>
                    </a:lnTo>
                    <a:lnTo>
                      <a:pt x="12" y="84"/>
                    </a:lnTo>
                    <a:lnTo>
                      <a:pt x="18" y="92"/>
                    </a:lnTo>
                    <a:lnTo>
                      <a:pt x="28" y="96"/>
                    </a:lnTo>
                    <a:lnTo>
                      <a:pt x="38" y="100"/>
                    </a:lnTo>
                    <a:lnTo>
                      <a:pt x="38" y="100"/>
                    </a:lnTo>
                    <a:lnTo>
                      <a:pt x="50" y="102"/>
                    </a:lnTo>
                    <a:lnTo>
                      <a:pt x="50" y="102"/>
                    </a:lnTo>
                    <a:lnTo>
                      <a:pt x="60" y="102"/>
                    </a:lnTo>
                    <a:lnTo>
                      <a:pt x="68" y="100"/>
                    </a:lnTo>
                    <a:lnTo>
                      <a:pt x="74" y="96"/>
                    </a:lnTo>
                    <a:lnTo>
                      <a:pt x="82" y="92"/>
                    </a:lnTo>
                    <a:lnTo>
                      <a:pt x="88" y="86"/>
                    </a:lnTo>
                    <a:lnTo>
                      <a:pt x="94" y="80"/>
                    </a:lnTo>
                    <a:lnTo>
                      <a:pt x="98" y="72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2" y="54"/>
                    </a:lnTo>
                    <a:lnTo>
                      <a:pt x="102" y="44"/>
                    </a:lnTo>
                    <a:lnTo>
                      <a:pt x="100" y="34"/>
                    </a:lnTo>
                    <a:lnTo>
                      <a:pt x="96" y="26"/>
                    </a:lnTo>
                    <a:lnTo>
                      <a:pt x="90" y="18"/>
                    </a:lnTo>
                    <a:lnTo>
                      <a:pt x="82" y="10"/>
                    </a:lnTo>
                    <a:lnTo>
                      <a:pt x="74" y="4"/>
                    </a:lnTo>
                    <a:lnTo>
                      <a:pt x="64" y="2"/>
                    </a:lnTo>
                    <a:lnTo>
                      <a:pt x="64" y="2"/>
                    </a:lnTo>
                    <a:lnTo>
                      <a:pt x="5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51" name="Freeform 66"/>
              <p:cNvSpPr>
                <a:spLocks/>
              </p:cNvSpPr>
              <p:nvPr userDrawn="1"/>
            </p:nvSpPr>
            <p:spPr bwMode="auto">
              <a:xfrm>
                <a:off x="3470" y="2231"/>
                <a:ext cx="102" cy="102"/>
              </a:xfrm>
              <a:custGeom>
                <a:avLst/>
                <a:gdLst/>
                <a:ahLst/>
                <a:cxnLst>
                  <a:cxn ang="0">
                    <a:pos x="50" y="0"/>
                  </a:cxn>
                  <a:cxn ang="0">
                    <a:pos x="50" y="0"/>
                  </a:cxn>
                  <a:cxn ang="0">
                    <a:pos x="42" y="0"/>
                  </a:cxn>
                  <a:cxn ang="0">
                    <a:pos x="34" y="2"/>
                  </a:cxn>
                  <a:cxn ang="0">
                    <a:pos x="26" y="6"/>
                  </a:cxn>
                  <a:cxn ang="0">
                    <a:pos x="20" y="10"/>
                  </a:cxn>
                  <a:cxn ang="0">
                    <a:pos x="14" y="16"/>
                  </a:cxn>
                  <a:cxn ang="0">
                    <a:pos x="8" y="22"/>
                  </a:cxn>
                  <a:cxn ang="0">
                    <a:pos x="4" y="30"/>
                  </a:cxn>
                  <a:cxn ang="0">
                    <a:pos x="0" y="38"/>
                  </a:cxn>
                  <a:cxn ang="0">
                    <a:pos x="0" y="38"/>
                  </a:cxn>
                  <a:cxn ang="0">
                    <a:pos x="0" y="48"/>
                  </a:cxn>
                  <a:cxn ang="0">
                    <a:pos x="0" y="58"/>
                  </a:cxn>
                  <a:cxn ang="0">
                    <a:pos x="2" y="68"/>
                  </a:cxn>
                  <a:cxn ang="0">
                    <a:pos x="6" y="76"/>
                  </a:cxn>
                  <a:cxn ang="0">
                    <a:pos x="12" y="84"/>
                  </a:cxn>
                  <a:cxn ang="0">
                    <a:pos x="18" y="92"/>
                  </a:cxn>
                  <a:cxn ang="0">
                    <a:pos x="28" y="96"/>
                  </a:cxn>
                  <a:cxn ang="0">
                    <a:pos x="38" y="100"/>
                  </a:cxn>
                  <a:cxn ang="0">
                    <a:pos x="38" y="100"/>
                  </a:cxn>
                  <a:cxn ang="0">
                    <a:pos x="50" y="102"/>
                  </a:cxn>
                  <a:cxn ang="0">
                    <a:pos x="50" y="102"/>
                  </a:cxn>
                  <a:cxn ang="0">
                    <a:pos x="60" y="102"/>
                  </a:cxn>
                  <a:cxn ang="0">
                    <a:pos x="68" y="100"/>
                  </a:cxn>
                  <a:cxn ang="0">
                    <a:pos x="74" y="96"/>
                  </a:cxn>
                  <a:cxn ang="0">
                    <a:pos x="82" y="92"/>
                  </a:cxn>
                  <a:cxn ang="0">
                    <a:pos x="88" y="86"/>
                  </a:cxn>
                  <a:cxn ang="0">
                    <a:pos x="94" y="80"/>
                  </a:cxn>
                  <a:cxn ang="0">
                    <a:pos x="98" y="72"/>
                  </a:cxn>
                  <a:cxn ang="0">
                    <a:pos x="100" y="64"/>
                  </a:cxn>
                  <a:cxn ang="0">
                    <a:pos x="100" y="64"/>
                  </a:cxn>
                  <a:cxn ang="0">
                    <a:pos x="102" y="54"/>
                  </a:cxn>
                  <a:cxn ang="0">
                    <a:pos x="102" y="44"/>
                  </a:cxn>
                  <a:cxn ang="0">
                    <a:pos x="100" y="34"/>
                  </a:cxn>
                  <a:cxn ang="0">
                    <a:pos x="96" y="26"/>
                  </a:cxn>
                  <a:cxn ang="0">
                    <a:pos x="90" y="18"/>
                  </a:cxn>
                  <a:cxn ang="0">
                    <a:pos x="82" y="10"/>
                  </a:cxn>
                  <a:cxn ang="0">
                    <a:pos x="74" y="4"/>
                  </a:cxn>
                  <a:cxn ang="0">
                    <a:pos x="64" y="2"/>
                  </a:cxn>
                  <a:cxn ang="0">
                    <a:pos x="64" y="2"/>
                  </a:cxn>
                  <a:cxn ang="0">
                    <a:pos x="50" y="0"/>
                  </a:cxn>
                </a:cxnLst>
                <a:rect l="0" t="0" r="r" b="b"/>
                <a:pathLst>
                  <a:path w="102" h="102">
                    <a:moveTo>
                      <a:pt x="50" y="0"/>
                    </a:moveTo>
                    <a:lnTo>
                      <a:pt x="50" y="0"/>
                    </a:lnTo>
                    <a:lnTo>
                      <a:pt x="42" y="0"/>
                    </a:lnTo>
                    <a:lnTo>
                      <a:pt x="34" y="2"/>
                    </a:lnTo>
                    <a:lnTo>
                      <a:pt x="26" y="6"/>
                    </a:lnTo>
                    <a:lnTo>
                      <a:pt x="20" y="10"/>
                    </a:lnTo>
                    <a:lnTo>
                      <a:pt x="14" y="16"/>
                    </a:lnTo>
                    <a:lnTo>
                      <a:pt x="8" y="22"/>
                    </a:lnTo>
                    <a:lnTo>
                      <a:pt x="4" y="30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48"/>
                    </a:lnTo>
                    <a:lnTo>
                      <a:pt x="0" y="58"/>
                    </a:lnTo>
                    <a:lnTo>
                      <a:pt x="2" y="68"/>
                    </a:lnTo>
                    <a:lnTo>
                      <a:pt x="6" y="76"/>
                    </a:lnTo>
                    <a:lnTo>
                      <a:pt x="12" y="84"/>
                    </a:lnTo>
                    <a:lnTo>
                      <a:pt x="18" y="92"/>
                    </a:lnTo>
                    <a:lnTo>
                      <a:pt x="28" y="96"/>
                    </a:lnTo>
                    <a:lnTo>
                      <a:pt x="38" y="100"/>
                    </a:lnTo>
                    <a:lnTo>
                      <a:pt x="38" y="100"/>
                    </a:lnTo>
                    <a:lnTo>
                      <a:pt x="50" y="102"/>
                    </a:lnTo>
                    <a:lnTo>
                      <a:pt x="50" y="102"/>
                    </a:lnTo>
                    <a:lnTo>
                      <a:pt x="60" y="102"/>
                    </a:lnTo>
                    <a:lnTo>
                      <a:pt x="68" y="100"/>
                    </a:lnTo>
                    <a:lnTo>
                      <a:pt x="74" y="96"/>
                    </a:lnTo>
                    <a:lnTo>
                      <a:pt x="82" y="92"/>
                    </a:lnTo>
                    <a:lnTo>
                      <a:pt x="88" y="86"/>
                    </a:lnTo>
                    <a:lnTo>
                      <a:pt x="94" y="80"/>
                    </a:lnTo>
                    <a:lnTo>
                      <a:pt x="98" y="72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2" y="54"/>
                    </a:lnTo>
                    <a:lnTo>
                      <a:pt x="102" y="44"/>
                    </a:lnTo>
                    <a:lnTo>
                      <a:pt x="100" y="34"/>
                    </a:lnTo>
                    <a:lnTo>
                      <a:pt x="96" y="26"/>
                    </a:lnTo>
                    <a:lnTo>
                      <a:pt x="90" y="18"/>
                    </a:lnTo>
                    <a:lnTo>
                      <a:pt x="82" y="10"/>
                    </a:lnTo>
                    <a:lnTo>
                      <a:pt x="74" y="4"/>
                    </a:lnTo>
                    <a:lnTo>
                      <a:pt x="64" y="2"/>
                    </a:lnTo>
                    <a:lnTo>
                      <a:pt x="64" y="2"/>
                    </a:lnTo>
                    <a:lnTo>
                      <a:pt x="5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52" name="Freeform 67"/>
              <p:cNvSpPr>
                <a:spLocks/>
              </p:cNvSpPr>
              <p:nvPr userDrawn="1"/>
            </p:nvSpPr>
            <p:spPr bwMode="auto">
              <a:xfrm>
                <a:off x="3278" y="2219"/>
                <a:ext cx="96" cy="90"/>
              </a:xfrm>
              <a:custGeom>
                <a:avLst/>
                <a:gdLst/>
                <a:ahLst/>
                <a:cxnLst>
                  <a:cxn ang="0">
                    <a:pos x="48" y="0"/>
                  </a:cxn>
                  <a:cxn ang="0">
                    <a:pos x="48" y="0"/>
                  </a:cxn>
                  <a:cxn ang="0">
                    <a:pos x="40" y="0"/>
                  </a:cxn>
                  <a:cxn ang="0">
                    <a:pos x="34" y="2"/>
                  </a:cxn>
                  <a:cxn ang="0">
                    <a:pos x="19" y="10"/>
                  </a:cxn>
                  <a:cxn ang="0">
                    <a:pos x="13" y="14"/>
                  </a:cxn>
                  <a:cxn ang="0">
                    <a:pos x="9" y="20"/>
                  </a:cxn>
                  <a:cxn ang="0">
                    <a:pos x="5" y="26"/>
                  </a:cxn>
                  <a:cxn ang="0">
                    <a:pos x="2" y="33"/>
                  </a:cxn>
                  <a:cxn ang="0">
                    <a:pos x="2" y="33"/>
                  </a:cxn>
                  <a:cxn ang="0">
                    <a:pos x="0" y="43"/>
                  </a:cxn>
                  <a:cxn ang="0">
                    <a:pos x="0" y="51"/>
                  </a:cxn>
                  <a:cxn ang="0">
                    <a:pos x="2" y="61"/>
                  </a:cxn>
                  <a:cxn ang="0">
                    <a:pos x="6" y="69"/>
                  </a:cxn>
                  <a:cxn ang="0">
                    <a:pos x="11" y="75"/>
                  </a:cxn>
                  <a:cxn ang="0">
                    <a:pos x="19" y="80"/>
                  </a:cxn>
                  <a:cxn ang="0">
                    <a:pos x="27" y="86"/>
                  </a:cxn>
                  <a:cxn ang="0">
                    <a:pos x="36" y="88"/>
                  </a:cxn>
                  <a:cxn ang="0">
                    <a:pos x="36" y="88"/>
                  </a:cxn>
                  <a:cxn ang="0">
                    <a:pos x="48" y="90"/>
                  </a:cxn>
                  <a:cxn ang="0">
                    <a:pos x="48" y="90"/>
                  </a:cxn>
                  <a:cxn ang="0">
                    <a:pos x="57" y="90"/>
                  </a:cxn>
                  <a:cxn ang="0">
                    <a:pos x="63" y="88"/>
                  </a:cxn>
                  <a:cxn ang="0">
                    <a:pos x="77" y="80"/>
                  </a:cxn>
                  <a:cxn ang="0">
                    <a:pos x="84" y="77"/>
                  </a:cxn>
                  <a:cxn ang="0">
                    <a:pos x="88" y="71"/>
                  </a:cxn>
                  <a:cxn ang="0">
                    <a:pos x="92" y="65"/>
                  </a:cxn>
                  <a:cxn ang="0">
                    <a:pos x="94" y="57"/>
                  </a:cxn>
                  <a:cxn ang="0">
                    <a:pos x="94" y="57"/>
                  </a:cxn>
                  <a:cxn ang="0">
                    <a:pos x="96" y="47"/>
                  </a:cxn>
                  <a:cxn ang="0">
                    <a:pos x="96" y="39"/>
                  </a:cxn>
                  <a:cxn ang="0">
                    <a:pos x="94" y="30"/>
                  </a:cxn>
                  <a:cxn ang="0">
                    <a:pos x="90" y="22"/>
                  </a:cxn>
                  <a:cxn ang="0">
                    <a:pos x="86" y="16"/>
                  </a:cxn>
                  <a:cxn ang="0">
                    <a:pos x="77" y="10"/>
                  </a:cxn>
                  <a:cxn ang="0">
                    <a:pos x="69" y="4"/>
                  </a:cxn>
                  <a:cxn ang="0">
                    <a:pos x="61" y="2"/>
                  </a:cxn>
                  <a:cxn ang="0">
                    <a:pos x="61" y="2"/>
                  </a:cxn>
                  <a:cxn ang="0">
                    <a:pos x="48" y="0"/>
                  </a:cxn>
                </a:cxnLst>
                <a:rect l="0" t="0" r="r" b="b"/>
                <a:pathLst>
                  <a:path w="96" h="90">
                    <a:moveTo>
                      <a:pt x="48" y="0"/>
                    </a:moveTo>
                    <a:lnTo>
                      <a:pt x="48" y="0"/>
                    </a:lnTo>
                    <a:lnTo>
                      <a:pt x="40" y="0"/>
                    </a:lnTo>
                    <a:lnTo>
                      <a:pt x="34" y="2"/>
                    </a:lnTo>
                    <a:lnTo>
                      <a:pt x="19" y="10"/>
                    </a:lnTo>
                    <a:lnTo>
                      <a:pt x="13" y="14"/>
                    </a:lnTo>
                    <a:lnTo>
                      <a:pt x="9" y="20"/>
                    </a:lnTo>
                    <a:lnTo>
                      <a:pt x="5" y="26"/>
                    </a:lnTo>
                    <a:lnTo>
                      <a:pt x="2" y="33"/>
                    </a:lnTo>
                    <a:lnTo>
                      <a:pt x="2" y="33"/>
                    </a:lnTo>
                    <a:lnTo>
                      <a:pt x="0" y="43"/>
                    </a:lnTo>
                    <a:lnTo>
                      <a:pt x="0" y="51"/>
                    </a:lnTo>
                    <a:lnTo>
                      <a:pt x="2" y="61"/>
                    </a:lnTo>
                    <a:lnTo>
                      <a:pt x="6" y="69"/>
                    </a:lnTo>
                    <a:lnTo>
                      <a:pt x="11" y="75"/>
                    </a:lnTo>
                    <a:lnTo>
                      <a:pt x="19" y="80"/>
                    </a:lnTo>
                    <a:lnTo>
                      <a:pt x="27" y="86"/>
                    </a:lnTo>
                    <a:lnTo>
                      <a:pt x="36" y="88"/>
                    </a:lnTo>
                    <a:lnTo>
                      <a:pt x="36" y="88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57" y="90"/>
                    </a:lnTo>
                    <a:lnTo>
                      <a:pt x="63" y="88"/>
                    </a:lnTo>
                    <a:lnTo>
                      <a:pt x="77" y="80"/>
                    </a:lnTo>
                    <a:lnTo>
                      <a:pt x="84" y="77"/>
                    </a:lnTo>
                    <a:lnTo>
                      <a:pt x="88" y="71"/>
                    </a:lnTo>
                    <a:lnTo>
                      <a:pt x="92" y="65"/>
                    </a:lnTo>
                    <a:lnTo>
                      <a:pt x="94" y="57"/>
                    </a:lnTo>
                    <a:lnTo>
                      <a:pt x="94" y="57"/>
                    </a:lnTo>
                    <a:lnTo>
                      <a:pt x="96" y="47"/>
                    </a:lnTo>
                    <a:lnTo>
                      <a:pt x="96" y="39"/>
                    </a:lnTo>
                    <a:lnTo>
                      <a:pt x="94" y="30"/>
                    </a:lnTo>
                    <a:lnTo>
                      <a:pt x="90" y="22"/>
                    </a:lnTo>
                    <a:lnTo>
                      <a:pt x="86" y="16"/>
                    </a:lnTo>
                    <a:lnTo>
                      <a:pt x="77" y="10"/>
                    </a:lnTo>
                    <a:lnTo>
                      <a:pt x="69" y="4"/>
                    </a:lnTo>
                    <a:lnTo>
                      <a:pt x="61" y="2"/>
                    </a:lnTo>
                    <a:lnTo>
                      <a:pt x="61" y="2"/>
                    </a:lnTo>
                    <a:lnTo>
                      <a:pt x="4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53" name="Freeform 68"/>
              <p:cNvSpPr>
                <a:spLocks/>
              </p:cNvSpPr>
              <p:nvPr userDrawn="1"/>
            </p:nvSpPr>
            <p:spPr bwMode="auto">
              <a:xfrm>
                <a:off x="3278" y="2219"/>
                <a:ext cx="96" cy="90"/>
              </a:xfrm>
              <a:custGeom>
                <a:avLst/>
                <a:gdLst/>
                <a:ahLst/>
                <a:cxnLst>
                  <a:cxn ang="0">
                    <a:pos x="48" y="0"/>
                  </a:cxn>
                  <a:cxn ang="0">
                    <a:pos x="48" y="0"/>
                  </a:cxn>
                  <a:cxn ang="0">
                    <a:pos x="40" y="0"/>
                  </a:cxn>
                  <a:cxn ang="0">
                    <a:pos x="34" y="2"/>
                  </a:cxn>
                  <a:cxn ang="0">
                    <a:pos x="19" y="10"/>
                  </a:cxn>
                  <a:cxn ang="0">
                    <a:pos x="13" y="14"/>
                  </a:cxn>
                  <a:cxn ang="0">
                    <a:pos x="9" y="20"/>
                  </a:cxn>
                  <a:cxn ang="0">
                    <a:pos x="5" y="26"/>
                  </a:cxn>
                  <a:cxn ang="0">
                    <a:pos x="2" y="33"/>
                  </a:cxn>
                  <a:cxn ang="0">
                    <a:pos x="2" y="33"/>
                  </a:cxn>
                  <a:cxn ang="0">
                    <a:pos x="0" y="43"/>
                  </a:cxn>
                  <a:cxn ang="0">
                    <a:pos x="0" y="51"/>
                  </a:cxn>
                  <a:cxn ang="0">
                    <a:pos x="2" y="61"/>
                  </a:cxn>
                  <a:cxn ang="0">
                    <a:pos x="6" y="69"/>
                  </a:cxn>
                  <a:cxn ang="0">
                    <a:pos x="11" y="75"/>
                  </a:cxn>
                  <a:cxn ang="0">
                    <a:pos x="19" y="80"/>
                  </a:cxn>
                  <a:cxn ang="0">
                    <a:pos x="27" y="86"/>
                  </a:cxn>
                  <a:cxn ang="0">
                    <a:pos x="36" y="88"/>
                  </a:cxn>
                  <a:cxn ang="0">
                    <a:pos x="36" y="88"/>
                  </a:cxn>
                  <a:cxn ang="0">
                    <a:pos x="48" y="90"/>
                  </a:cxn>
                  <a:cxn ang="0">
                    <a:pos x="48" y="90"/>
                  </a:cxn>
                  <a:cxn ang="0">
                    <a:pos x="57" y="90"/>
                  </a:cxn>
                  <a:cxn ang="0">
                    <a:pos x="63" y="88"/>
                  </a:cxn>
                  <a:cxn ang="0">
                    <a:pos x="77" y="80"/>
                  </a:cxn>
                  <a:cxn ang="0">
                    <a:pos x="84" y="77"/>
                  </a:cxn>
                  <a:cxn ang="0">
                    <a:pos x="88" y="71"/>
                  </a:cxn>
                  <a:cxn ang="0">
                    <a:pos x="92" y="65"/>
                  </a:cxn>
                  <a:cxn ang="0">
                    <a:pos x="94" y="57"/>
                  </a:cxn>
                  <a:cxn ang="0">
                    <a:pos x="94" y="57"/>
                  </a:cxn>
                  <a:cxn ang="0">
                    <a:pos x="96" y="47"/>
                  </a:cxn>
                  <a:cxn ang="0">
                    <a:pos x="96" y="39"/>
                  </a:cxn>
                  <a:cxn ang="0">
                    <a:pos x="94" y="30"/>
                  </a:cxn>
                  <a:cxn ang="0">
                    <a:pos x="90" y="22"/>
                  </a:cxn>
                  <a:cxn ang="0">
                    <a:pos x="86" y="16"/>
                  </a:cxn>
                  <a:cxn ang="0">
                    <a:pos x="77" y="10"/>
                  </a:cxn>
                  <a:cxn ang="0">
                    <a:pos x="69" y="4"/>
                  </a:cxn>
                  <a:cxn ang="0">
                    <a:pos x="61" y="2"/>
                  </a:cxn>
                  <a:cxn ang="0">
                    <a:pos x="61" y="2"/>
                  </a:cxn>
                  <a:cxn ang="0">
                    <a:pos x="48" y="0"/>
                  </a:cxn>
                </a:cxnLst>
                <a:rect l="0" t="0" r="r" b="b"/>
                <a:pathLst>
                  <a:path w="96" h="90">
                    <a:moveTo>
                      <a:pt x="48" y="0"/>
                    </a:moveTo>
                    <a:lnTo>
                      <a:pt x="48" y="0"/>
                    </a:lnTo>
                    <a:lnTo>
                      <a:pt x="40" y="0"/>
                    </a:lnTo>
                    <a:lnTo>
                      <a:pt x="34" y="2"/>
                    </a:lnTo>
                    <a:lnTo>
                      <a:pt x="19" y="10"/>
                    </a:lnTo>
                    <a:lnTo>
                      <a:pt x="13" y="14"/>
                    </a:lnTo>
                    <a:lnTo>
                      <a:pt x="9" y="20"/>
                    </a:lnTo>
                    <a:lnTo>
                      <a:pt x="5" y="26"/>
                    </a:lnTo>
                    <a:lnTo>
                      <a:pt x="2" y="33"/>
                    </a:lnTo>
                    <a:lnTo>
                      <a:pt x="2" y="33"/>
                    </a:lnTo>
                    <a:lnTo>
                      <a:pt x="0" y="43"/>
                    </a:lnTo>
                    <a:lnTo>
                      <a:pt x="0" y="51"/>
                    </a:lnTo>
                    <a:lnTo>
                      <a:pt x="2" y="61"/>
                    </a:lnTo>
                    <a:lnTo>
                      <a:pt x="6" y="69"/>
                    </a:lnTo>
                    <a:lnTo>
                      <a:pt x="11" y="75"/>
                    </a:lnTo>
                    <a:lnTo>
                      <a:pt x="19" y="80"/>
                    </a:lnTo>
                    <a:lnTo>
                      <a:pt x="27" y="86"/>
                    </a:lnTo>
                    <a:lnTo>
                      <a:pt x="36" y="88"/>
                    </a:lnTo>
                    <a:lnTo>
                      <a:pt x="36" y="88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57" y="90"/>
                    </a:lnTo>
                    <a:lnTo>
                      <a:pt x="63" y="88"/>
                    </a:lnTo>
                    <a:lnTo>
                      <a:pt x="77" y="80"/>
                    </a:lnTo>
                    <a:lnTo>
                      <a:pt x="84" y="77"/>
                    </a:lnTo>
                    <a:lnTo>
                      <a:pt x="88" y="71"/>
                    </a:lnTo>
                    <a:lnTo>
                      <a:pt x="92" y="65"/>
                    </a:lnTo>
                    <a:lnTo>
                      <a:pt x="94" y="57"/>
                    </a:lnTo>
                    <a:lnTo>
                      <a:pt x="94" y="57"/>
                    </a:lnTo>
                    <a:lnTo>
                      <a:pt x="96" y="47"/>
                    </a:lnTo>
                    <a:lnTo>
                      <a:pt x="96" y="39"/>
                    </a:lnTo>
                    <a:lnTo>
                      <a:pt x="94" y="30"/>
                    </a:lnTo>
                    <a:lnTo>
                      <a:pt x="90" y="22"/>
                    </a:lnTo>
                    <a:lnTo>
                      <a:pt x="86" y="16"/>
                    </a:lnTo>
                    <a:lnTo>
                      <a:pt x="77" y="10"/>
                    </a:lnTo>
                    <a:lnTo>
                      <a:pt x="69" y="4"/>
                    </a:lnTo>
                    <a:lnTo>
                      <a:pt x="61" y="2"/>
                    </a:lnTo>
                    <a:lnTo>
                      <a:pt x="61" y="2"/>
                    </a:lnTo>
                    <a:lnTo>
                      <a:pt x="4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54" name="Freeform 69"/>
              <p:cNvSpPr>
                <a:spLocks/>
              </p:cNvSpPr>
              <p:nvPr userDrawn="1"/>
            </p:nvSpPr>
            <p:spPr bwMode="auto">
              <a:xfrm>
                <a:off x="3092" y="2243"/>
                <a:ext cx="84" cy="78"/>
              </a:xfrm>
              <a:custGeom>
                <a:avLst/>
                <a:gdLst/>
                <a:ahLst/>
                <a:cxnLst>
                  <a:cxn ang="0">
                    <a:pos x="42" y="0"/>
                  </a:cxn>
                  <a:cxn ang="0">
                    <a:pos x="42" y="0"/>
                  </a:cxn>
                  <a:cxn ang="0">
                    <a:pos x="28" y="2"/>
                  </a:cxn>
                  <a:cxn ang="0">
                    <a:pos x="16" y="8"/>
                  </a:cxn>
                  <a:cxn ang="0">
                    <a:pos x="6" y="17"/>
                  </a:cxn>
                  <a:cxn ang="0">
                    <a:pos x="4" y="23"/>
                  </a:cxn>
                  <a:cxn ang="0">
                    <a:pos x="2" y="29"/>
                  </a:cxn>
                  <a:cxn ang="0">
                    <a:pos x="2" y="29"/>
                  </a:cxn>
                  <a:cxn ang="0">
                    <a:pos x="0" y="36"/>
                  </a:cxn>
                  <a:cxn ang="0">
                    <a:pos x="0" y="44"/>
                  </a:cxn>
                  <a:cxn ang="0">
                    <a:pos x="2" y="51"/>
                  </a:cxn>
                  <a:cxn ang="0">
                    <a:pos x="6" y="59"/>
                  </a:cxn>
                  <a:cxn ang="0">
                    <a:pos x="10" y="65"/>
                  </a:cxn>
                  <a:cxn ang="0">
                    <a:pos x="16" y="71"/>
                  </a:cxn>
                  <a:cxn ang="0">
                    <a:pos x="22" y="74"/>
                  </a:cxn>
                  <a:cxn ang="0">
                    <a:pos x="30" y="78"/>
                  </a:cxn>
                  <a:cxn ang="0">
                    <a:pos x="30" y="78"/>
                  </a:cxn>
                  <a:cxn ang="0">
                    <a:pos x="42" y="78"/>
                  </a:cxn>
                  <a:cxn ang="0">
                    <a:pos x="42" y="78"/>
                  </a:cxn>
                  <a:cxn ang="0">
                    <a:pos x="54" y="76"/>
                  </a:cxn>
                  <a:cxn ang="0">
                    <a:pos x="66" y="71"/>
                  </a:cxn>
                  <a:cxn ang="0">
                    <a:pos x="76" y="61"/>
                  </a:cxn>
                  <a:cxn ang="0">
                    <a:pos x="80" y="56"/>
                  </a:cxn>
                  <a:cxn ang="0">
                    <a:pos x="82" y="50"/>
                  </a:cxn>
                  <a:cxn ang="0">
                    <a:pos x="82" y="50"/>
                  </a:cxn>
                  <a:cxn ang="0">
                    <a:pos x="84" y="42"/>
                  </a:cxn>
                  <a:cxn ang="0">
                    <a:pos x="82" y="35"/>
                  </a:cxn>
                  <a:cxn ang="0">
                    <a:pos x="80" y="27"/>
                  </a:cxn>
                  <a:cxn ang="0">
                    <a:pos x="78" y="19"/>
                  </a:cxn>
                  <a:cxn ang="0">
                    <a:pos x="72" y="14"/>
                  </a:cxn>
                  <a:cxn ang="0">
                    <a:pos x="68" y="8"/>
                  </a:cxn>
                  <a:cxn ang="0">
                    <a:pos x="60" y="4"/>
                  </a:cxn>
                  <a:cxn ang="0">
                    <a:pos x="52" y="0"/>
                  </a:cxn>
                  <a:cxn ang="0">
                    <a:pos x="52" y="0"/>
                  </a:cxn>
                  <a:cxn ang="0">
                    <a:pos x="42" y="0"/>
                  </a:cxn>
                </a:cxnLst>
                <a:rect l="0" t="0" r="r" b="b"/>
                <a:pathLst>
                  <a:path w="84" h="78">
                    <a:moveTo>
                      <a:pt x="42" y="0"/>
                    </a:moveTo>
                    <a:lnTo>
                      <a:pt x="42" y="0"/>
                    </a:lnTo>
                    <a:lnTo>
                      <a:pt x="28" y="2"/>
                    </a:lnTo>
                    <a:lnTo>
                      <a:pt x="16" y="8"/>
                    </a:lnTo>
                    <a:lnTo>
                      <a:pt x="6" y="17"/>
                    </a:lnTo>
                    <a:lnTo>
                      <a:pt x="4" y="23"/>
                    </a:lnTo>
                    <a:lnTo>
                      <a:pt x="2" y="29"/>
                    </a:lnTo>
                    <a:lnTo>
                      <a:pt x="2" y="29"/>
                    </a:lnTo>
                    <a:lnTo>
                      <a:pt x="0" y="36"/>
                    </a:lnTo>
                    <a:lnTo>
                      <a:pt x="0" y="44"/>
                    </a:lnTo>
                    <a:lnTo>
                      <a:pt x="2" y="51"/>
                    </a:lnTo>
                    <a:lnTo>
                      <a:pt x="6" y="59"/>
                    </a:lnTo>
                    <a:lnTo>
                      <a:pt x="10" y="65"/>
                    </a:lnTo>
                    <a:lnTo>
                      <a:pt x="16" y="71"/>
                    </a:lnTo>
                    <a:lnTo>
                      <a:pt x="22" y="74"/>
                    </a:lnTo>
                    <a:lnTo>
                      <a:pt x="30" y="78"/>
                    </a:lnTo>
                    <a:lnTo>
                      <a:pt x="30" y="78"/>
                    </a:lnTo>
                    <a:lnTo>
                      <a:pt x="42" y="78"/>
                    </a:lnTo>
                    <a:lnTo>
                      <a:pt x="42" y="78"/>
                    </a:lnTo>
                    <a:lnTo>
                      <a:pt x="54" y="76"/>
                    </a:lnTo>
                    <a:lnTo>
                      <a:pt x="66" y="71"/>
                    </a:lnTo>
                    <a:lnTo>
                      <a:pt x="76" y="61"/>
                    </a:lnTo>
                    <a:lnTo>
                      <a:pt x="80" y="56"/>
                    </a:lnTo>
                    <a:lnTo>
                      <a:pt x="82" y="50"/>
                    </a:lnTo>
                    <a:lnTo>
                      <a:pt x="82" y="50"/>
                    </a:lnTo>
                    <a:lnTo>
                      <a:pt x="84" y="42"/>
                    </a:lnTo>
                    <a:lnTo>
                      <a:pt x="82" y="35"/>
                    </a:lnTo>
                    <a:lnTo>
                      <a:pt x="80" y="27"/>
                    </a:lnTo>
                    <a:lnTo>
                      <a:pt x="78" y="19"/>
                    </a:lnTo>
                    <a:lnTo>
                      <a:pt x="72" y="14"/>
                    </a:lnTo>
                    <a:lnTo>
                      <a:pt x="68" y="8"/>
                    </a:lnTo>
                    <a:lnTo>
                      <a:pt x="60" y="4"/>
                    </a:lnTo>
                    <a:lnTo>
                      <a:pt x="52" y="0"/>
                    </a:lnTo>
                    <a:lnTo>
                      <a:pt x="52" y="0"/>
                    </a:lnTo>
                    <a:lnTo>
                      <a:pt x="4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55" name="Freeform 70"/>
              <p:cNvSpPr>
                <a:spLocks/>
              </p:cNvSpPr>
              <p:nvPr userDrawn="1"/>
            </p:nvSpPr>
            <p:spPr bwMode="auto">
              <a:xfrm>
                <a:off x="3092" y="2243"/>
                <a:ext cx="84" cy="78"/>
              </a:xfrm>
              <a:custGeom>
                <a:avLst/>
                <a:gdLst/>
                <a:ahLst/>
                <a:cxnLst>
                  <a:cxn ang="0">
                    <a:pos x="42" y="0"/>
                  </a:cxn>
                  <a:cxn ang="0">
                    <a:pos x="42" y="0"/>
                  </a:cxn>
                  <a:cxn ang="0">
                    <a:pos x="28" y="2"/>
                  </a:cxn>
                  <a:cxn ang="0">
                    <a:pos x="16" y="8"/>
                  </a:cxn>
                  <a:cxn ang="0">
                    <a:pos x="6" y="17"/>
                  </a:cxn>
                  <a:cxn ang="0">
                    <a:pos x="4" y="23"/>
                  </a:cxn>
                  <a:cxn ang="0">
                    <a:pos x="2" y="29"/>
                  </a:cxn>
                  <a:cxn ang="0">
                    <a:pos x="2" y="29"/>
                  </a:cxn>
                  <a:cxn ang="0">
                    <a:pos x="0" y="36"/>
                  </a:cxn>
                  <a:cxn ang="0">
                    <a:pos x="0" y="44"/>
                  </a:cxn>
                  <a:cxn ang="0">
                    <a:pos x="2" y="51"/>
                  </a:cxn>
                  <a:cxn ang="0">
                    <a:pos x="6" y="59"/>
                  </a:cxn>
                  <a:cxn ang="0">
                    <a:pos x="10" y="65"/>
                  </a:cxn>
                  <a:cxn ang="0">
                    <a:pos x="16" y="71"/>
                  </a:cxn>
                  <a:cxn ang="0">
                    <a:pos x="22" y="74"/>
                  </a:cxn>
                  <a:cxn ang="0">
                    <a:pos x="30" y="78"/>
                  </a:cxn>
                  <a:cxn ang="0">
                    <a:pos x="30" y="78"/>
                  </a:cxn>
                  <a:cxn ang="0">
                    <a:pos x="42" y="78"/>
                  </a:cxn>
                  <a:cxn ang="0">
                    <a:pos x="42" y="78"/>
                  </a:cxn>
                  <a:cxn ang="0">
                    <a:pos x="54" y="76"/>
                  </a:cxn>
                  <a:cxn ang="0">
                    <a:pos x="66" y="71"/>
                  </a:cxn>
                  <a:cxn ang="0">
                    <a:pos x="76" y="61"/>
                  </a:cxn>
                  <a:cxn ang="0">
                    <a:pos x="80" y="56"/>
                  </a:cxn>
                  <a:cxn ang="0">
                    <a:pos x="82" y="50"/>
                  </a:cxn>
                  <a:cxn ang="0">
                    <a:pos x="82" y="50"/>
                  </a:cxn>
                  <a:cxn ang="0">
                    <a:pos x="84" y="42"/>
                  </a:cxn>
                  <a:cxn ang="0">
                    <a:pos x="82" y="35"/>
                  </a:cxn>
                  <a:cxn ang="0">
                    <a:pos x="80" y="27"/>
                  </a:cxn>
                  <a:cxn ang="0">
                    <a:pos x="78" y="19"/>
                  </a:cxn>
                  <a:cxn ang="0">
                    <a:pos x="72" y="14"/>
                  </a:cxn>
                  <a:cxn ang="0">
                    <a:pos x="68" y="8"/>
                  </a:cxn>
                  <a:cxn ang="0">
                    <a:pos x="60" y="4"/>
                  </a:cxn>
                  <a:cxn ang="0">
                    <a:pos x="52" y="0"/>
                  </a:cxn>
                  <a:cxn ang="0">
                    <a:pos x="52" y="0"/>
                  </a:cxn>
                  <a:cxn ang="0">
                    <a:pos x="42" y="0"/>
                  </a:cxn>
                </a:cxnLst>
                <a:rect l="0" t="0" r="r" b="b"/>
                <a:pathLst>
                  <a:path w="84" h="78">
                    <a:moveTo>
                      <a:pt x="42" y="0"/>
                    </a:moveTo>
                    <a:lnTo>
                      <a:pt x="42" y="0"/>
                    </a:lnTo>
                    <a:lnTo>
                      <a:pt x="28" y="2"/>
                    </a:lnTo>
                    <a:lnTo>
                      <a:pt x="16" y="8"/>
                    </a:lnTo>
                    <a:lnTo>
                      <a:pt x="6" y="17"/>
                    </a:lnTo>
                    <a:lnTo>
                      <a:pt x="4" y="23"/>
                    </a:lnTo>
                    <a:lnTo>
                      <a:pt x="2" y="29"/>
                    </a:lnTo>
                    <a:lnTo>
                      <a:pt x="2" y="29"/>
                    </a:lnTo>
                    <a:lnTo>
                      <a:pt x="0" y="36"/>
                    </a:lnTo>
                    <a:lnTo>
                      <a:pt x="0" y="44"/>
                    </a:lnTo>
                    <a:lnTo>
                      <a:pt x="2" y="51"/>
                    </a:lnTo>
                    <a:lnTo>
                      <a:pt x="6" y="59"/>
                    </a:lnTo>
                    <a:lnTo>
                      <a:pt x="10" y="65"/>
                    </a:lnTo>
                    <a:lnTo>
                      <a:pt x="16" y="71"/>
                    </a:lnTo>
                    <a:lnTo>
                      <a:pt x="22" y="74"/>
                    </a:lnTo>
                    <a:lnTo>
                      <a:pt x="30" y="78"/>
                    </a:lnTo>
                    <a:lnTo>
                      <a:pt x="30" y="78"/>
                    </a:lnTo>
                    <a:lnTo>
                      <a:pt x="42" y="78"/>
                    </a:lnTo>
                    <a:lnTo>
                      <a:pt x="42" y="78"/>
                    </a:lnTo>
                    <a:lnTo>
                      <a:pt x="54" y="76"/>
                    </a:lnTo>
                    <a:lnTo>
                      <a:pt x="66" y="71"/>
                    </a:lnTo>
                    <a:lnTo>
                      <a:pt x="76" y="61"/>
                    </a:lnTo>
                    <a:lnTo>
                      <a:pt x="80" y="56"/>
                    </a:lnTo>
                    <a:lnTo>
                      <a:pt x="82" y="50"/>
                    </a:lnTo>
                    <a:lnTo>
                      <a:pt x="82" y="50"/>
                    </a:lnTo>
                    <a:lnTo>
                      <a:pt x="84" y="42"/>
                    </a:lnTo>
                    <a:lnTo>
                      <a:pt x="82" y="35"/>
                    </a:lnTo>
                    <a:lnTo>
                      <a:pt x="80" y="27"/>
                    </a:lnTo>
                    <a:lnTo>
                      <a:pt x="78" y="19"/>
                    </a:lnTo>
                    <a:lnTo>
                      <a:pt x="72" y="14"/>
                    </a:lnTo>
                    <a:lnTo>
                      <a:pt x="68" y="8"/>
                    </a:lnTo>
                    <a:lnTo>
                      <a:pt x="60" y="4"/>
                    </a:lnTo>
                    <a:lnTo>
                      <a:pt x="52" y="0"/>
                    </a:lnTo>
                    <a:lnTo>
                      <a:pt x="52" y="0"/>
                    </a:lnTo>
                    <a:lnTo>
                      <a:pt x="4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56" name="Freeform 71"/>
              <p:cNvSpPr>
                <a:spLocks/>
              </p:cNvSpPr>
              <p:nvPr userDrawn="1"/>
            </p:nvSpPr>
            <p:spPr bwMode="auto">
              <a:xfrm>
                <a:off x="2912" y="2297"/>
                <a:ext cx="72" cy="72"/>
              </a:xfrm>
              <a:custGeom>
                <a:avLst/>
                <a:gdLst/>
                <a:ahLst/>
                <a:cxnLst>
                  <a:cxn ang="0">
                    <a:pos x="35" y="0"/>
                  </a:cxn>
                  <a:cxn ang="0">
                    <a:pos x="35" y="0"/>
                  </a:cxn>
                  <a:cxn ang="0">
                    <a:pos x="24" y="2"/>
                  </a:cxn>
                  <a:cxn ang="0">
                    <a:pos x="14" y="6"/>
                  </a:cxn>
                  <a:cxn ang="0">
                    <a:pos x="6" y="16"/>
                  </a:cxn>
                  <a:cxn ang="0">
                    <a:pos x="0" y="27"/>
                  </a:cxn>
                  <a:cxn ang="0">
                    <a:pos x="0" y="27"/>
                  </a:cxn>
                  <a:cxn ang="0">
                    <a:pos x="0" y="33"/>
                  </a:cxn>
                  <a:cxn ang="0">
                    <a:pos x="0" y="41"/>
                  </a:cxn>
                  <a:cxn ang="0">
                    <a:pos x="2" y="49"/>
                  </a:cxn>
                  <a:cxn ang="0">
                    <a:pos x="4" y="55"/>
                  </a:cxn>
                  <a:cxn ang="0">
                    <a:pos x="8" y="60"/>
                  </a:cxn>
                  <a:cxn ang="0">
                    <a:pos x="14" y="65"/>
                  </a:cxn>
                  <a:cxn ang="0">
                    <a:pos x="20" y="68"/>
                  </a:cxn>
                  <a:cxn ang="0">
                    <a:pos x="26" y="72"/>
                  </a:cxn>
                  <a:cxn ang="0">
                    <a:pos x="26" y="72"/>
                  </a:cxn>
                  <a:cxn ang="0">
                    <a:pos x="35" y="72"/>
                  </a:cxn>
                  <a:cxn ang="0">
                    <a:pos x="35" y="72"/>
                  </a:cxn>
                  <a:cxn ang="0">
                    <a:pos x="47" y="70"/>
                  </a:cxn>
                  <a:cxn ang="0">
                    <a:pos x="59" y="65"/>
                  </a:cxn>
                  <a:cxn ang="0">
                    <a:pos x="66" y="57"/>
                  </a:cxn>
                  <a:cxn ang="0">
                    <a:pos x="70" y="45"/>
                  </a:cxn>
                  <a:cxn ang="0">
                    <a:pos x="70" y="45"/>
                  </a:cxn>
                  <a:cxn ang="0">
                    <a:pos x="72" y="39"/>
                  </a:cxn>
                  <a:cxn ang="0">
                    <a:pos x="72" y="31"/>
                  </a:cxn>
                  <a:cxn ang="0">
                    <a:pos x="70" y="24"/>
                  </a:cxn>
                  <a:cxn ang="0">
                    <a:pos x="68" y="18"/>
                  </a:cxn>
                  <a:cxn ang="0">
                    <a:pos x="63" y="12"/>
                  </a:cxn>
                  <a:cxn ang="0">
                    <a:pos x="59" y="8"/>
                  </a:cxn>
                  <a:cxn ang="0">
                    <a:pos x="53" y="4"/>
                  </a:cxn>
                  <a:cxn ang="0">
                    <a:pos x="45" y="0"/>
                  </a:cxn>
                  <a:cxn ang="0">
                    <a:pos x="45" y="0"/>
                  </a:cxn>
                  <a:cxn ang="0">
                    <a:pos x="35" y="0"/>
                  </a:cxn>
                </a:cxnLst>
                <a:rect l="0" t="0" r="r" b="b"/>
                <a:pathLst>
                  <a:path w="72" h="72">
                    <a:moveTo>
                      <a:pt x="35" y="0"/>
                    </a:moveTo>
                    <a:lnTo>
                      <a:pt x="35" y="0"/>
                    </a:lnTo>
                    <a:lnTo>
                      <a:pt x="24" y="2"/>
                    </a:lnTo>
                    <a:lnTo>
                      <a:pt x="14" y="6"/>
                    </a:lnTo>
                    <a:lnTo>
                      <a:pt x="6" y="16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33"/>
                    </a:lnTo>
                    <a:lnTo>
                      <a:pt x="0" y="41"/>
                    </a:lnTo>
                    <a:lnTo>
                      <a:pt x="2" y="49"/>
                    </a:lnTo>
                    <a:lnTo>
                      <a:pt x="4" y="55"/>
                    </a:lnTo>
                    <a:lnTo>
                      <a:pt x="8" y="60"/>
                    </a:lnTo>
                    <a:lnTo>
                      <a:pt x="14" y="65"/>
                    </a:lnTo>
                    <a:lnTo>
                      <a:pt x="20" y="68"/>
                    </a:lnTo>
                    <a:lnTo>
                      <a:pt x="26" y="72"/>
                    </a:lnTo>
                    <a:lnTo>
                      <a:pt x="26" y="72"/>
                    </a:lnTo>
                    <a:lnTo>
                      <a:pt x="35" y="72"/>
                    </a:lnTo>
                    <a:lnTo>
                      <a:pt x="35" y="72"/>
                    </a:lnTo>
                    <a:lnTo>
                      <a:pt x="47" y="70"/>
                    </a:lnTo>
                    <a:lnTo>
                      <a:pt x="59" y="65"/>
                    </a:lnTo>
                    <a:lnTo>
                      <a:pt x="66" y="57"/>
                    </a:lnTo>
                    <a:lnTo>
                      <a:pt x="70" y="45"/>
                    </a:lnTo>
                    <a:lnTo>
                      <a:pt x="70" y="45"/>
                    </a:lnTo>
                    <a:lnTo>
                      <a:pt x="72" y="39"/>
                    </a:lnTo>
                    <a:lnTo>
                      <a:pt x="72" y="31"/>
                    </a:lnTo>
                    <a:lnTo>
                      <a:pt x="70" y="24"/>
                    </a:lnTo>
                    <a:lnTo>
                      <a:pt x="68" y="18"/>
                    </a:lnTo>
                    <a:lnTo>
                      <a:pt x="63" y="12"/>
                    </a:lnTo>
                    <a:lnTo>
                      <a:pt x="59" y="8"/>
                    </a:lnTo>
                    <a:lnTo>
                      <a:pt x="53" y="4"/>
                    </a:lnTo>
                    <a:lnTo>
                      <a:pt x="45" y="0"/>
                    </a:lnTo>
                    <a:lnTo>
                      <a:pt x="45" y="0"/>
                    </a:lnTo>
                    <a:lnTo>
                      <a:pt x="3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57" name="Freeform 72"/>
              <p:cNvSpPr>
                <a:spLocks/>
              </p:cNvSpPr>
              <p:nvPr userDrawn="1"/>
            </p:nvSpPr>
            <p:spPr bwMode="auto">
              <a:xfrm>
                <a:off x="2912" y="2297"/>
                <a:ext cx="72" cy="72"/>
              </a:xfrm>
              <a:custGeom>
                <a:avLst/>
                <a:gdLst/>
                <a:ahLst/>
                <a:cxnLst>
                  <a:cxn ang="0">
                    <a:pos x="35" y="0"/>
                  </a:cxn>
                  <a:cxn ang="0">
                    <a:pos x="35" y="0"/>
                  </a:cxn>
                  <a:cxn ang="0">
                    <a:pos x="24" y="2"/>
                  </a:cxn>
                  <a:cxn ang="0">
                    <a:pos x="14" y="6"/>
                  </a:cxn>
                  <a:cxn ang="0">
                    <a:pos x="6" y="16"/>
                  </a:cxn>
                  <a:cxn ang="0">
                    <a:pos x="0" y="27"/>
                  </a:cxn>
                  <a:cxn ang="0">
                    <a:pos x="0" y="27"/>
                  </a:cxn>
                  <a:cxn ang="0">
                    <a:pos x="0" y="33"/>
                  </a:cxn>
                  <a:cxn ang="0">
                    <a:pos x="0" y="41"/>
                  </a:cxn>
                  <a:cxn ang="0">
                    <a:pos x="2" y="49"/>
                  </a:cxn>
                  <a:cxn ang="0">
                    <a:pos x="4" y="55"/>
                  </a:cxn>
                  <a:cxn ang="0">
                    <a:pos x="8" y="60"/>
                  </a:cxn>
                  <a:cxn ang="0">
                    <a:pos x="14" y="65"/>
                  </a:cxn>
                  <a:cxn ang="0">
                    <a:pos x="20" y="68"/>
                  </a:cxn>
                  <a:cxn ang="0">
                    <a:pos x="26" y="72"/>
                  </a:cxn>
                  <a:cxn ang="0">
                    <a:pos x="26" y="72"/>
                  </a:cxn>
                  <a:cxn ang="0">
                    <a:pos x="35" y="72"/>
                  </a:cxn>
                  <a:cxn ang="0">
                    <a:pos x="35" y="72"/>
                  </a:cxn>
                  <a:cxn ang="0">
                    <a:pos x="47" y="70"/>
                  </a:cxn>
                  <a:cxn ang="0">
                    <a:pos x="59" y="65"/>
                  </a:cxn>
                  <a:cxn ang="0">
                    <a:pos x="66" y="57"/>
                  </a:cxn>
                  <a:cxn ang="0">
                    <a:pos x="70" y="45"/>
                  </a:cxn>
                  <a:cxn ang="0">
                    <a:pos x="70" y="45"/>
                  </a:cxn>
                  <a:cxn ang="0">
                    <a:pos x="72" y="39"/>
                  </a:cxn>
                  <a:cxn ang="0">
                    <a:pos x="72" y="31"/>
                  </a:cxn>
                  <a:cxn ang="0">
                    <a:pos x="70" y="24"/>
                  </a:cxn>
                  <a:cxn ang="0">
                    <a:pos x="68" y="18"/>
                  </a:cxn>
                  <a:cxn ang="0">
                    <a:pos x="63" y="12"/>
                  </a:cxn>
                  <a:cxn ang="0">
                    <a:pos x="59" y="8"/>
                  </a:cxn>
                  <a:cxn ang="0">
                    <a:pos x="53" y="4"/>
                  </a:cxn>
                  <a:cxn ang="0">
                    <a:pos x="45" y="0"/>
                  </a:cxn>
                  <a:cxn ang="0">
                    <a:pos x="45" y="0"/>
                  </a:cxn>
                  <a:cxn ang="0">
                    <a:pos x="35" y="0"/>
                  </a:cxn>
                </a:cxnLst>
                <a:rect l="0" t="0" r="r" b="b"/>
                <a:pathLst>
                  <a:path w="72" h="72">
                    <a:moveTo>
                      <a:pt x="35" y="0"/>
                    </a:moveTo>
                    <a:lnTo>
                      <a:pt x="35" y="0"/>
                    </a:lnTo>
                    <a:lnTo>
                      <a:pt x="24" y="2"/>
                    </a:lnTo>
                    <a:lnTo>
                      <a:pt x="14" y="6"/>
                    </a:lnTo>
                    <a:lnTo>
                      <a:pt x="6" y="16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33"/>
                    </a:lnTo>
                    <a:lnTo>
                      <a:pt x="0" y="41"/>
                    </a:lnTo>
                    <a:lnTo>
                      <a:pt x="2" y="49"/>
                    </a:lnTo>
                    <a:lnTo>
                      <a:pt x="4" y="55"/>
                    </a:lnTo>
                    <a:lnTo>
                      <a:pt x="8" y="60"/>
                    </a:lnTo>
                    <a:lnTo>
                      <a:pt x="14" y="65"/>
                    </a:lnTo>
                    <a:lnTo>
                      <a:pt x="20" y="68"/>
                    </a:lnTo>
                    <a:lnTo>
                      <a:pt x="26" y="72"/>
                    </a:lnTo>
                    <a:lnTo>
                      <a:pt x="26" y="72"/>
                    </a:lnTo>
                    <a:lnTo>
                      <a:pt x="35" y="72"/>
                    </a:lnTo>
                    <a:lnTo>
                      <a:pt x="35" y="72"/>
                    </a:lnTo>
                    <a:lnTo>
                      <a:pt x="47" y="70"/>
                    </a:lnTo>
                    <a:lnTo>
                      <a:pt x="59" y="65"/>
                    </a:lnTo>
                    <a:lnTo>
                      <a:pt x="66" y="57"/>
                    </a:lnTo>
                    <a:lnTo>
                      <a:pt x="70" y="45"/>
                    </a:lnTo>
                    <a:lnTo>
                      <a:pt x="70" y="45"/>
                    </a:lnTo>
                    <a:lnTo>
                      <a:pt x="72" y="39"/>
                    </a:lnTo>
                    <a:lnTo>
                      <a:pt x="72" y="31"/>
                    </a:lnTo>
                    <a:lnTo>
                      <a:pt x="70" y="24"/>
                    </a:lnTo>
                    <a:lnTo>
                      <a:pt x="68" y="18"/>
                    </a:lnTo>
                    <a:lnTo>
                      <a:pt x="63" y="12"/>
                    </a:lnTo>
                    <a:lnTo>
                      <a:pt x="59" y="8"/>
                    </a:lnTo>
                    <a:lnTo>
                      <a:pt x="53" y="4"/>
                    </a:lnTo>
                    <a:lnTo>
                      <a:pt x="45" y="0"/>
                    </a:lnTo>
                    <a:lnTo>
                      <a:pt x="45" y="0"/>
                    </a:lnTo>
                    <a:lnTo>
                      <a:pt x="3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58" name="Freeform 73"/>
              <p:cNvSpPr>
                <a:spLocks/>
              </p:cNvSpPr>
              <p:nvPr userDrawn="1"/>
            </p:nvSpPr>
            <p:spPr bwMode="auto">
              <a:xfrm>
                <a:off x="2738" y="2381"/>
                <a:ext cx="66" cy="66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33" y="0"/>
                  </a:cxn>
                  <a:cxn ang="0">
                    <a:pos x="21" y="2"/>
                  </a:cxn>
                  <a:cxn ang="0">
                    <a:pos x="12" y="8"/>
                  </a:cxn>
                  <a:cxn ang="0">
                    <a:pos x="6" y="16"/>
                  </a:cxn>
                  <a:cxn ang="0">
                    <a:pos x="0" y="26"/>
                  </a:cxn>
                  <a:cxn ang="0">
                    <a:pos x="0" y="26"/>
                  </a:cxn>
                  <a:cxn ang="0">
                    <a:pos x="0" y="31"/>
                  </a:cxn>
                  <a:cxn ang="0">
                    <a:pos x="0" y="39"/>
                  </a:cxn>
                  <a:cxn ang="0">
                    <a:pos x="2" y="45"/>
                  </a:cxn>
                  <a:cxn ang="0">
                    <a:pos x="4" y="51"/>
                  </a:cxn>
                  <a:cxn ang="0">
                    <a:pos x="8" y="54"/>
                  </a:cxn>
                  <a:cxn ang="0">
                    <a:pos x="12" y="60"/>
                  </a:cxn>
                  <a:cxn ang="0">
                    <a:pos x="18" y="62"/>
                  </a:cxn>
                  <a:cxn ang="0">
                    <a:pos x="24" y="66"/>
                  </a:cxn>
                  <a:cxn ang="0">
                    <a:pos x="24" y="66"/>
                  </a:cxn>
                  <a:cxn ang="0">
                    <a:pos x="33" y="66"/>
                  </a:cxn>
                  <a:cxn ang="0">
                    <a:pos x="33" y="66"/>
                  </a:cxn>
                  <a:cxn ang="0">
                    <a:pos x="43" y="64"/>
                  </a:cxn>
                  <a:cxn ang="0">
                    <a:pos x="53" y="60"/>
                  </a:cxn>
                  <a:cxn ang="0">
                    <a:pos x="60" y="53"/>
                  </a:cxn>
                  <a:cxn ang="0">
                    <a:pos x="64" y="43"/>
                  </a:cxn>
                  <a:cxn ang="0">
                    <a:pos x="64" y="43"/>
                  </a:cxn>
                  <a:cxn ang="0">
                    <a:pos x="66" y="35"/>
                  </a:cxn>
                  <a:cxn ang="0">
                    <a:pos x="64" y="29"/>
                  </a:cxn>
                  <a:cxn ang="0">
                    <a:pos x="64" y="24"/>
                  </a:cxn>
                  <a:cxn ang="0">
                    <a:pos x="60" y="18"/>
                  </a:cxn>
                  <a:cxn ang="0">
                    <a:pos x="57" y="12"/>
                  </a:cxn>
                  <a:cxn ang="0">
                    <a:pos x="53" y="8"/>
                  </a:cxn>
                  <a:cxn ang="0">
                    <a:pos x="47" y="4"/>
                  </a:cxn>
                  <a:cxn ang="0">
                    <a:pos x="41" y="2"/>
                  </a:cxn>
                  <a:cxn ang="0">
                    <a:pos x="41" y="2"/>
                  </a:cxn>
                  <a:cxn ang="0">
                    <a:pos x="33" y="0"/>
                  </a:cxn>
                </a:cxnLst>
                <a:rect l="0" t="0" r="r" b="b"/>
                <a:pathLst>
                  <a:path w="66" h="66">
                    <a:moveTo>
                      <a:pt x="33" y="0"/>
                    </a:moveTo>
                    <a:lnTo>
                      <a:pt x="33" y="0"/>
                    </a:lnTo>
                    <a:lnTo>
                      <a:pt x="21" y="2"/>
                    </a:lnTo>
                    <a:lnTo>
                      <a:pt x="12" y="8"/>
                    </a:lnTo>
                    <a:lnTo>
                      <a:pt x="6" y="1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31"/>
                    </a:lnTo>
                    <a:lnTo>
                      <a:pt x="0" y="39"/>
                    </a:lnTo>
                    <a:lnTo>
                      <a:pt x="2" y="45"/>
                    </a:lnTo>
                    <a:lnTo>
                      <a:pt x="4" y="51"/>
                    </a:lnTo>
                    <a:lnTo>
                      <a:pt x="8" y="54"/>
                    </a:lnTo>
                    <a:lnTo>
                      <a:pt x="12" y="60"/>
                    </a:lnTo>
                    <a:lnTo>
                      <a:pt x="18" y="62"/>
                    </a:lnTo>
                    <a:lnTo>
                      <a:pt x="24" y="66"/>
                    </a:lnTo>
                    <a:lnTo>
                      <a:pt x="24" y="66"/>
                    </a:lnTo>
                    <a:lnTo>
                      <a:pt x="33" y="66"/>
                    </a:lnTo>
                    <a:lnTo>
                      <a:pt x="33" y="66"/>
                    </a:lnTo>
                    <a:lnTo>
                      <a:pt x="43" y="64"/>
                    </a:lnTo>
                    <a:lnTo>
                      <a:pt x="53" y="60"/>
                    </a:lnTo>
                    <a:lnTo>
                      <a:pt x="60" y="53"/>
                    </a:lnTo>
                    <a:lnTo>
                      <a:pt x="64" y="43"/>
                    </a:lnTo>
                    <a:lnTo>
                      <a:pt x="64" y="43"/>
                    </a:lnTo>
                    <a:lnTo>
                      <a:pt x="66" y="35"/>
                    </a:lnTo>
                    <a:lnTo>
                      <a:pt x="64" y="29"/>
                    </a:lnTo>
                    <a:lnTo>
                      <a:pt x="64" y="24"/>
                    </a:lnTo>
                    <a:lnTo>
                      <a:pt x="60" y="18"/>
                    </a:lnTo>
                    <a:lnTo>
                      <a:pt x="57" y="12"/>
                    </a:lnTo>
                    <a:lnTo>
                      <a:pt x="53" y="8"/>
                    </a:lnTo>
                    <a:lnTo>
                      <a:pt x="47" y="4"/>
                    </a:lnTo>
                    <a:lnTo>
                      <a:pt x="41" y="2"/>
                    </a:lnTo>
                    <a:lnTo>
                      <a:pt x="41" y="2"/>
                    </a:lnTo>
                    <a:lnTo>
                      <a:pt x="3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59" name="Freeform 74"/>
              <p:cNvSpPr>
                <a:spLocks/>
              </p:cNvSpPr>
              <p:nvPr userDrawn="1"/>
            </p:nvSpPr>
            <p:spPr bwMode="auto">
              <a:xfrm>
                <a:off x="2738" y="2381"/>
                <a:ext cx="66" cy="66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33" y="0"/>
                  </a:cxn>
                  <a:cxn ang="0">
                    <a:pos x="21" y="2"/>
                  </a:cxn>
                  <a:cxn ang="0">
                    <a:pos x="12" y="8"/>
                  </a:cxn>
                  <a:cxn ang="0">
                    <a:pos x="6" y="16"/>
                  </a:cxn>
                  <a:cxn ang="0">
                    <a:pos x="0" y="26"/>
                  </a:cxn>
                  <a:cxn ang="0">
                    <a:pos x="0" y="26"/>
                  </a:cxn>
                  <a:cxn ang="0">
                    <a:pos x="0" y="31"/>
                  </a:cxn>
                  <a:cxn ang="0">
                    <a:pos x="0" y="39"/>
                  </a:cxn>
                  <a:cxn ang="0">
                    <a:pos x="2" y="45"/>
                  </a:cxn>
                  <a:cxn ang="0">
                    <a:pos x="4" y="51"/>
                  </a:cxn>
                  <a:cxn ang="0">
                    <a:pos x="8" y="54"/>
                  </a:cxn>
                  <a:cxn ang="0">
                    <a:pos x="12" y="60"/>
                  </a:cxn>
                  <a:cxn ang="0">
                    <a:pos x="18" y="62"/>
                  </a:cxn>
                  <a:cxn ang="0">
                    <a:pos x="24" y="66"/>
                  </a:cxn>
                  <a:cxn ang="0">
                    <a:pos x="24" y="66"/>
                  </a:cxn>
                  <a:cxn ang="0">
                    <a:pos x="33" y="66"/>
                  </a:cxn>
                  <a:cxn ang="0">
                    <a:pos x="33" y="66"/>
                  </a:cxn>
                  <a:cxn ang="0">
                    <a:pos x="43" y="64"/>
                  </a:cxn>
                  <a:cxn ang="0">
                    <a:pos x="53" y="60"/>
                  </a:cxn>
                  <a:cxn ang="0">
                    <a:pos x="60" y="53"/>
                  </a:cxn>
                  <a:cxn ang="0">
                    <a:pos x="64" y="43"/>
                  </a:cxn>
                  <a:cxn ang="0">
                    <a:pos x="64" y="43"/>
                  </a:cxn>
                  <a:cxn ang="0">
                    <a:pos x="66" y="35"/>
                  </a:cxn>
                  <a:cxn ang="0">
                    <a:pos x="64" y="29"/>
                  </a:cxn>
                  <a:cxn ang="0">
                    <a:pos x="64" y="24"/>
                  </a:cxn>
                  <a:cxn ang="0">
                    <a:pos x="60" y="18"/>
                  </a:cxn>
                  <a:cxn ang="0">
                    <a:pos x="57" y="12"/>
                  </a:cxn>
                  <a:cxn ang="0">
                    <a:pos x="53" y="8"/>
                  </a:cxn>
                  <a:cxn ang="0">
                    <a:pos x="47" y="4"/>
                  </a:cxn>
                  <a:cxn ang="0">
                    <a:pos x="41" y="2"/>
                  </a:cxn>
                  <a:cxn ang="0">
                    <a:pos x="41" y="2"/>
                  </a:cxn>
                  <a:cxn ang="0">
                    <a:pos x="33" y="0"/>
                  </a:cxn>
                </a:cxnLst>
                <a:rect l="0" t="0" r="r" b="b"/>
                <a:pathLst>
                  <a:path w="66" h="66">
                    <a:moveTo>
                      <a:pt x="33" y="0"/>
                    </a:moveTo>
                    <a:lnTo>
                      <a:pt x="33" y="0"/>
                    </a:lnTo>
                    <a:lnTo>
                      <a:pt x="21" y="2"/>
                    </a:lnTo>
                    <a:lnTo>
                      <a:pt x="12" y="8"/>
                    </a:lnTo>
                    <a:lnTo>
                      <a:pt x="6" y="1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31"/>
                    </a:lnTo>
                    <a:lnTo>
                      <a:pt x="0" y="39"/>
                    </a:lnTo>
                    <a:lnTo>
                      <a:pt x="2" y="45"/>
                    </a:lnTo>
                    <a:lnTo>
                      <a:pt x="4" y="51"/>
                    </a:lnTo>
                    <a:lnTo>
                      <a:pt x="8" y="54"/>
                    </a:lnTo>
                    <a:lnTo>
                      <a:pt x="12" y="60"/>
                    </a:lnTo>
                    <a:lnTo>
                      <a:pt x="18" y="62"/>
                    </a:lnTo>
                    <a:lnTo>
                      <a:pt x="24" y="66"/>
                    </a:lnTo>
                    <a:lnTo>
                      <a:pt x="24" y="66"/>
                    </a:lnTo>
                    <a:lnTo>
                      <a:pt x="33" y="66"/>
                    </a:lnTo>
                    <a:lnTo>
                      <a:pt x="33" y="66"/>
                    </a:lnTo>
                    <a:lnTo>
                      <a:pt x="43" y="64"/>
                    </a:lnTo>
                    <a:lnTo>
                      <a:pt x="53" y="60"/>
                    </a:lnTo>
                    <a:lnTo>
                      <a:pt x="60" y="53"/>
                    </a:lnTo>
                    <a:lnTo>
                      <a:pt x="64" y="43"/>
                    </a:lnTo>
                    <a:lnTo>
                      <a:pt x="64" y="43"/>
                    </a:lnTo>
                    <a:lnTo>
                      <a:pt x="66" y="35"/>
                    </a:lnTo>
                    <a:lnTo>
                      <a:pt x="64" y="29"/>
                    </a:lnTo>
                    <a:lnTo>
                      <a:pt x="64" y="24"/>
                    </a:lnTo>
                    <a:lnTo>
                      <a:pt x="60" y="18"/>
                    </a:lnTo>
                    <a:lnTo>
                      <a:pt x="57" y="12"/>
                    </a:lnTo>
                    <a:lnTo>
                      <a:pt x="53" y="8"/>
                    </a:lnTo>
                    <a:lnTo>
                      <a:pt x="47" y="4"/>
                    </a:lnTo>
                    <a:lnTo>
                      <a:pt x="41" y="2"/>
                    </a:lnTo>
                    <a:lnTo>
                      <a:pt x="41" y="2"/>
                    </a:lnTo>
                    <a:lnTo>
                      <a:pt x="3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60" name="Freeform 75"/>
              <p:cNvSpPr>
                <a:spLocks/>
              </p:cNvSpPr>
              <p:nvPr userDrawn="1"/>
            </p:nvSpPr>
            <p:spPr bwMode="auto">
              <a:xfrm>
                <a:off x="2582" y="2495"/>
                <a:ext cx="60" cy="60"/>
              </a:xfrm>
              <a:custGeom>
                <a:avLst/>
                <a:gdLst/>
                <a:ahLst/>
                <a:cxnLst>
                  <a:cxn ang="0">
                    <a:pos x="31" y="0"/>
                  </a:cxn>
                  <a:cxn ang="0">
                    <a:pos x="31" y="0"/>
                  </a:cxn>
                  <a:cxn ang="0">
                    <a:pos x="21" y="0"/>
                  </a:cxn>
                  <a:cxn ang="0">
                    <a:pos x="12" y="6"/>
                  </a:cxn>
                  <a:cxn ang="0">
                    <a:pos x="6" y="12"/>
                  </a:cxn>
                  <a:cxn ang="0">
                    <a:pos x="2" y="22"/>
                  </a:cxn>
                  <a:cxn ang="0">
                    <a:pos x="2" y="22"/>
                  </a:cxn>
                  <a:cxn ang="0">
                    <a:pos x="0" y="28"/>
                  </a:cxn>
                  <a:cxn ang="0">
                    <a:pos x="0" y="34"/>
                  </a:cxn>
                  <a:cxn ang="0">
                    <a:pos x="4" y="44"/>
                  </a:cxn>
                  <a:cxn ang="0">
                    <a:pos x="12" y="54"/>
                  </a:cxn>
                  <a:cxn ang="0">
                    <a:pos x="18" y="56"/>
                  </a:cxn>
                  <a:cxn ang="0">
                    <a:pos x="23" y="58"/>
                  </a:cxn>
                  <a:cxn ang="0">
                    <a:pos x="23" y="58"/>
                  </a:cxn>
                  <a:cxn ang="0">
                    <a:pos x="31" y="60"/>
                  </a:cxn>
                  <a:cxn ang="0">
                    <a:pos x="31" y="60"/>
                  </a:cxn>
                  <a:cxn ang="0">
                    <a:pos x="39" y="58"/>
                  </a:cxn>
                  <a:cxn ang="0">
                    <a:pos x="49" y="54"/>
                  </a:cxn>
                  <a:cxn ang="0">
                    <a:pos x="54" y="46"/>
                  </a:cxn>
                  <a:cxn ang="0">
                    <a:pos x="58" y="38"/>
                  </a:cxn>
                  <a:cxn ang="0">
                    <a:pos x="58" y="38"/>
                  </a:cxn>
                  <a:cxn ang="0">
                    <a:pos x="60" y="32"/>
                  </a:cxn>
                  <a:cxn ang="0">
                    <a:pos x="60" y="26"/>
                  </a:cxn>
                  <a:cxn ang="0">
                    <a:pos x="56" y="14"/>
                  </a:cxn>
                  <a:cxn ang="0">
                    <a:pos x="49" y="6"/>
                  </a:cxn>
                  <a:cxn ang="0">
                    <a:pos x="43" y="2"/>
                  </a:cxn>
                  <a:cxn ang="0">
                    <a:pos x="37" y="0"/>
                  </a:cxn>
                  <a:cxn ang="0">
                    <a:pos x="37" y="0"/>
                  </a:cxn>
                  <a:cxn ang="0">
                    <a:pos x="31" y="0"/>
                  </a:cxn>
                </a:cxnLst>
                <a:rect l="0" t="0" r="r" b="b"/>
                <a:pathLst>
                  <a:path w="60" h="60">
                    <a:moveTo>
                      <a:pt x="31" y="0"/>
                    </a:moveTo>
                    <a:lnTo>
                      <a:pt x="31" y="0"/>
                    </a:lnTo>
                    <a:lnTo>
                      <a:pt x="21" y="0"/>
                    </a:lnTo>
                    <a:lnTo>
                      <a:pt x="12" y="6"/>
                    </a:lnTo>
                    <a:lnTo>
                      <a:pt x="6" y="1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0" y="28"/>
                    </a:lnTo>
                    <a:lnTo>
                      <a:pt x="0" y="34"/>
                    </a:lnTo>
                    <a:lnTo>
                      <a:pt x="4" y="44"/>
                    </a:lnTo>
                    <a:lnTo>
                      <a:pt x="12" y="54"/>
                    </a:lnTo>
                    <a:lnTo>
                      <a:pt x="18" y="56"/>
                    </a:lnTo>
                    <a:lnTo>
                      <a:pt x="23" y="58"/>
                    </a:lnTo>
                    <a:lnTo>
                      <a:pt x="23" y="58"/>
                    </a:lnTo>
                    <a:lnTo>
                      <a:pt x="31" y="60"/>
                    </a:lnTo>
                    <a:lnTo>
                      <a:pt x="31" y="60"/>
                    </a:lnTo>
                    <a:lnTo>
                      <a:pt x="39" y="58"/>
                    </a:lnTo>
                    <a:lnTo>
                      <a:pt x="49" y="54"/>
                    </a:lnTo>
                    <a:lnTo>
                      <a:pt x="54" y="46"/>
                    </a:lnTo>
                    <a:lnTo>
                      <a:pt x="58" y="38"/>
                    </a:lnTo>
                    <a:lnTo>
                      <a:pt x="58" y="38"/>
                    </a:lnTo>
                    <a:lnTo>
                      <a:pt x="60" y="32"/>
                    </a:lnTo>
                    <a:lnTo>
                      <a:pt x="60" y="26"/>
                    </a:lnTo>
                    <a:lnTo>
                      <a:pt x="56" y="14"/>
                    </a:lnTo>
                    <a:lnTo>
                      <a:pt x="49" y="6"/>
                    </a:lnTo>
                    <a:lnTo>
                      <a:pt x="43" y="2"/>
                    </a:lnTo>
                    <a:lnTo>
                      <a:pt x="37" y="0"/>
                    </a:lnTo>
                    <a:lnTo>
                      <a:pt x="37" y="0"/>
                    </a:lnTo>
                    <a:lnTo>
                      <a:pt x="3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61" name="Freeform 76"/>
              <p:cNvSpPr>
                <a:spLocks/>
              </p:cNvSpPr>
              <p:nvPr userDrawn="1"/>
            </p:nvSpPr>
            <p:spPr bwMode="auto">
              <a:xfrm>
                <a:off x="2582" y="2495"/>
                <a:ext cx="60" cy="60"/>
              </a:xfrm>
              <a:custGeom>
                <a:avLst/>
                <a:gdLst/>
                <a:ahLst/>
                <a:cxnLst>
                  <a:cxn ang="0">
                    <a:pos x="31" y="0"/>
                  </a:cxn>
                  <a:cxn ang="0">
                    <a:pos x="31" y="0"/>
                  </a:cxn>
                  <a:cxn ang="0">
                    <a:pos x="21" y="0"/>
                  </a:cxn>
                  <a:cxn ang="0">
                    <a:pos x="12" y="6"/>
                  </a:cxn>
                  <a:cxn ang="0">
                    <a:pos x="6" y="12"/>
                  </a:cxn>
                  <a:cxn ang="0">
                    <a:pos x="2" y="22"/>
                  </a:cxn>
                  <a:cxn ang="0">
                    <a:pos x="2" y="22"/>
                  </a:cxn>
                  <a:cxn ang="0">
                    <a:pos x="0" y="28"/>
                  </a:cxn>
                  <a:cxn ang="0">
                    <a:pos x="0" y="34"/>
                  </a:cxn>
                  <a:cxn ang="0">
                    <a:pos x="4" y="44"/>
                  </a:cxn>
                  <a:cxn ang="0">
                    <a:pos x="12" y="54"/>
                  </a:cxn>
                  <a:cxn ang="0">
                    <a:pos x="18" y="56"/>
                  </a:cxn>
                  <a:cxn ang="0">
                    <a:pos x="23" y="58"/>
                  </a:cxn>
                  <a:cxn ang="0">
                    <a:pos x="23" y="58"/>
                  </a:cxn>
                  <a:cxn ang="0">
                    <a:pos x="31" y="60"/>
                  </a:cxn>
                  <a:cxn ang="0">
                    <a:pos x="31" y="60"/>
                  </a:cxn>
                  <a:cxn ang="0">
                    <a:pos x="39" y="58"/>
                  </a:cxn>
                  <a:cxn ang="0">
                    <a:pos x="49" y="54"/>
                  </a:cxn>
                  <a:cxn ang="0">
                    <a:pos x="54" y="46"/>
                  </a:cxn>
                  <a:cxn ang="0">
                    <a:pos x="58" y="38"/>
                  </a:cxn>
                  <a:cxn ang="0">
                    <a:pos x="58" y="38"/>
                  </a:cxn>
                  <a:cxn ang="0">
                    <a:pos x="60" y="32"/>
                  </a:cxn>
                  <a:cxn ang="0">
                    <a:pos x="60" y="26"/>
                  </a:cxn>
                  <a:cxn ang="0">
                    <a:pos x="56" y="14"/>
                  </a:cxn>
                  <a:cxn ang="0">
                    <a:pos x="49" y="6"/>
                  </a:cxn>
                  <a:cxn ang="0">
                    <a:pos x="43" y="2"/>
                  </a:cxn>
                  <a:cxn ang="0">
                    <a:pos x="37" y="0"/>
                  </a:cxn>
                  <a:cxn ang="0">
                    <a:pos x="37" y="0"/>
                  </a:cxn>
                  <a:cxn ang="0">
                    <a:pos x="31" y="0"/>
                  </a:cxn>
                </a:cxnLst>
                <a:rect l="0" t="0" r="r" b="b"/>
                <a:pathLst>
                  <a:path w="60" h="60">
                    <a:moveTo>
                      <a:pt x="31" y="0"/>
                    </a:moveTo>
                    <a:lnTo>
                      <a:pt x="31" y="0"/>
                    </a:lnTo>
                    <a:lnTo>
                      <a:pt x="21" y="0"/>
                    </a:lnTo>
                    <a:lnTo>
                      <a:pt x="12" y="6"/>
                    </a:lnTo>
                    <a:lnTo>
                      <a:pt x="6" y="1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0" y="28"/>
                    </a:lnTo>
                    <a:lnTo>
                      <a:pt x="0" y="34"/>
                    </a:lnTo>
                    <a:lnTo>
                      <a:pt x="4" y="44"/>
                    </a:lnTo>
                    <a:lnTo>
                      <a:pt x="12" y="54"/>
                    </a:lnTo>
                    <a:lnTo>
                      <a:pt x="18" y="56"/>
                    </a:lnTo>
                    <a:lnTo>
                      <a:pt x="23" y="58"/>
                    </a:lnTo>
                    <a:lnTo>
                      <a:pt x="23" y="58"/>
                    </a:lnTo>
                    <a:lnTo>
                      <a:pt x="31" y="60"/>
                    </a:lnTo>
                    <a:lnTo>
                      <a:pt x="31" y="60"/>
                    </a:lnTo>
                    <a:lnTo>
                      <a:pt x="39" y="58"/>
                    </a:lnTo>
                    <a:lnTo>
                      <a:pt x="49" y="54"/>
                    </a:lnTo>
                    <a:lnTo>
                      <a:pt x="54" y="46"/>
                    </a:lnTo>
                    <a:lnTo>
                      <a:pt x="58" y="38"/>
                    </a:lnTo>
                    <a:lnTo>
                      <a:pt x="58" y="38"/>
                    </a:lnTo>
                    <a:lnTo>
                      <a:pt x="60" y="32"/>
                    </a:lnTo>
                    <a:lnTo>
                      <a:pt x="60" y="26"/>
                    </a:lnTo>
                    <a:lnTo>
                      <a:pt x="56" y="14"/>
                    </a:lnTo>
                    <a:lnTo>
                      <a:pt x="49" y="6"/>
                    </a:lnTo>
                    <a:lnTo>
                      <a:pt x="43" y="2"/>
                    </a:lnTo>
                    <a:lnTo>
                      <a:pt x="37" y="0"/>
                    </a:lnTo>
                    <a:lnTo>
                      <a:pt x="37" y="0"/>
                    </a:lnTo>
                    <a:lnTo>
                      <a:pt x="3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62" name="Freeform 77"/>
              <p:cNvSpPr>
                <a:spLocks/>
              </p:cNvSpPr>
              <p:nvPr userDrawn="1"/>
            </p:nvSpPr>
            <p:spPr bwMode="auto">
              <a:xfrm>
                <a:off x="2450" y="2633"/>
                <a:ext cx="54" cy="54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4" y="12"/>
                  </a:cxn>
                  <a:cxn ang="0">
                    <a:pos x="0" y="21"/>
                  </a:cxn>
                  <a:cxn ang="0">
                    <a:pos x="0" y="21"/>
                  </a:cxn>
                  <a:cxn ang="0">
                    <a:pos x="0" y="31"/>
                  </a:cxn>
                  <a:cxn ang="0">
                    <a:pos x="2" y="41"/>
                  </a:cxn>
                  <a:cxn ang="0">
                    <a:pos x="10" y="48"/>
                  </a:cxn>
                  <a:cxn ang="0">
                    <a:pos x="20" y="52"/>
                  </a:cxn>
                  <a:cxn ang="0">
                    <a:pos x="20" y="52"/>
                  </a:cxn>
                  <a:cxn ang="0">
                    <a:pos x="26" y="54"/>
                  </a:cxn>
                  <a:cxn ang="0">
                    <a:pos x="26" y="54"/>
                  </a:cxn>
                  <a:cxn ang="0">
                    <a:pos x="36" y="52"/>
                  </a:cxn>
                  <a:cxn ang="0">
                    <a:pos x="42" y="48"/>
                  </a:cxn>
                  <a:cxn ang="0">
                    <a:pos x="48" y="43"/>
                  </a:cxn>
                  <a:cxn ang="0">
                    <a:pos x="52" y="35"/>
                  </a:cxn>
                  <a:cxn ang="0">
                    <a:pos x="52" y="35"/>
                  </a:cxn>
                  <a:cxn ang="0">
                    <a:pos x="54" y="23"/>
                  </a:cxn>
                  <a:cxn ang="0">
                    <a:pos x="50" y="14"/>
                  </a:cxn>
                  <a:cxn ang="0">
                    <a:pos x="44" y="6"/>
                  </a:cxn>
                  <a:cxn ang="0">
                    <a:pos x="34" y="2"/>
                  </a:cxn>
                  <a:cxn ang="0">
                    <a:pos x="34" y="2"/>
                  </a:cxn>
                  <a:cxn ang="0">
                    <a:pos x="26" y="0"/>
                  </a:cxn>
                </a:cxnLst>
                <a:rect l="0" t="0" r="r" b="b"/>
                <a:pathLst>
                  <a:path w="54" h="54">
                    <a:moveTo>
                      <a:pt x="26" y="0"/>
                    </a:moveTo>
                    <a:lnTo>
                      <a:pt x="26" y="0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4" y="12"/>
                    </a:lnTo>
                    <a:lnTo>
                      <a:pt x="0" y="21"/>
                    </a:lnTo>
                    <a:lnTo>
                      <a:pt x="0" y="21"/>
                    </a:lnTo>
                    <a:lnTo>
                      <a:pt x="0" y="31"/>
                    </a:lnTo>
                    <a:lnTo>
                      <a:pt x="2" y="41"/>
                    </a:lnTo>
                    <a:lnTo>
                      <a:pt x="10" y="48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36" y="52"/>
                    </a:lnTo>
                    <a:lnTo>
                      <a:pt x="42" y="48"/>
                    </a:lnTo>
                    <a:lnTo>
                      <a:pt x="48" y="43"/>
                    </a:lnTo>
                    <a:lnTo>
                      <a:pt x="52" y="35"/>
                    </a:lnTo>
                    <a:lnTo>
                      <a:pt x="52" y="35"/>
                    </a:lnTo>
                    <a:lnTo>
                      <a:pt x="54" y="23"/>
                    </a:lnTo>
                    <a:lnTo>
                      <a:pt x="50" y="14"/>
                    </a:lnTo>
                    <a:lnTo>
                      <a:pt x="44" y="6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63" name="Freeform 78"/>
              <p:cNvSpPr>
                <a:spLocks/>
              </p:cNvSpPr>
              <p:nvPr userDrawn="1"/>
            </p:nvSpPr>
            <p:spPr bwMode="auto">
              <a:xfrm>
                <a:off x="2450" y="2633"/>
                <a:ext cx="54" cy="54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4" y="12"/>
                  </a:cxn>
                  <a:cxn ang="0">
                    <a:pos x="0" y="21"/>
                  </a:cxn>
                  <a:cxn ang="0">
                    <a:pos x="0" y="21"/>
                  </a:cxn>
                  <a:cxn ang="0">
                    <a:pos x="0" y="31"/>
                  </a:cxn>
                  <a:cxn ang="0">
                    <a:pos x="2" y="41"/>
                  </a:cxn>
                  <a:cxn ang="0">
                    <a:pos x="10" y="48"/>
                  </a:cxn>
                  <a:cxn ang="0">
                    <a:pos x="20" y="52"/>
                  </a:cxn>
                  <a:cxn ang="0">
                    <a:pos x="20" y="52"/>
                  </a:cxn>
                  <a:cxn ang="0">
                    <a:pos x="26" y="54"/>
                  </a:cxn>
                  <a:cxn ang="0">
                    <a:pos x="26" y="54"/>
                  </a:cxn>
                  <a:cxn ang="0">
                    <a:pos x="36" y="52"/>
                  </a:cxn>
                  <a:cxn ang="0">
                    <a:pos x="42" y="48"/>
                  </a:cxn>
                  <a:cxn ang="0">
                    <a:pos x="48" y="43"/>
                  </a:cxn>
                  <a:cxn ang="0">
                    <a:pos x="52" y="35"/>
                  </a:cxn>
                  <a:cxn ang="0">
                    <a:pos x="52" y="35"/>
                  </a:cxn>
                  <a:cxn ang="0">
                    <a:pos x="54" y="23"/>
                  </a:cxn>
                  <a:cxn ang="0">
                    <a:pos x="50" y="14"/>
                  </a:cxn>
                  <a:cxn ang="0">
                    <a:pos x="44" y="6"/>
                  </a:cxn>
                  <a:cxn ang="0">
                    <a:pos x="34" y="2"/>
                  </a:cxn>
                  <a:cxn ang="0">
                    <a:pos x="34" y="2"/>
                  </a:cxn>
                  <a:cxn ang="0">
                    <a:pos x="26" y="0"/>
                  </a:cxn>
                </a:cxnLst>
                <a:rect l="0" t="0" r="r" b="b"/>
                <a:pathLst>
                  <a:path w="54" h="54">
                    <a:moveTo>
                      <a:pt x="26" y="0"/>
                    </a:moveTo>
                    <a:lnTo>
                      <a:pt x="26" y="0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4" y="12"/>
                    </a:lnTo>
                    <a:lnTo>
                      <a:pt x="0" y="21"/>
                    </a:lnTo>
                    <a:lnTo>
                      <a:pt x="0" y="21"/>
                    </a:lnTo>
                    <a:lnTo>
                      <a:pt x="0" y="31"/>
                    </a:lnTo>
                    <a:lnTo>
                      <a:pt x="2" y="41"/>
                    </a:lnTo>
                    <a:lnTo>
                      <a:pt x="10" y="48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36" y="52"/>
                    </a:lnTo>
                    <a:lnTo>
                      <a:pt x="42" y="48"/>
                    </a:lnTo>
                    <a:lnTo>
                      <a:pt x="48" y="43"/>
                    </a:lnTo>
                    <a:lnTo>
                      <a:pt x="52" y="35"/>
                    </a:lnTo>
                    <a:lnTo>
                      <a:pt x="52" y="35"/>
                    </a:lnTo>
                    <a:lnTo>
                      <a:pt x="54" y="23"/>
                    </a:lnTo>
                    <a:lnTo>
                      <a:pt x="50" y="14"/>
                    </a:lnTo>
                    <a:lnTo>
                      <a:pt x="44" y="6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64" name="Freeform 79"/>
              <p:cNvSpPr>
                <a:spLocks/>
              </p:cNvSpPr>
              <p:nvPr userDrawn="1"/>
            </p:nvSpPr>
            <p:spPr bwMode="auto">
              <a:xfrm>
                <a:off x="2342" y="2795"/>
                <a:ext cx="48" cy="48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6" y="2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0" y="27"/>
                  </a:cxn>
                  <a:cxn ang="0">
                    <a:pos x="2" y="35"/>
                  </a:cxn>
                  <a:cxn ang="0">
                    <a:pos x="8" y="42"/>
                  </a:cxn>
                  <a:cxn ang="0">
                    <a:pos x="18" y="46"/>
                  </a:cxn>
                  <a:cxn ang="0">
                    <a:pos x="18" y="46"/>
                  </a:cxn>
                  <a:cxn ang="0">
                    <a:pos x="24" y="48"/>
                  </a:cxn>
                  <a:cxn ang="0">
                    <a:pos x="24" y="48"/>
                  </a:cxn>
                  <a:cxn ang="0">
                    <a:pos x="32" y="46"/>
                  </a:cxn>
                  <a:cxn ang="0">
                    <a:pos x="38" y="42"/>
                  </a:cxn>
                  <a:cxn ang="0">
                    <a:pos x="44" y="37"/>
                  </a:cxn>
                  <a:cxn ang="0">
                    <a:pos x="48" y="29"/>
                  </a:cxn>
                  <a:cxn ang="0">
                    <a:pos x="48" y="29"/>
                  </a:cxn>
                  <a:cxn ang="0">
                    <a:pos x="48" y="21"/>
                  </a:cxn>
                  <a:cxn ang="0">
                    <a:pos x="44" y="12"/>
                  </a:cxn>
                  <a:cxn ang="0">
                    <a:pos x="38" y="6"/>
                  </a:cxn>
                  <a:cxn ang="0">
                    <a:pos x="30" y="0"/>
                  </a:cxn>
                  <a:cxn ang="0">
                    <a:pos x="30" y="0"/>
                  </a:cxn>
                  <a:cxn ang="0">
                    <a:pos x="24" y="0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lnTo>
                      <a:pt x="24" y="0"/>
                    </a:lnTo>
                    <a:lnTo>
                      <a:pt x="16" y="2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27"/>
                    </a:lnTo>
                    <a:lnTo>
                      <a:pt x="2" y="35"/>
                    </a:lnTo>
                    <a:lnTo>
                      <a:pt x="8" y="42"/>
                    </a:lnTo>
                    <a:lnTo>
                      <a:pt x="18" y="46"/>
                    </a:lnTo>
                    <a:lnTo>
                      <a:pt x="18" y="46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32" y="46"/>
                    </a:lnTo>
                    <a:lnTo>
                      <a:pt x="38" y="42"/>
                    </a:lnTo>
                    <a:lnTo>
                      <a:pt x="44" y="37"/>
                    </a:lnTo>
                    <a:lnTo>
                      <a:pt x="48" y="29"/>
                    </a:lnTo>
                    <a:lnTo>
                      <a:pt x="48" y="29"/>
                    </a:lnTo>
                    <a:lnTo>
                      <a:pt x="48" y="21"/>
                    </a:lnTo>
                    <a:lnTo>
                      <a:pt x="44" y="12"/>
                    </a:lnTo>
                    <a:lnTo>
                      <a:pt x="38" y="6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65" name="Freeform 80"/>
              <p:cNvSpPr>
                <a:spLocks/>
              </p:cNvSpPr>
              <p:nvPr userDrawn="1"/>
            </p:nvSpPr>
            <p:spPr bwMode="auto">
              <a:xfrm>
                <a:off x="2342" y="2795"/>
                <a:ext cx="48" cy="48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6" y="2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0" y="27"/>
                  </a:cxn>
                  <a:cxn ang="0">
                    <a:pos x="2" y="35"/>
                  </a:cxn>
                  <a:cxn ang="0">
                    <a:pos x="8" y="42"/>
                  </a:cxn>
                  <a:cxn ang="0">
                    <a:pos x="18" y="46"/>
                  </a:cxn>
                  <a:cxn ang="0">
                    <a:pos x="18" y="46"/>
                  </a:cxn>
                  <a:cxn ang="0">
                    <a:pos x="24" y="48"/>
                  </a:cxn>
                  <a:cxn ang="0">
                    <a:pos x="24" y="48"/>
                  </a:cxn>
                  <a:cxn ang="0">
                    <a:pos x="32" y="46"/>
                  </a:cxn>
                  <a:cxn ang="0">
                    <a:pos x="38" y="42"/>
                  </a:cxn>
                  <a:cxn ang="0">
                    <a:pos x="44" y="37"/>
                  </a:cxn>
                  <a:cxn ang="0">
                    <a:pos x="48" y="29"/>
                  </a:cxn>
                  <a:cxn ang="0">
                    <a:pos x="48" y="29"/>
                  </a:cxn>
                  <a:cxn ang="0">
                    <a:pos x="48" y="21"/>
                  </a:cxn>
                  <a:cxn ang="0">
                    <a:pos x="44" y="12"/>
                  </a:cxn>
                  <a:cxn ang="0">
                    <a:pos x="38" y="6"/>
                  </a:cxn>
                  <a:cxn ang="0">
                    <a:pos x="30" y="0"/>
                  </a:cxn>
                  <a:cxn ang="0">
                    <a:pos x="30" y="0"/>
                  </a:cxn>
                  <a:cxn ang="0">
                    <a:pos x="24" y="0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lnTo>
                      <a:pt x="24" y="0"/>
                    </a:lnTo>
                    <a:lnTo>
                      <a:pt x="16" y="2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27"/>
                    </a:lnTo>
                    <a:lnTo>
                      <a:pt x="2" y="35"/>
                    </a:lnTo>
                    <a:lnTo>
                      <a:pt x="8" y="42"/>
                    </a:lnTo>
                    <a:lnTo>
                      <a:pt x="18" y="46"/>
                    </a:lnTo>
                    <a:lnTo>
                      <a:pt x="18" y="46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32" y="46"/>
                    </a:lnTo>
                    <a:lnTo>
                      <a:pt x="38" y="42"/>
                    </a:lnTo>
                    <a:lnTo>
                      <a:pt x="44" y="37"/>
                    </a:lnTo>
                    <a:lnTo>
                      <a:pt x="48" y="29"/>
                    </a:lnTo>
                    <a:lnTo>
                      <a:pt x="48" y="29"/>
                    </a:lnTo>
                    <a:lnTo>
                      <a:pt x="48" y="21"/>
                    </a:lnTo>
                    <a:lnTo>
                      <a:pt x="44" y="12"/>
                    </a:lnTo>
                    <a:lnTo>
                      <a:pt x="38" y="6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66" name="Freeform 81"/>
              <p:cNvSpPr>
                <a:spLocks/>
              </p:cNvSpPr>
              <p:nvPr userDrawn="1"/>
            </p:nvSpPr>
            <p:spPr bwMode="auto">
              <a:xfrm>
                <a:off x="2264" y="2975"/>
                <a:ext cx="42" cy="42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1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0" y="23"/>
                  </a:cxn>
                  <a:cxn ang="0">
                    <a:pos x="2" y="31"/>
                  </a:cxn>
                  <a:cxn ang="0">
                    <a:pos x="8" y="38"/>
                  </a:cxn>
                  <a:cxn ang="0">
                    <a:pos x="15" y="42"/>
                  </a:cxn>
                  <a:cxn ang="0">
                    <a:pos x="15" y="42"/>
                  </a:cxn>
                  <a:cxn ang="0">
                    <a:pos x="21" y="42"/>
                  </a:cxn>
                  <a:cxn ang="0">
                    <a:pos x="21" y="42"/>
                  </a:cxn>
                  <a:cxn ang="0">
                    <a:pos x="27" y="40"/>
                  </a:cxn>
                  <a:cxn ang="0">
                    <a:pos x="35" y="38"/>
                  </a:cxn>
                  <a:cxn ang="0">
                    <a:pos x="38" y="33"/>
                  </a:cxn>
                  <a:cxn ang="0">
                    <a:pos x="42" y="27"/>
                  </a:cxn>
                  <a:cxn ang="0">
                    <a:pos x="42" y="27"/>
                  </a:cxn>
                  <a:cxn ang="0">
                    <a:pos x="42" y="17"/>
                  </a:cxn>
                  <a:cxn ang="0">
                    <a:pos x="38" y="10"/>
                  </a:cxn>
                  <a:cxn ang="0">
                    <a:pos x="35" y="4"/>
                  </a:cxn>
                  <a:cxn ang="0">
                    <a:pos x="27" y="0"/>
                  </a:cxn>
                  <a:cxn ang="0">
                    <a:pos x="27" y="0"/>
                  </a:cxn>
                  <a:cxn ang="0">
                    <a:pos x="21" y="0"/>
                  </a:cxn>
                </a:cxnLst>
                <a:rect l="0" t="0" r="r" b="b"/>
                <a:pathLst>
                  <a:path w="42" h="42">
                    <a:moveTo>
                      <a:pt x="21" y="0"/>
                    </a:moveTo>
                    <a:lnTo>
                      <a:pt x="21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0" y="23"/>
                    </a:lnTo>
                    <a:lnTo>
                      <a:pt x="2" y="31"/>
                    </a:lnTo>
                    <a:lnTo>
                      <a:pt x="8" y="38"/>
                    </a:lnTo>
                    <a:lnTo>
                      <a:pt x="15" y="42"/>
                    </a:lnTo>
                    <a:lnTo>
                      <a:pt x="15" y="42"/>
                    </a:lnTo>
                    <a:lnTo>
                      <a:pt x="21" y="42"/>
                    </a:lnTo>
                    <a:lnTo>
                      <a:pt x="21" y="42"/>
                    </a:lnTo>
                    <a:lnTo>
                      <a:pt x="27" y="40"/>
                    </a:lnTo>
                    <a:lnTo>
                      <a:pt x="35" y="38"/>
                    </a:lnTo>
                    <a:lnTo>
                      <a:pt x="38" y="33"/>
                    </a:lnTo>
                    <a:lnTo>
                      <a:pt x="42" y="27"/>
                    </a:lnTo>
                    <a:lnTo>
                      <a:pt x="42" y="27"/>
                    </a:lnTo>
                    <a:lnTo>
                      <a:pt x="42" y="17"/>
                    </a:lnTo>
                    <a:lnTo>
                      <a:pt x="38" y="10"/>
                    </a:lnTo>
                    <a:lnTo>
                      <a:pt x="35" y="4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67" name="Freeform 82"/>
              <p:cNvSpPr>
                <a:spLocks/>
              </p:cNvSpPr>
              <p:nvPr userDrawn="1"/>
            </p:nvSpPr>
            <p:spPr bwMode="auto">
              <a:xfrm>
                <a:off x="2264" y="2975"/>
                <a:ext cx="42" cy="42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1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0" y="23"/>
                  </a:cxn>
                  <a:cxn ang="0">
                    <a:pos x="2" y="31"/>
                  </a:cxn>
                  <a:cxn ang="0">
                    <a:pos x="8" y="38"/>
                  </a:cxn>
                  <a:cxn ang="0">
                    <a:pos x="15" y="42"/>
                  </a:cxn>
                  <a:cxn ang="0">
                    <a:pos x="15" y="42"/>
                  </a:cxn>
                  <a:cxn ang="0">
                    <a:pos x="21" y="42"/>
                  </a:cxn>
                  <a:cxn ang="0">
                    <a:pos x="21" y="42"/>
                  </a:cxn>
                  <a:cxn ang="0">
                    <a:pos x="27" y="40"/>
                  </a:cxn>
                  <a:cxn ang="0">
                    <a:pos x="35" y="38"/>
                  </a:cxn>
                  <a:cxn ang="0">
                    <a:pos x="38" y="33"/>
                  </a:cxn>
                  <a:cxn ang="0">
                    <a:pos x="42" y="27"/>
                  </a:cxn>
                  <a:cxn ang="0">
                    <a:pos x="42" y="27"/>
                  </a:cxn>
                  <a:cxn ang="0">
                    <a:pos x="42" y="17"/>
                  </a:cxn>
                  <a:cxn ang="0">
                    <a:pos x="38" y="10"/>
                  </a:cxn>
                  <a:cxn ang="0">
                    <a:pos x="35" y="4"/>
                  </a:cxn>
                  <a:cxn ang="0">
                    <a:pos x="27" y="0"/>
                  </a:cxn>
                  <a:cxn ang="0">
                    <a:pos x="27" y="0"/>
                  </a:cxn>
                  <a:cxn ang="0">
                    <a:pos x="21" y="0"/>
                  </a:cxn>
                </a:cxnLst>
                <a:rect l="0" t="0" r="r" b="b"/>
                <a:pathLst>
                  <a:path w="42" h="42">
                    <a:moveTo>
                      <a:pt x="21" y="0"/>
                    </a:moveTo>
                    <a:lnTo>
                      <a:pt x="21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0" y="23"/>
                    </a:lnTo>
                    <a:lnTo>
                      <a:pt x="2" y="31"/>
                    </a:lnTo>
                    <a:lnTo>
                      <a:pt x="8" y="38"/>
                    </a:lnTo>
                    <a:lnTo>
                      <a:pt x="15" y="42"/>
                    </a:lnTo>
                    <a:lnTo>
                      <a:pt x="15" y="42"/>
                    </a:lnTo>
                    <a:lnTo>
                      <a:pt x="21" y="42"/>
                    </a:lnTo>
                    <a:lnTo>
                      <a:pt x="21" y="42"/>
                    </a:lnTo>
                    <a:lnTo>
                      <a:pt x="27" y="40"/>
                    </a:lnTo>
                    <a:lnTo>
                      <a:pt x="35" y="38"/>
                    </a:lnTo>
                    <a:lnTo>
                      <a:pt x="38" y="33"/>
                    </a:lnTo>
                    <a:lnTo>
                      <a:pt x="42" y="27"/>
                    </a:lnTo>
                    <a:lnTo>
                      <a:pt x="42" y="27"/>
                    </a:lnTo>
                    <a:lnTo>
                      <a:pt x="42" y="17"/>
                    </a:lnTo>
                    <a:lnTo>
                      <a:pt x="38" y="10"/>
                    </a:lnTo>
                    <a:lnTo>
                      <a:pt x="35" y="4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68" name="Freeform 83"/>
              <p:cNvSpPr>
                <a:spLocks/>
              </p:cNvSpPr>
              <p:nvPr userDrawn="1"/>
            </p:nvSpPr>
            <p:spPr bwMode="auto">
              <a:xfrm>
                <a:off x="2216" y="3161"/>
                <a:ext cx="36" cy="42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3" y="2"/>
                  </a:cxn>
                  <a:cxn ang="0">
                    <a:pos x="8" y="5"/>
                  </a:cxn>
                  <a:cxn ang="0">
                    <a:pos x="4" y="11"/>
                  </a:cxn>
                  <a:cxn ang="0">
                    <a:pos x="0" y="17"/>
                  </a:cxn>
                  <a:cxn ang="0">
                    <a:pos x="0" y="17"/>
                  </a:cxn>
                  <a:cxn ang="0">
                    <a:pos x="0" y="26"/>
                  </a:cxn>
                  <a:cxn ang="0">
                    <a:pos x="2" y="32"/>
                  </a:cxn>
                  <a:cxn ang="0">
                    <a:pos x="8" y="38"/>
                  </a:cxn>
                  <a:cxn ang="0">
                    <a:pos x="13" y="42"/>
                  </a:cxn>
                  <a:cxn ang="0">
                    <a:pos x="13" y="42"/>
                  </a:cxn>
                  <a:cxn ang="0">
                    <a:pos x="18" y="42"/>
                  </a:cxn>
                  <a:cxn ang="0">
                    <a:pos x="18" y="42"/>
                  </a:cxn>
                  <a:cxn ang="0">
                    <a:pos x="24" y="42"/>
                  </a:cxn>
                  <a:cxn ang="0">
                    <a:pos x="29" y="38"/>
                  </a:cxn>
                  <a:cxn ang="0">
                    <a:pos x="33" y="34"/>
                  </a:cxn>
                  <a:cxn ang="0">
                    <a:pos x="35" y="27"/>
                  </a:cxn>
                  <a:cxn ang="0">
                    <a:pos x="35" y="27"/>
                  </a:cxn>
                  <a:cxn ang="0">
                    <a:pos x="36" y="19"/>
                  </a:cxn>
                  <a:cxn ang="0">
                    <a:pos x="33" y="11"/>
                  </a:cxn>
                  <a:cxn ang="0">
                    <a:pos x="29" y="5"/>
                  </a:cxn>
                  <a:cxn ang="0">
                    <a:pos x="22" y="2"/>
                  </a:cxn>
                  <a:cxn ang="0">
                    <a:pos x="22" y="2"/>
                  </a:cxn>
                  <a:cxn ang="0">
                    <a:pos x="18" y="0"/>
                  </a:cxn>
                </a:cxnLst>
                <a:rect l="0" t="0" r="r" b="b"/>
                <a:pathLst>
                  <a:path w="36" h="42">
                    <a:moveTo>
                      <a:pt x="18" y="0"/>
                    </a:moveTo>
                    <a:lnTo>
                      <a:pt x="18" y="0"/>
                    </a:lnTo>
                    <a:lnTo>
                      <a:pt x="13" y="2"/>
                    </a:lnTo>
                    <a:lnTo>
                      <a:pt x="8" y="5"/>
                    </a:lnTo>
                    <a:lnTo>
                      <a:pt x="4" y="11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0" y="26"/>
                    </a:lnTo>
                    <a:lnTo>
                      <a:pt x="2" y="32"/>
                    </a:lnTo>
                    <a:lnTo>
                      <a:pt x="8" y="38"/>
                    </a:lnTo>
                    <a:lnTo>
                      <a:pt x="13" y="42"/>
                    </a:lnTo>
                    <a:lnTo>
                      <a:pt x="13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24" y="42"/>
                    </a:lnTo>
                    <a:lnTo>
                      <a:pt x="29" y="38"/>
                    </a:lnTo>
                    <a:lnTo>
                      <a:pt x="33" y="34"/>
                    </a:lnTo>
                    <a:lnTo>
                      <a:pt x="35" y="27"/>
                    </a:lnTo>
                    <a:lnTo>
                      <a:pt x="35" y="27"/>
                    </a:lnTo>
                    <a:lnTo>
                      <a:pt x="36" y="19"/>
                    </a:lnTo>
                    <a:lnTo>
                      <a:pt x="33" y="11"/>
                    </a:lnTo>
                    <a:lnTo>
                      <a:pt x="29" y="5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69" name="Freeform 84"/>
              <p:cNvSpPr>
                <a:spLocks/>
              </p:cNvSpPr>
              <p:nvPr userDrawn="1"/>
            </p:nvSpPr>
            <p:spPr bwMode="auto">
              <a:xfrm>
                <a:off x="2216" y="3161"/>
                <a:ext cx="36" cy="42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3" y="2"/>
                  </a:cxn>
                  <a:cxn ang="0">
                    <a:pos x="8" y="5"/>
                  </a:cxn>
                  <a:cxn ang="0">
                    <a:pos x="4" y="11"/>
                  </a:cxn>
                  <a:cxn ang="0">
                    <a:pos x="0" y="17"/>
                  </a:cxn>
                  <a:cxn ang="0">
                    <a:pos x="0" y="17"/>
                  </a:cxn>
                  <a:cxn ang="0">
                    <a:pos x="0" y="26"/>
                  </a:cxn>
                  <a:cxn ang="0">
                    <a:pos x="2" y="32"/>
                  </a:cxn>
                  <a:cxn ang="0">
                    <a:pos x="8" y="38"/>
                  </a:cxn>
                  <a:cxn ang="0">
                    <a:pos x="13" y="42"/>
                  </a:cxn>
                  <a:cxn ang="0">
                    <a:pos x="13" y="42"/>
                  </a:cxn>
                  <a:cxn ang="0">
                    <a:pos x="18" y="42"/>
                  </a:cxn>
                  <a:cxn ang="0">
                    <a:pos x="18" y="42"/>
                  </a:cxn>
                  <a:cxn ang="0">
                    <a:pos x="24" y="42"/>
                  </a:cxn>
                  <a:cxn ang="0">
                    <a:pos x="29" y="38"/>
                  </a:cxn>
                  <a:cxn ang="0">
                    <a:pos x="33" y="34"/>
                  </a:cxn>
                  <a:cxn ang="0">
                    <a:pos x="35" y="27"/>
                  </a:cxn>
                  <a:cxn ang="0">
                    <a:pos x="35" y="27"/>
                  </a:cxn>
                  <a:cxn ang="0">
                    <a:pos x="36" y="19"/>
                  </a:cxn>
                  <a:cxn ang="0">
                    <a:pos x="33" y="11"/>
                  </a:cxn>
                  <a:cxn ang="0">
                    <a:pos x="29" y="5"/>
                  </a:cxn>
                  <a:cxn ang="0">
                    <a:pos x="22" y="2"/>
                  </a:cxn>
                  <a:cxn ang="0">
                    <a:pos x="22" y="2"/>
                  </a:cxn>
                  <a:cxn ang="0">
                    <a:pos x="18" y="0"/>
                  </a:cxn>
                </a:cxnLst>
                <a:rect l="0" t="0" r="r" b="b"/>
                <a:pathLst>
                  <a:path w="36" h="42">
                    <a:moveTo>
                      <a:pt x="18" y="0"/>
                    </a:moveTo>
                    <a:lnTo>
                      <a:pt x="18" y="0"/>
                    </a:lnTo>
                    <a:lnTo>
                      <a:pt x="13" y="2"/>
                    </a:lnTo>
                    <a:lnTo>
                      <a:pt x="8" y="5"/>
                    </a:lnTo>
                    <a:lnTo>
                      <a:pt x="4" y="11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0" y="26"/>
                    </a:lnTo>
                    <a:lnTo>
                      <a:pt x="2" y="32"/>
                    </a:lnTo>
                    <a:lnTo>
                      <a:pt x="8" y="38"/>
                    </a:lnTo>
                    <a:lnTo>
                      <a:pt x="13" y="42"/>
                    </a:lnTo>
                    <a:lnTo>
                      <a:pt x="13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24" y="42"/>
                    </a:lnTo>
                    <a:lnTo>
                      <a:pt x="29" y="38"/>
                    </a:lnTo>
                    <a:lnTo>
                      <a:pt x="33" y="34"/>
                    </a:lnTo>
                    <a:lnTo>
                      <a:pt x="35" y="27"/>
                    </a:lnTo>
                    <a:lnTo>
                      <a:pt x="35" y="27"/>
                    </a:lnTo>
                    <a:lnTo>
                      <a:pt x="36" y="19"/>
                    </a:lnTo>
                    <a:lnTo>
                      <a:pt x="33" y="11"/>
                    </a:lnTo>
                    <a:lnTo>
                      <a:pt x="29" y="5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70" name="Freeform 85"/>
              <p:cNvSpPr>
                <a:spLocks/>
              </p:cNvSpPr>
              <p:nvPr userDrawn="1"/>
            </p:nvSpPr>
            <p:spPr bwMode="auto">
              <a:xfrm>
                <a:off x="3116" y="2399"/>
                <a:ext cx="90" cy="90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45" y="0"/>
                  </a:cxn>
                  <a:cxn ang="0">
                    <a:pos x="33" y="2"/>
                  </a:cxn>
                  <a:cxn ang="0">
                    <a:pos x="33" y="2"/>
                  </a:cxn>
                  <a:cxn ang="0">
                    <a:pos x="25" y="6"/>
                  </a:cxn>
                  <a:cxn ang="0">
                    <a:pos x="19" y="11"/>
                  </a:cxn>
                  <a:cxn ang="0">
                    <a:pos x="12" y="17"/>
                  </a:cxn>
                  <a:cxn ang="0">
                    <a:pos x="6" y="23"/>
                  </a:cxn>
                  <a:cxn ang="0">
                    <a:pos x="2" y="31"/>
                  </a:cxn>
                  <a:cxn ang="0">
                    <a:pos x="0" y="39"/>
                  </a:cxn>
                  <a:cxn ang="0">
                    <a:pos x="0" y="49"/>
                  </a:cxn>
                  <a:cxn ang="0">
                    <a:pos x="2" y="57"/>
                  </a:cxn>
                  <a:cxn ang="0">
                    <a:pos x="2" y="57"/>
                  </a:cxn>
                  <a:cxn ang="0">
                    <a:pos x="4" y="66"/>
                  </a:cxn>
                  <a:cxn ang="0">
                    <a:pos x="8" y="72"/>
                  </a:cxn>
                  <a:cxn ang="0">
                    <a:pos x="19" y="82"/>
                  </a:cxn>
                  <a:cxn ang="0">
                    <a:pos x="31" y="88"/>
                  </a:cxn>
                  <a:cxn ang="0">
                    <a:pos x="45" y="90"/>
                  </a:cxn>
                  <a:cxn ang="0">
                    <a:pos x="45" y="90"/>
                  </a:cxn>
                  <a:cxn ang="0">
                    <a:pos x="57" y="90"/>
                  </a:cxn>
                  <a:cxn ang="0">
                    <a:pos x="57" y="90"/>
                  </a:cxn>
                  <a:cxn ang="0">
                    <a:pos x="66" y="86"/>
                  </a:cxn>
                  <a:cxn ang="0">
                    <a:pos x="74" y="82"/>
                  </a:cxn>
                  <a:cxn ang="0">
                    <a:pos x="80" y="76"/>
                  </a:cxn>
                  <a:cxn ang="0">
                    <a:pos x="84" y="68"/>
                  </a:cxn>
                  <a:cxn ang="0">
                    <a:pos x="88" y="60"/>
                  </a:cxn>
                  <a:cxn ang="0">
                    <a:pos x="90" y="51"/>
                  </a:cxn>
                  <a:cxn ang="0">
                    <a:pos x="90" y="43"/>
                  </a:cxn>
                  <a:cxn ang="0">
                    <a:pos x="88" y="35"/>
                  </a:cxn>
                  <a:cxn ang="0">
                    <a:pos x="88" y="35"/>
                  </a:cxn>
                  <a:cxn ang="0">
                    <a:pos x="86" y="27"/>
                  </a:cxn>
                  <a:cxn ang="0">
                    <a:pos x="82" y="21"/>
                  </a:cxn>
                  <a:cxn ang="0">
                    <a:pos x="72" y="11"/>
                  </a:cxn>
                  <a:cxn ang="0">
                    <a:pos x="60" y="4"/>
                  </a:cxn>
                  <a:cxn ang="0">
                    <a:pos x="45" y="0"/>
                  </a:cxn>
                </a:cxnLst>
                <a:rect l="0" t="0" r="r" b="b"/>
                <a:pathLst>
                  <a:path w="90" h="90">
                    <a:moveTo>
                      <a:pt x="45" y="0"/>
                    </a:moveTo>
                    <a:lnTo>
                      <a:pt x="45" y="0"/>
                    </a:lnTo>
                    <a:lnTo>
                      <a:pt x="33" y="2"/>
                    </a:lnTo>
                    <a:lnTo>
                      <a:pt x="33" y="2"/>
                    </a:lnTo>
                    <a:lnTo>
                      <a:pt x="25" y="6"/>
                    </a:lnTo>
                    <a:lnTo>
                      <a:pt x="19" y="11"/>
                    </a:lnTo>
                    <a:lnTo>
                      <a:pt x="12" y="17"/>
                    </a:lnTo>
                    <a:lnTo>
                      <a:pt x="6" y="23"/>
                    </a:lnTo>
                    <a:lnTo>
                      <a:pt x="2" y="31"/>
                    </a:lnTo>
                    <a:lnTo>
                      <a:pt x="0" y="39"/>
                    </a:lnTo>
                    <a:lnTo>
                      <a:pt x="0" y="49"/>
                    </a:lnTo>
                    <a:lnTo>
                      <a:pt x="2" y="57"/>
                    </a:lnTo>
                    <a:lnTo>
                      <a:pt x="2" y="57"/>
                    </a:lnTo>
                    <a:lnTo>
                      <a:pt x="4" y="66"/>
                    </a:lnTo>
                    <a:lnTo>
                      <a:pt x="8" y="72"/>
                    </a:lnTo>
                    <a:lnTo>
                      <a:pt x="19" y="82"/>
                    </a:lnTo>
                    <a:lnTo>
                      <a:pt x="31" y="88"/>
                    </a:lnTo>
                    <a:lnTo>
                      <a:pt x="45" y="90"/>
                    </a:lnTo>
                    <a:lnTo>
                      <a:pt x="45" y="90"/>
                    </a:lnTo>
                    <a:lnTo>
                      <a:pt x="57" y="90"/>
                    </a:lnTo>
                    <a:lnTo>
                      <a:pt x="57" y="90"/>
                    </a:lnTo>
                    <a:lnTo>
                      <a:pt x="66" y="86"/>
                    </a:lnTo>
                    <a:lnTo>
                      <a:pt x="74" y="82"/>
                    </a:lnTo>
                    <a:lnTo>
                      <a:pt x="80" y="76"/>
                    </a:lnTo>
                    <a:lnTo>
                      <a:pt x="84" y="68"/>
                    </a:lnTo>
                    <a:lnTo>
                      <a:pt x="88" y="60"/>
                    </a:lnTo>
                    <a:lnTo>
                      <a:pt x="90" y="51"/>
                    </a:lnTo>
                    <a:lnTo>
                      <a:pt x="90" y="43"/>
                    </a:lnTo>
                    <a:lnTo>
                      <a:pt x="88" y="35"/>
                    </a:lnTo>
                    <a:lnTo>
                      <a:pt x="88" y="35"/>
                    </a:lnTo>
                    <a:lnTo>
                      <a:pt x="86" y="27"/>
                    </a:lnTo>
                    <a:lnTo>
                      <a:pt x="82" y="21"/>
                    </a:lnTo>
                    <a:lnTo>
                      <a:pt x="72" y="11"/>
                    </a:lnTo>
                    <a:lnTo>
                      <a:pt x="60" y="4"/>
                    </a:lnTo>
                    <a:lnTo>
                      <a:pt x="4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71" name="Freeform 86"/>
              <p:cNvSpPr>
                <a:spLocks/>
              </p:cNvSpPr>
              <p:nvPr userDrawn="1"/>
            </p:nvSpPr>
            <p:spPr bwMode="auto">
              <a:xfrm>
                <a:off x="3116" y="2399"/>
                <a:ext cx="90" cy="90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45" y="0"/>
                  </a:cxn>
                  <a:cxn ang="0">
                    <a:pos x="33" y="2"/>
                  </a:cxn>
                  <a:cxn ang="0">
                    <a:pos x="33" y="2"/>
                  </a:cxn>
                  <a:cxn ang="0">
                    <a:pos x="25" y="6"/>
                  </a:cxn>
                  <a:cxn ang="0">
                    <a:pos x="19" y="11"/>
                  </a:cxn>
                  <a:cxn ang="0">
                    <a:pos x="12" y="17"/>
                  </a:cxn>
                  <a:cxn ang="0">
                    <a:pos x="6" y="23"/>
                  </a:cxn>
                  <a:cxn ang="0">
                    <a:pos x="2" y="31"/>
                  </a:cxn>
                  <a:cxn ang="0">
                    <a:pos x="0" y="39"/>
                  </a:cxn>
                  <a:cxn ang="0">
                    <a:pos x="0" y="49"/>
                  </a:cxn>
                  <a:cxn ang="0">
                    <a:pos x="2" y="57"/>
                  </a:cxn>
                  <a:cxn ang="0">
                    <a:pos x="2" y="57"/>
                  </a:cxn>
                  <a:cxn ang="0">
                    <a:pos x="4" y="66"/>
                  </a:cxn>
                  <a:cxn ang="0">
                    <a:pos x="8" y="72"/>
                  </a:cxn>
                  <a:cxn ang="0">
                    <a:pos x="19" y="82"/>
                  </a:cxn>
                  <a:cxn ang="0">
                    <a:pos x="31" y="88"/>
                  </a:cxn>
                  <a:cxn ang="0">
                    <a:pos x="45" y="90"/>
                  </a:cxn>
                  <a:cxn ang="0">
                    <a:pos x="45" y="90"/>
                  </a:cxn>
                  <a:cxn ang="0">
                    <a:pos x="57" y="90"/>
                  </a:cxn>
                  <a:cxn ang="0">
                    <a:pos x="57" y="90"/>
                  </a:cxn>
                  <a:cxn ang="0">
                    <a:pos x="66" y="86"/>
                  </a:cxn>
                  <a:cxn ang="0">
                    <a:pos x="74" y="82"/>
                  </a:cxn>
                  <a:cxn ang="0">
                    <a:pos x="80" y="76"/>
                  </a:cxn>
                  <a:cxn ang="0">
                    <a:pos x="84" y="68"/>
                  </a:cxn>
                  <a:cxn ang="0">
                    <a:pos x="88" y="60"/>
                  </a:cxn>
                  <a:cxn ang="0">
                    <a:pos x="90" y="51"/>
                  </a:cxn>
                  <a:cxn ang="0">
                    <a:pos x="90" y="43"/>
                  </a:cxn>
                  <a:cxn ang="0">
                    <a:pos x="88" y="35"/>
                  </a:cxn>
                  <a:cxn ang="0">
                    <a:pos x="88" y="35"/>
                  </a:cxn>
                  <a:cxn ang="0">
                    <a:pos x="86" y="27"/>
                  </a:cxn>
                  <a:cxn ang="0">
                    <a:pos x="82" y="21"/>
                  </a:cxn>
                  <a:cxn ang="0">
                    <a:pos x="72" y="11"/>
                  </a:cxn>
                  <a:cxn ang="0">
                    <a:pos x="60" y="4"/>
                  </a:cxn>
                  <a:cxn ang="0">
                    <a:pos x="45" y="0"/>
                  </a:cxn>
                </a:cxnLst>
                <a:rect l="0" t="0" r="r" b="b"/>
                <a:pathLst>
                  <a:path w="90" h="90">
                    <a:moveTo>
                      <a:pt x="45" y="0"/>
                    </a:moveTo>
                    <a:lnTo>
                      <a:pt x="45" y="0"/>
                    </a:lnTo>
                    <a:lnTo>
                      <a:pt x="33" y="2"/>
                    </a:lnTo>
                    <a:lnTo>
                      <a:pt x="33" y="2"/>
                    </a:lnTo>
                    <a:lnTo>
                      <a:pt x="25" y="6"/>
                    </a:lnTo>
                    <a:lnTo>
                      <a:pt x="19" y="11"/>
                    </a:lnTo>
                    <a:lnTo>
                      <a:pt x="12" y="17"/>
                    </a:lnTo>
                    <a:lnTo>
                      <a:pt x="6" y="23"/>
                    </a:lnTo>
                    <a:lnTo>
                      <a:pt x="2" y="31"/>
                    </a:lnTo>
                    <a:lnTo>
                      <a:pt x="0" y="39"/>
                    </a:lnTo>
                    <a:lnTo>
                      <a:pt x="0" y="49"/>
                    </a:lnTo>
                    <a:lnTo>
                      <a:pt x="2" y="57"/>
                    </a:lnTo>
                    <a:lnTo>
                      <a:pt x="2" y="57"/>
                    </a:lnTo>
                    <a:lnTo>
                      <a:pt x="4" y="66"/>
                    </a:lnTo>
                    <a:lnTo>
                      <a:pt x="8" y="72"/>
                    </a:lnTo>
                    <a:lnTo>
                      <a:pt x="19" y="82"/>
                    </a:lnTo>
                    <a:lnTo>
                      <a:pt x="31" y="88"/>
                    </a:lnTo>
                    <a:lnTo>
                      <a:pt x="45" y="90"/>
                    </a:lnTo>
                    <a:lnTo>
                      <a:pt x="45" y="90"/>
                    </a:lnTo>
                    <a:lnTo>
                      <a:pt x="57" y="90"/>
                    </a:lnTo>
                    <a:lnTo>
                      <a:pt x="57" y="90"/>
                    </a:lnTo>
                    <a:lnTo>
                      <a:pt x="66" y="86"/>
                    </a:lnTo>
                    <a:lnTo>
                      <a:pt x="74" y="82"/>
                    </a:lnTo>
                    <a:lnTo>
                      <a:pt x="80" y="76"/>
                    </a:lnTo>
                    <a:lnTo>
                      <a:pt x="84" y="68"/>
                    </a:lnTo>
                    <a:lnTo>
                      <a:pt x="88" y="60"/>
                    </a:lnTo>
                    <a:lnTo>
                      <a:pt x="90" y="51"/>
                    </a:lnTo>
                    <a:lnTo>
                      <a:pt x="90" y="43"/>
                    </a:lnTo>
                    <a:lnTo>
                      <a:pt x="88" y="35"/>
                    </a:lnTo>
                    <a:lnTo>
                      <a:pt x="88" y="35"/>
                    </a:lnTo>
                    <a:lnTo>
                      <a:pt x="86" y="27"/>
                    </a:lnTo>
                    <a:lnTo>
                      <a:pt x="82" y="21"/>
                    </a:lnTo>
                    <a:lnTo>
                      <a:pt x="72" y="11"/>
                    </a:lnTo>
                    <a:lnTo>
                      <a:pt x="60" y="4"/>
                    </a:lnTo>
                    <a:lnTo>
                      <a:pt x="4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72" name="Freeform 87"/>
              <p:cNvSpPr>
                <a:spLocks/>
              </p:cNvSpPr>
              <p:nvPr userDrawn="1"/>
            </p:nvSpPr>
            <p:spPr bwMode="auto">
              <a:xfrm>
                <a:off x="3284" y="2393"/>
                <a:ext cx="84" cy="78"/>
              </a:xfrm>
              <a:custGeom>
                <a:avLst/>
                <a:gdLst/>
                <a:ahLst/>
                <a:cxnLst>
                  <a:cxn ang="0">
                    <a:pos x="42" y="0"/>
                  </a:cxn>
                  <a:cxn ang="0">
                    <a:pos x="42" y="0"/>
                  </a:cxn>
                  <a:cxn ang="0">
                    <a:pos x="32" y="2"/>
                  </a:cxn>
                  <a:cxn ang="0">
                    <a:pos x="32" y="2"/>
                  </a:cxn>
                  <a:cxn ang="0">
                    <a:pos x="23" y="6"/>
                  </a:cxn>
                  <a:cxn ang="0">
                    <a:pos x="17" y="10"/>
                  </a:cxn>
                  <a:cxn ang="0">
                    <a:pos x="11" y="14"/>
                  </a:cxn>
                  <a:cxn ang="0">
                    <a:pos x="6" y="20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0" y="41"/>
                  </a:cxn>
                  <a:cxn ang="0">
                    <a:pos x="2" y="49"/>
                  </a:cxn>
                  <a:cxn ang="0">
                    <a:pos x="2" y="49"/>
                  </a:cxn>
                  <a:cxn ang="0">
                    <a:pos x="9" y="61"/>
                  </a:cxn>
                  <a:cxn ang="0">
                    <a:pos x="17" y="71"/>
                  </a:cxn>
                  <a:cxn ang="0">
                    <a:pos x="30" y="76"/>
                  </a:cxn>
                  <a:cxn ang="0">
                    <a:pos x="42" y="78"/>
                  </a:cxn>
                  <a:cxn ang="0">
                    <a:pos x="42" y="78"/>
                  </a:cxn>
                  <a:cxn ang="0">
                    <a:pos x="53" y="76"/>
                  </a:cxn>
                  <a:cxn ang="0">
                    <a:pos x="53" y="76"/>
                  </a:cxn>
                  <a:cxn ang="0">
                    <a:pos x="61" y="74"/>
                  </a:cxn>
                  <a:cxn ang="0">
                    <a:pos x="68" y="71"/>
                  </a:cxn>
                  <a:cxn ang="0">
                    <a:pos x="74" y="65"/>
                  </a:cxn>
                  <a:cxn ang="0">
                    <a:pos x="78" y="59"/>
                  </a:cxn>
                  <a:cxn ang="0">
                    <a:pos x="82" y="53"/>
                  </a:cxn>
                  <a:cxn ang="0">
                    <a:pos x="84" y="45"/>
                  </a:cxn>
                  <a:cxn ang="0">
                    <a:pos x="84" y="37"/>
                  </a:cxn>
                  <a:cxn ang="0">
                    <a:pos x="82" y="29"/>
                  </a:cxn>
                  <a:cxn ang="0">
                    <a:pos x="82" y="29"/>
                  </a:cxn>
                  <a:cxn ang="0">
                    <a:pos x="76" y="18"/>
                  </a:cxn>
                  <a:cxn ang="0">
                    <a:pos x="68" y="8"/>
                  </a:cxn>
                  <a:cxn ang="0">
                    <a:pos x="55" y="4"/>
                  </a:cxn>
                  <a:cxn ang="0">
                    <a:pos x="42" y="0"/>
                  </a:cxn>
                </a:cxnLst>
                <a:rect l="0" t="0" r="r" b="b"/>
                <a:pathLst>
                  <a:path w="84" h="78">
                    <a:moveTo>
                      <a:pt x="42" y="0"/>
                    </a:moveTo>
                    <a:lnTo>
                      <a:pt x="42" y="0"/>
                    </a:lnTo>
                    <a:lnTo>
                      <a:pt x="32" y="2"/>
                    </a:lnTo>
                    <a:lnTo>
                      <a:pt x="32" y="2"/>
                    </a:lnTo>
                    <a:lnTo>
                      <a:pt x="23" y="6"/>
                    </a:lnTo>
                    <a:lnTo>
                      <a:pt x="17" y="10"/>
                    </a:lnTo>
                    <a:lnTo>
                      <a:pt x="11" y="14"/>
                    </a:lnTo>
                    <a:lnTo>
                      <a:pt x="6" y="20"/>
                    </a:lnTo>
                    <a:lnTo>
                      <a:pt x="2" y="27"/>
                    </a:lnTo>
                    <a:lnTo>
                      <a:pt x="0" y="33"/>
                    </a:lnTo>
                    <a:lnTo>
                      <a:pt x="0" y="41"/>
                    </a:lnTo>
                    <a:lnTo>
                      <a:pt x="2" y="49"/>
                    </a:lnTo>
                    <a:lnTo>
                      <a:pt x="2" y="49"/>
                    </a:lnTo>
                    <a:lnTo>
                      <a:pt x="9" y="61"/>
                    </a:lnTo>
                    <a:lnTo>
                      <a:pt x="17" y="71"/>
                    </a:lnTo>
                    <a:lnTo>
                      <a:pt x="30" y="76"/>
                    </a:lnTo>
                    <a:lnTo>
                      <a:pt x="42" y="78"/>
                    </a:lnTo>
                    <a:lnTo>
                      <a:pt x="42" y="78"/>
                    </a:lnTo>
                    <a:lnTo>
                      <a:pt x="53" y="76"/>
                    </a:lnTo>
                    <a:lnTo>
                      <a:pt x="53" y="76"/>
                    </a:lnTo>
                    <a:lnTo>
                      <a:pt x="61" y="74"/>
                    </a:lnTo>
                    <a:lnTo>
                      <a:pt x="68" y="71"/>
                    </a:lnTo>
                    <a:lnTo>
                      <a:pt x="74" y="65"/>
                    </a:lnTo>
                    <a:lnTo>
                      <a:pt x="78" y="59"/>
                    </a:lnTo>
                    <a:lnTo>
                      <a:pt x="82" y="53"/>
                    </a:lnTo>
                    <a:lnTo>
                      <a:pt x="84" y="45"/>
                    </a:lnTo>
                    <a:lnTo>
                      <a:pt x="84" y="37"/>
                    </a:lnTo>
                    <a:lnTo>
                      <a:pt x="82" y="29"/>
                    </a:lnTo>
                    <a:lnTo>
                      <a:pt x="82" y="29"/>
                    </a:lnTo>
                    <a:lnTo>
                      <a:pt x="76" y="18"/>
                    </a:lnTo>
                    <a:lnTo>
                      <a:pt x="68" y="8"/>
                    </a:lnTo>
                    <a:lnTo>
                      <a:pt x="55" y="4"/>
                    </a:lnTo>
                    <a:lnTo>
                      <a:pt x="4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73" name="Freeform 88"/>
              <p:cNvSpPr>
                <a:spLocks/>
              </p:cNvSpPr>
              <p:nvPr userDrawn="1"/>
            </p:nvSpPr>
            <p:spPr bwMode="auto">
              <a:xfrm>
                <a:off x="3284" y="2393"/>
                <a:ext cx="84" cy="78"/>
              </a:xfrm>
              <a:custGeom>
                <a:avLst/>
                <a:gdLst/>
                <a:ahLst/>
                <a:cxnLst>
                  <a:cxn ang="0">
                    <a:pos x="42" y="0"/>
                  </a:cxn>
                  <a:cxn ang="0">
                    <a:pos x="42" y="0"/>
                  </a:cxn>
                  <a:cxn ang="0">
                    <a:pos x="32" y="2"/>
                  </a:cxn>
                  <a:cxn ang="0">
                    <a:pos x="32" y="2"/>
                  </a:cxn>
                  <a:cxn ang="0">
                    <a:pos x="23" y="6"/>
                  </a:cxn>
                  <a:cxn ang="0">
                    <a:pos x="17" y="10"/>
                  </a:cxn>
                  <a:cxn ang="0">
                    <a:pos x="11" y="14"/>
                  </a:cxn>
                  <a:cxn ang="0">
                    <a:pos x="6" y="20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0" y="41"/>
                  </a:cxn>
                  <a:cxn ang="0">
                    <a:pos x="2" y="49"/>
                  </a:cxn>
                  <a:cxn ang="0">
                    <a:pos x="2" y="49"/>
                  </a:cxn>
                  <a:cxn ang="0">
                    <a:pos x="9" y="61"/>
                  </a:cxn>
                  <a:cxn ang="0">
                    <a:pos x="17" y="71"/>
                  </a:cxn>
                  <a:cxn ang="0">
                    <a:pos x="30" y="76"/>
                  </a:cxn>
                  <a:cxn ang="0">
                    <a:pos x="42" y="78"/>
                  </a:cxn>
                  <a:cxn ang="0">
                    <a:pos x="42" y="78"/>
                  </a:cxn>
                  <a:cxn ang="0">
                    <a:pos x="53" y="76"/>
                  </a:cxn>
                  <a:cxn ang="0">
                    <a:pos x="53" y="76"/>
                  </a:cxn>
                  <a:cxn ang="0">
                    <a:pos x="61" y="74"/>
                  </a:cxn>
                  <a:cxn ang="0">
                    <a:pos x="68" y="71"/>
                  </a:cxn>
                  <a:cxn ang="0">
                    <a:pos x="74" y="65"/>
                  </a:cxn>
                  <a:cxn ang="0">
                    <a:pos x="78" y="59"/>
                  </a:cxn>
                  <a:cxn ang="0">
                    <a:pos x="82" y="53"/>
                  </a:cxn>
                  <a:cxn ang="0">
                    <a:pos x="84" y="45"/>
                  </a:cxn>
                  <a:cxn ang="0">
                    <a:pos x="84" y="37"/>
                  </a:cxn>
                  <a:cxn ang="0">
                    <a:pos x="82" y="29"/>
                  </a:cxn>
                  <a:cxn ang="0">
                    <a:pos x="82" y="29"/>
                  </a:cxn>
                  <a:cxn ang="0">
                    <a:pos x="76" y="18"/>
                  </a:cxn>
                  <a:cxn ang="0">
                    <a:pos x="68" y="8"/>
                  </a:cxn>
                  <a:cxn ang="0">
                    <a:pos x="55" y="4"/>
                  </a:cxn>
                  <a:cxn ang="0">
                    <a:pos x="42" y="0"/>
                  </a:cxn>
                </a:cxnLst>
                <a:rect l="0" t="0" r="r" b="b"/>
                <a:pathLst>
                  <a:path w="84" h="78">
                    <a:moveTo>
                      <a:pt x="42" y="0"/>
                    </a:moveTo>
                    <a:lnTo>
                      <a:pt x="42" y="0"/>
                    </a:lnTo>
                    <a:lnTo>
                      <a:pt x="32" y="2"/>
                    </a:lnTo>
                    <a:lnTo>
                      <a:pt x="32" y="2"/>
                    </a:lnTo>
                    <a:lnTo>
                      <a:pt x="23" y="6"/>
                    </a:lnTo>
                    <a:lnTo>
                      <a:pt x="17" y="10"/>
                    </a:lnTo>
                    <a:lnTo>
                      <a:pt x="11" y="14"/>
                    </a:lnTo>
                    <a:lnTo>
                      <a:pt x="6" y="20"/>
                    </a:lnTo>
                    <a:lnTo>
                      <a:pt x="2" y="27"/>
                    </a:lnTo>
                    <a:lnTo>
                      <a:pt x="0" y="33"/>
                    </a:lnTo>
                    <a:lnTo>
                      <a:pt x="0" y="41"/>
                    </a:lnTo>
                    <a:lnTo>
                      <a:pt x="2" y="49"/>
                    </a:lnTo>
                    <a:lnTo>
                      <a:pt x="2" y="49"/>
                    </a:lnTo>
                    <a:lnTo>
                      <a:pt x="9" y="61"/>
                    </a:lnTo>
                    <a:lnTo>
                      <a:pt x="17" y="71"/>
                    </a:lnTo>
                    <a:lnTo>
                      <a:pt x="30" y="76"/>
                    </a:lnTo>
                    <a:lnTo>
                      <a:pt x="42" y="78"/>
                    </a:lnTo>
                    <a:lnTo>
                      <a:pt x="42" y="78"/>
                    </a:lnTo>
                    <a:lnTo>
                      <a:pt x="53" y="76"/>
                    </a:lnTo>
                    <a:lnTo>
                      <a:pt x="53" y="76"/>
                    </a:lnTo>
                    <a:lnTo>
                      <a:pt x="61" y="74"/>
                    </a:lnTo>
                    <a:lnTo>
                      <a:pt x="68" y="71"/>
                    </a:lnTo>
                    <a:lnTo>
                      <a:pt x="74" y="65"/>
                    </a:lnTo>
                    <a:lnTo>
                      <a:pt x="78" y="59"/>
                    </a:lnTo>
                    <a:lnTo>
                      <a:pt x="82" y="53"/>
                    </a:lnTo>
                    <a:lnTo>
                      <a:pt x="84" y="45"/>
                    </a:lnTo>
                    <a:lnTo>
                      <a:pt x="84" y="37"/>
                    </a:lnTo>
                    <a:lnTo>
                      <a:pt x="82" y="29"/>
                    </a:lnTo>
                    <a:lnTo>
                      <a:pt x="82" y="29"/>
                    </a:lnTo>
                    <a:lnTo>
                      <a:pt x="76" y="18"/>
                    </a:lnTo>
                    <a:lnTo>
                      <a:pt x="68" y="8"/>
                    </a:lnTo>
                    <a:lnTo>
                      <a:pt x="55" y="4"/>
                    </a:lnTo>
                    <a:lnTo>
                      <a:pt x="4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74" name="Freeform 89"/>
              <p:cNvSpPr>
                <a:spLocks/>
              </p:cNvSpPr>
              <p:nvPr userDrawn="1"/>
            </p:nvSpPr>
            <p:spPr bwMode="auto">
              <a:xfrm>
                <a:off x="3452" y="2411"/>
                <a:ext cx="72" cy="72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6" y="0"/>
                  </a:cxn>
                  <a:cxn ang="0">
                    <a:pos x="26" y="0"/>
                  </a:cxn>
                  <a:cxn ang="0">
                    <a:pos x="20" y="2"/>
                  </a:cxn>
                  <a:cxn ang="0">
                    <a:pos x="14" y="6"/>
                  </a:cxn>
                  <a:cxn ang="0">
                    <a:pos x="8" y="12"/>
                  </a:cxn>
                  <a:cxn ang="0">
                    <a:pos x="4" y="17"/>
                  </a:cxn>
                  <a:cxn ang="0">
                    <a:pos x="2" y="25"/>
                  </a:cxn>
                  <a:cxn ang="0">
                    <a:pos x="0" y="31"/>
                  </a:cxn>
                  <a:cxn ang="0">
                    <a:pos x="0" y="37"/>
                  </a:cxn>
                  <a:cxn ang="0">
                    <a:pos x="2" y="45"/>
                  </a:cxn>
                  <a:cxn ang="0">
                    <a:pos x="2" y="45"/>
                  </a:cxn>
                  <a:cxn ang="0">
                    <a:pos x="6" y="56"/>
                  </a:cxn>
                  <a:cxn ang="0">
                    <a:pos x="14" y="64"/>
                  </a:cxn>
                  <a:cxn ang="0">
                    <a:pos x="24" y="70"/>
                  </a:cxn>
                  <a:cxn ang="0">
                    <a:pos x="36" y="72"/>
                  </a:cxn>
                  <a:cxn ang="0">
                    <a:pos x="36" y="72"/>
                  </a:cxn>
                  <a:cxn ang="0">
                    <a:pos x="44" y="70"/>
                  </a:cxn>
                  <a:cxn ang="0">
                    <a:pos x="44" y="70"/>
                  </a:cxn>
                  <a:cxn ang="0">
                    <a:pos x="52" y="68"/>
                  </a:cxn>
                  <a:cxn ang="0">
                    <a:pos x="58" y="64"/>
                  </a:cxn>
                  <a:cxn ang="0">
                    <a:pos x="62" y="60"/>
                  </a:cxn>
                  <a:cxn ang="0">
                    <a:pos x="66" y="54"/>
                  </a:cxn>
                  <a:cxn ang="0">
                    <a:pos x="70" y="48"/>
                  </a:cxn>
                  <a:cxn ang="0">
                    <a:pos x="70" y="41"/>
                  </a:cxn>
                  <a:cxn ang="0">
                    <a:pos x="72" y="33"/>
                  </a:cxn>
                  <a:cxn ang="0">
                    <a:pos x="70" y="27"/>
                  </a:cxn>
                  <a:cxn ang="0">
                    <a:pos x="70" y="27"/>
                  </a:cxn>
                  <a:cxn ang="0">
                    <a:pos x="66" y="15"/>
                  </a:cxn>
                  <a:cxn ang="0">
                    <a:pos x="58" y="6"/>
                  </a:cxn>
                  <a:cxn ang="0">
                    <a:pos x="48" y="2"/>
                  </a:cxn>
                  <a:cxn ang="0">
                    <a:pos x="36" y="0"/>
                  </a:cxn>
                </a:cxnLst>
                <a:rect l="0" t="0" r="r" b="b"/>
                <a:pathLst>
                  <a:path w="72" h="72">
                    <a:moveTo>
                      <a:pt x="36" y="0"/>
                    </a:moveTo>
                    <a:lnTo>
                      <a:pt x="3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0" y="2"/>
                    </a:lnTo>
                    <a:lnTo>
                      <a:pt x="14" y="6"/>
                    </a:lnTo>
                    <a:lnTo>
                      <a:pt x="8" y="12"/>
                    </a:lnTo>
                    <a:lnTo>
                      <a:pt x="4" y="17"/>
                    </a:lnTo>
                    <a:lnTo>
                      <a:pt x="2" y="25"/>
                    </a:lnTo>
                    <a:lnTo>
                      <a:pt x="0" y="31"/>
                    </a:lnTo>
                    <a:lnTo>
                      <a:pt x="0" y="37"/>
                    </a:lnTo>
                    <a:lnTo>
                      <a:pt x="2" y="45"/>
                    </a:lnTo>
                    <a:lnTo>
                      <a:pt x="2" y="45"/>
                    </a:lnTo>
                    <a:lnTo>
                      <a:pt x="6" y="56"/>
                    </a:lnTo>
                    <a:lnTo>
                      <a:pt x="14" y="64"/>
                    </a:lnTo>
                    <a:lnTo>
                      <a:pt x="24" y="70"/>
                    </a:lnTo>
                    <a:lnTo>
                      <a:pt x="36" y="72"/>
                    </a:lnTo>
                    <a:lnTo>
                      <a:pt x="36" y="72"/>
                    </a:lnTo>
                    <a:lnTo>
                      <a:pt x="44" y="70"/>
                    </a:lnTo>
                    <a:lnTo>
                      <a:pt x="44" y="70"/>
                    </a:lnTo>
                    <a:lnTo>
                      <a:pt x="52" y="68"/>
                    </a:lnTo>
                    <a:lnTo>
                      <a:pt x="58" y="64"/>
                    </a:lnTo>
                    <a:lnTo>
                      <a:pt x="62" y="60"/>
                    </a:lnTo>
                    <a:lnTo>
                      <a:pt x="66" y="54"/>
                    </a:lnTo>
                    <a:lnTo>
                      <a:pt x="70" y="48"/>
                    </a:lnTo>
                    <a:lnTo>
                      <a:pt x="70" y="41"/>
                    </a:lnTo>
                    <a:lnTo>
                      <a:pt x="72" y="33"/>
                    </a:lnTo>
                    <a:lnTo>
                      <a:pt x="70" y="27"/>
                    </a:lnTo>
                    <a:lnTo>
                      <a:pt x="70" y="27"/>
                    </a:lnTo>
                    <a:lnTo>
                      <a:pt x="66" y="15"/>
                    </a:lnTo>
                    <a:lnTo>
                      <a:pt x="58" y="6"/>
                    </a:lnTo>
                    <a:lnTo>
                      <a:pt x="48" y="2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75" name="Freeform 90"/>
              <p:cNvSpPr>
                <a:spLocks/>
              </p:cNvSpPr>
              <p:nvPr userDrawn="1"/>
            </p:nvSpPr>
            <p:spPr bwMode="auto">
              <a:xfrm>
                <a:off x="3452" y="2411"/>
                <a:ext cx="72" cy="72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6" y="0"/>
                  </a:cxn>
                  <a:cxn ang="0">
                    <a:pos x="26" y="0"/>
                  </a:cxn>
                  <a:cxn ang="0">
                    <a:pos x="20" y="2"/>
                  </a:cxn>
                  <a:cxn ang="0">
                    <a:pos x="14" y="6"/>
                  </a:cxn>
                  <a:cxn ang="0">
                    <a:pos x="8" y="12"/>
                  </a:cxn>
                  <a:cxn ang="0">
                    <a:pos x="4" y="17"/>
                  </a:cxn>
                  <a:cxn ang="0">
                    <a:pos x="2" y="25"/>
                  </a:cxn>
                  <a:cxn ang="0">
                    <a:pos x="0" y="31"/>
                  </a:cxn>
                  <a:cxn ang="0">
                    <a:pos x="0" y="37"/>
                  </a:cxn>
                  <a:cxn ang="0">
                    <a:pos x="2" y="45"/>
                  </a:cxn>
                  <a:cxn ang="0">
                    <a:pos x="2" y="45"/>
                  </a:cxn>
                  <a:cxn ang="0">
                    <a:pos x="6" y="56"/>
                  </a:cxn>
                  <a:cxn ang="0">
                    <a:pos x="14" y="64"/>
                  </a:cxn>
                  <a:cxn ang="0">
                    <a:pos x="24" y="70"/>
                  </a:cxn>
                  <a:cxn ang="0">
                    <a:pos x="36" y="72"/>
                  </a:cxn>
                  <a:cxn ang="0">
                    <a:pos x="36" y="72"/>
                  </a:cxn>
                  <a:cxn ang="0">
                    <a:pos x="44" y="70"/>
                  </a:cxn>
                  <a:cxn ang="0">
                    <a:pos x="44" y="70"/>
                  </a:cxn>
                  <a:cxn ang="0">
                    <a:pos x="52" y="68"/>
                  </a:cxn>
                  <a:cxn ang="0">
                    <a:pos x="58" y="64"/>
                  </a:cxn>
                  <a:cxn ang="0">
                    <a:pos x="62" y="60"/>
                  </a:cxn>
                  <a:cxn ang="0">
                    <a:pos x="66" y="54"/>
                  </a:cxn>
                  <a:cxn ang="0">
                    <a:pos x="70" y="48"/>
                  </a:cxn>
                  <a:cxn ang="0">
                    <a:pos x="70" y="41"/>
                  </a:cxn>
                  <a:cxn ang="0">
                    <a:pos x="72" y="33"/>
                  </a:cxn>
                  <a:cxn ang="0">
                    <a:pos x="70" y="27"/>
                  </a:cxn>
                  <a:cxn ang="0">
                    <a:pos x="70" y="27"/>
                  </a:cxn>
                  <a:cxn ang="0">
                    <a:pos x="66" y="15"/>
                  </a:cxn>
                  <a:cxn ang="0">
                    <a:pos x="58" y="6"/>
                  </a:cxn>
                  <a:cxn ang="0">
                    <a:pos x="48" y="2"/>
                  </a:cxn>
                  <a:cxn ang="0">
                    <a:pos x="36" y="0"/>
                  </a:cxn>
                </a:cxnLst>
                <a:rect l="0" t="0" r="r" b="b"/>
                <a:pathLst>
                  <a:path w="72" h="72">
                    <a:moveTo>
                      <a:pt x="36" y="0"/>
                    </a:moveTo>
                    <a:lnTo>
                      <a:pt x="3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0" y="2"/>
                    </a:lnTo>
                    <a:lnTo>
                      <a:pt x="14" y="6"/>
                    </a:lnTo>
                    <a:lnTo>
                      <a:pt x="8" y="12"/>
                    </a:lnTo>
                    <a:lnTo>
                      <a:pt x="4" y="17"/>
                    </a:lnTo>
                    <a:lnTo>
                      <a:pt x="2" y="25"/>
                    </a:lnTo>
                    <a:lnTo>
                      <a:pt x="0" y="31"/>
                    </a:lnTo>
                    <a:lnTo>
                      <a:pt x="0" y="37"/>
                    </a:lnTo>
                    <a:lnTo>
                      <a:pt x="2" y="45"/>
                    </a:lnTo>
                    <a:lnTo>
                      <a:pt x="2" y="45"/>
                    </a:lnTo>
                    <a:lnTo>
                      <a:pt x="6" y="56"/>
                    </a:lnTo>
                    <a:lnTo>
                      <a:pt x="14" y="64"/>
                    </a:lnTo>
                    <a:lnTo>
                      <a:pt x="24" y="70"/>
                    </a:lnTo>
                    <a:lnTo>
                      <a:pt x="36" y="72"/>
                    </a:lnTo>
                    <a:lnTo>
                      <a:pt x="36" y="72"/>
                    </a:lnTo>
                    <a:lnTo>
                      <a:pt x="44" y="70"/>
                    </a:lnTo>
                    <a:lnTo>
                      <a:pt x="44" y="70"/>
                    </a:lnTo>
                    <a:lnTo>
                      <a:pt x="52" y="68"/>
                    </a:lnTo>
                    <a:lnTo>
                      <a:pt x="58" y="64"/>
                    </a:lnTo>
                    <a:lnTo>
                      <a:pt x="62" y="60"/>
                    </a:lnTo>
                    <a:lnTo>
                      <a:pt x="66" y="54"/>
                    </a:lnTo>
                    <a:lnTo>
                      <a:pt x="70" y="48"/>
                    </a:lnTo>
                    <a:lnTo>
                      <a:pt x="70" y="41"/>
                    </a:lnTo>
                    <a:lnTo>
                      <a:pt x="72" y="33"/>
                    </a:lnTo>
                    <a:lnTo>
                      <a:pt x="70" y="27"/>
                    </a:lnTo>
                    <a:lnTo>
                      <a:pt x="70" y="27"/>
                    </a:lnTo>
                    <a:lnTo>
                      <a:pt x="66" y="15"/>
                    </a:lnTo>
                    <a:lnTo>
                      <a:pt x="58" y="6"/>
                    </a:lnTo>
                    <a:lnTo>
                      <a:pt x="48" y="2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76" name="Freeform 91"/>
              <p:cNvSpPr>
                <a:spLocks/>
              </p:cNvSpPr>
              <p:nvPr userDrawn="1"/>
            </p:nvSpPr>
            <p:spPr bwMode="auto">
              <a:xfrm>
                <a:off x="3614" y="2459"/>
                <a:ext cx="66" cy="60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33" y="0"/>
                  </a:cxn>
                  <a:cxn ang="0">
                    <a:pos x="25" y="0"/>
                  </a:cxn>
                  <a:cxn ang="0">
                    <a:pos x="25" y="0"/>
                  </a:cxn>
                  <a:cxn ang="0">
                    <a:pos x="19" y="2"/>
                  </a:cxn>
                  <a:cxn ang="0">
                    <a:pos x="12" y="6"/>
                  </a:cxn>
                  <a:cxn ang="0">
                    <a:pos x="4" y="15"/>
                  </a:cxn>
                  <a:cxn ang="0">
                    <a:pos x="0" y="24"/>
                  </a:cxn>
                  <a:cxn ang="0">
                    <a:pos x="0" y="32"/>
                  </a:cxn>
                  <a:cxn ang="0">
                    <a:pos x="2" y="38"/>
                  </a:cxn>
                  <a:cxn ang="0">
                    <a:pos x="2" y="38"/>
                  </a:cxn>
                  <a:cxn ang="0">
                    <a:pos x="6" y="47"/>
                  </a:cxn>
                  <a:cxn ang="0">
                    <a:pos x="15" y="53"/>
                  </a:cxn>
                  <a:cxn ang="0">
                    <a:pos x="23" y="58"/>
                  </a:cxn>
                  <a:cxn ang="0">
                    <a:pos x="33" y="60"/>
                  </a:cxn>
                  <a:cxn ang="0">
                    <a:pos x="33" y="60"/>
                  </a:cxn>
                  <a:cxn ang="0">
                    <a:pos x="41" y="58"/>
                  </a:cxn>
                  <a:cxn ang="0">
                    <a:pos x="41" y="58"/>
                  </a:cxn>
                  <a:cxn ang="0">
                    <a:pos x="48" y="56"/>
                  </a:cxn>
                  <a:cxn ang="0">
                    <a:pos x="54" y="53"/>
                  </a:cxn>
                  <a:cxn ang="0">
                    <a:pos x="62" y="45"/>
                  </a:cxn>
                  <a:cxn ang="0">
                    <a:pos x="66" y="34"/>
                  </a:cxn>
                  <a:cxn ang="0">
                    <a:pos x="66" y="28"/>
                  </a:cxn>
                  <a:cxn ang="0">
                    <a:pos x="66" y="21"/>
                  </a:cxn>
                  <a:cxn ang="0">
                    <a:pos x="66" y="21"/>
                  </a:cxn>
                  <a:cxn ang="0">
                    <a:pos x="60" y="13"/>
                  </a:cxn>
                  <a:cxn ang="0">
                    <a:pos x="54" y="6"/>
                  </a:cxn>
                  <a:cxn ang="0">
                    <a:pos x="44" y="0"/>
                  </a:cxn>
                  <a:cxn ang="0">
                    <a:pos x="33" y="0"/>
                  </a:cxn>
                </a:cxnLst>
                <a:rect l="0" t="0" r="r" b="b"/>
                <a:pathLst>
                  <a:path w="66" h="60">
                    <a:moveTo>
                      <a:pt x="33" y="0"/>
                    </a:moveTo>
                    <a:lnTo>
                      <a:pt x="33" y="0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19" y="2"/>
                    </a:lnTo>
                    <a:lnTo>
                      <a:pt x="12" y="6"/>
                    </a:lnTo>
                    <a:lnTo>
                      <a:pt x="4" y="15"/>
                    </a:lnTo>
                    <a:lnTo>
                      <a:pt x="0" y="24"/>
                    </a:lnTo>
                    <a:lnTo>
                      <a:pt x="0" y="32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6" y="47"/>
                    </a:lnTo>
                    <a:lnTo>
                      <a:pt x="15" y="53"/>
                    </a:lnTo>
                    <a:lnTo>
                      <a:pt x="23" y="58"/>
                    </a:lnTo>
                    <a:lnTo>
                      <a:pt x="33" y="60"/>
                    </a:lnTo>
                    <a:lnTo>
                      <a:pt x="33" y="60"/>
                    </a:lnTo>
                    <a:lnTo>
                      <a:pt x="41" y="58"/>
                    </a:lnTo>
                    <a:lnTo>
                      <a:pt x="41" y="58"/>
                    </a:lnTo>
                    <a:lnTo>
                      <a:pt x="48" y="56"/>
                    </a:lnTo>
                    <a:lnTo>
                      <a:pt x="54" y="53"/>
                    </a:lnTo>
                    <a:lnTo>
                      <a:pt x="62" y="45"/>
                    </a:lnTo>
                    <a:lnTo>
                      <a:pt x="66" y="34"/>
                    </a:lnTo>
                    <a:lnTo>
                      <a:pt x="66" y="28"/>
                    </a:lnTo>
                    <a:lnTo>
                      <a:pt x="66" y="21"/>
                    </a:lnTo>
                    <a:lnTo>
                      <a:pt x="66" y="21"/>
                    </a:lnTo>
                    <a:lnTo>
                      <a:pt x="60" y="13"/>
                    </a:lnTo>
                    <a:lnTo>
                      <a:pt x="54" y="6"/>
                    </a:lnTo>
                    <a:lnTo>
                      <a:pt x="44" y="0"/>
                    </a:lnTo>
                    <a:lnTo>
                      <a:pt x="3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77" name="Freeform 92"/>
              <p:cNvSpPr>
                <a:spLocks/>
              </p:cNvSpPr>
              <p:nvPr userDrawn="1"/>
            </p:nvSpPr>
            <p:spPr bwMode="auto">
              <a:xfrm>
                <a:off x="3614" y="2459"/>
                <a:ext cx="66" cy="60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33" y="0"/>
                  </a:cxn>
                  <a:cxn ang="0">
                    <a:pos x="25" y="0"/>
                  </a:cxn>
                  <a:cxn ang="0">
                    <a:pos x="25" y="0"/>
                  </a:cxn>
                  <a:cxn ang="0">
                    <a:pos x="19" y="2"/>
                  </a:cxn>
                  <a:cxn ang="0">
                    <a:pos x="12" y="6"/>
                  </a:cxn>
                  <a:cxn ang="0">
                    <a:pos x="4" y="15"/>
                  </a:cxn>
                  <a:cxn ang="0">
                    <a:pos x="0" y="24"/>
                  </a:cxn>
                  <a:cxn ang="0">
                    <a:pos x="0" y="32"/>
                  </a:cxn>
                  <a:cxn ang="0">
                    <a:pos x="2" y="38"/>
                  </a:cxn>
                  <a:cxn ang="0">
                    <a:pos x="2" y="38"/>
                  </a:cxn>
                  <a:cxn ang="0">
                    <a:pos x="6" y="47"/>
                  </a:cxn>
                  <a:cxn ang="0">
                    <a:pos x="15" y="53"/>
                  </a:cxn>
                  <a:cxn ang="0">
                    <a:pos x="23" y="58"/>
                  </a:cxn>
                  <a:cxn ang="0">
                    <a:pos x="33" y="60"/>
                  </a:cxn>
                  <a:cxn ang="0">
                    <a:pos x="33" y="60"/>
                  </a:cxn>
                  <a:cxn ang="0">
                    <a:pos x="41" y="58"/>
                  </a:cxn>
                  <a:cxn ang="0">
                    <a:pos x="41" y="58"/>
                  </a:cxn>
                  <a:cxn ang="0">
                    <a:pos x="48" y="56"/>
                  </a:cxn>
                  <a:cxn ang="0">
                    <a:pos x="54" y="53"/>
                  </a:cxn>
                  <a:cxn ang="0">
                    <a:pos x="62" y="45"/>
                  </a:cxn>
                  <a:cxn ang="0">
                    <a:pos x="66" y="34"/>
                  </a:cxn>
                  <a:cxn ang="0">
                    <a:pos x="66" y="28"/>
                  </a:cxn>
                  <a:cxn ang="0">
                    <a:pos x="66" y="21"/>
                  </a:cxn>
                  <a:cxn ang="0">
                    <a:pos x="66" y="21"/>
                  </a:cxn>
                  <a:cxn ang="0">
                    <a:pos x="60" y="13"/>
                  </a:cxn>
                  <a:cxn ang="0">
                    <a:pos x="54" y="6"/>
                  </a:cxn>
                  <a:cxn ang="0">
                    <a:pos x="44" y="0"/>
                  </a:cxn>
                  <a:cxn ang="0">
                    <a:pos x="33" y="0"/>
                  </a:cxn>
                </a:cxnLst>
                <a:rect l="0" t="0" r="r" b="b"/>
                <a:pathLst>
                  <a:path w="66" h="60">
                    <a:moveTo>
                      <a:pt x="33" y="0"/>
                    </a:moveTo>
                    <a:lnTo>
                      <a:pt x="33" y="0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19" y="2"/>
                    </a:lnTo>
                    <a:lnTo>
                      <a:pt x="12" y="6"/>
                    </a:lnTo>
                    <a:lnTo>
                      <a:pt x="4" y="15"/>
                    </a:lnTo>
                    <a:lnTo>
                      <a:pt x="0" y="24"/>
                    </a:lnTo>
                    <a:lnTo>
                      <a:pt x="0" y="32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6" y="47"/>
                    </a:lnTo>
                    <a:lnTo>
                      <a:pt x="15" y="53"/>
                    </a:lnTo>
                    <a:lnTo>
                      <a:pt x="23" y="58"/>
                    </a:lnTo>
                    <a:lnTo>
                      <a:pt x="33" y="60"/>
                    </a:lnTo>
                    <a:lnTo>
                      <a:pt x="33" y="60"/>
                    </a:lnTo>
                    <a:lnTo>
                      <a:pt x="41" y="58"/>
                    </a:lnTo>
                    <a:lnTo>
                      <a:pt x="41" y="58"/>
                    </a:lnTo>
                    <a:lnTo>
                      <a:pt x="48" y="56"/>
                    </a:lnTo>
                    <a:lnTo>
                      <a:pt x="54" y="53"/>
                    </a:lnTo>
                    <a:lnTo>
                      <a:pt x="62" y="45"/>
                    </a:lnTo>
                    <a:lnTo>
                      <a:pt x="66" y="34"/>
                    </a:lnTo>
                    <a:lnTo>
                      <a:pt x="66" y="28"/>
                    </a:lnTo>
                    <a:lnTo>
                      <a:pt x="66" y="21"/>
                    </a:lnTo>
                    <a:lnTo>
                      <a:pt x="66" y="21"/>
                    </a:lnTo>
                    <a:lnTo>
                      <a:pt x="60" y="13"/>
                    </a:lnTo>
                    <a:lnTo>
                      <a:pt x="54" y="6"/>
                    </a:lnTo>
                    <a:lnTo>
                      <a:pt x="44" y="0"/>
                    </a:lnTo>
                    <a:lnTo>
                      <a:pt x="3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78" name="Freeform 93"/>
              <p:cNvSpPr>
                <a:spLocks/>
              </p:cNvSpPr>
              <p:nvPr userDrawn="1"/>
            </p:nvSpPr>
            <p:spPr bwMode="auto">
              <a:xfrm>
                <a:off x="3770" y="2531"/>
                <a:ext cx="54" cy="54"/>
              </a:xfrm>
              <a:custGeom>
                <a:avLst/>
                <a:gdLst/>
                <a:ahLst/>
                <a:cxnLst>
                  <a:cxn ang="0">
                    <a:pos x="28" y="0"/>
                  </a:cxn>
                  <a:cxn ang="0">
                    <a:pos x="28" y="0"/>
                  </a:cxn>
                  <a:cxn ang="0">
                    <a:pos x="21" y="0"/>
                  </a:cxn>
                  <a:cxn ang="0">
                    <a:pos x="21" y="0"/>
                  </a:cxn>
                  <a:cxn ang="0">
                    <a:pos x="11" y="6"/>
                  </a:cxn>
                  <a:cxn ang="0">
                    <a:pos x="4" y="13"/>
                  </a:cxn>
                  <a:cxn ang="0">
                    <a:pos x="0" y="23"/>
                  </a:cxn>
                  <a:cxn ang="0">
                    <a:pos x="2" y="34"/>
                  </a:cxn>
                  <a:cxn ang="0">
                    <a:pos x="2" y="34"/>
                  </a:cxn>
                  <a:cxn ang="0">
                    <a:pos x="6" y="41"/>
                  </a:cxn>
                  <a:cxn ang="0">
                    <a:pos x="11" y="49"/>
                  </a:cxn>
                  <a:cxn ang="0">
                    <a:pos x="19" y="53"/>
                  </a:cxn>
                  <a:cxn ang="0">
                    <a:pos x="28" y="54"/>
                  </a:cxn>
                  <a:cxn ang="0">
                    <a:pos x="28" y="54"/>
                  </a:cxn>
                  <a:cxn ang="0">
                    <a:pos x="34" y="53"/>
                  </a:cxn>
                  <a:cxn ang="0">
                    <a:pos x="34" y="53"/>
                  </a:cxn>
                  <a:cxn ang="0">
                    <a:pos x="45" y="49"/>
                  </a:cxn>
                  <a:cxn ang="0">
                    <a:pos x="51" y="41"/>
                  </a:cxn>
                  <a:cxn ang="0">
                    <a:pos x="54" y="30"/>
                  </a:cxn>
                  <a:cxn ang="0">
                    <a:pos x="54" y="21"/>
                  </a:cxn>
                  <a:cxn ang="0">
                    <a:pos x="54" y="21"/>
                  </a:cxn>
                  <a:cxn ang="0">
                    <a:pos x="51" y="11"/>
                  </a:cxn>
                  <a:cxn ang="0">
                    <a:pos x="43" y="6"/>
                  </a:cxn>
                  <a:cxn ang="0">
                    <a:pos x="36" y="2"/>
                  </a:cxn>
                  <a:cxn ang="0">
                    <a:pos x="28" y="0"/>
                  </a:cxn>
                </a:cxnLst>
                <a:rect l="0" t="0" r="r" b="b"/>
                <a:pathLst>
                  <a:path w="54" h="54">
                    <a:moveTo>
                      <a:pt x="28" y="0"/>
                    </a:moveTo>
                    <a:lnTo>
                      <a:pt x="28" y="0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11" y="6"/>
                    </a:lnTo>
                    <a:lnTo>
                      <a:pt x="4" y="13"/>
                    </a:lnTo>
                    <a:lnTo>
                      <a:pt x="0" y="23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6" y="41"/>
                    </a:lnTo>
                    <a:lnTo>
                      <a:pt x="11" y="49"/>
                    </a:lnTo>
                    <a:lnTo>
                      <a:pt x="19" y="53"/>
                    </a:lnTo>
                    <a:lnTo>
                      <a:pt x="28" y="54"/>
                    </a:lnTo>
                    <a:lnTo>
                      <a:pt x="28" y="54"/>
                    </a:lnTo>
                    <a:lnTo>
                      <a:pt x="34" y="53"/>
                    </a:lnTo>
                    <a:lnTo>
                      <a:pt x="34" y="53"/>
                    </a:lnTo>
                    <a:lnTo>
                      <a:pt x="45" y="49"/>
                    </a:lnTo>
                    <a:lnTo>
                      <a:pt x="51" y="41"/>
                    </a:lnTo>
                    <a:lnTo>
                      <a:pt x="54" y="30"/>
                    </a:lnTo>
                    <a:lnTo>
                      <a:pt x="54" y="21"/>
                    </a:lnTo>
                    <a:lnTo>
                      <a:pt x="54" y="21"/>
                    </a:lnTo>
                    <a:lnTo>
                      <a:pt x="51" y="11"/>
                    </a:lnTo>
                    <a:lnTo>
                      <a:pt x="43" y="6"/>
                    </a:lnTo>
                    <a:lnTo>
                      <a:pt x="36" y="2"/>
                    </a:lnTo>
                    <a:lnTo>
                      <a:pt x="2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79" name="Freeform 94"/>
              <p:cNvSpPr>
                <a:spLocks/>
              </p:cNvSpPr>
              <p:nvPr userDrawn="1"/>
            </p:nvSpPr>
            <p:spPr bwMode="auto">
              <a:xfrm>
                <a:off x="3770" y="2531"/>
                <a:ext cx="54" cy="54"/>
              </a:xfrm>
              <a:custGeom>
                <a:avLst/>
                <a:gdLst/>
                <a:ahLst/>
                <a:cxnLst>
                  <a:cxn ang="0">
                    <a:pos x="28" y="0"/>
                  </a:cxn>
                  <a:cxn ang="0">
                    <a:pos x="28" y="0"/>
                  </a:cxn>
                  <a:cxn ang="0">
                    <a:pos x="21" y="0"/>
                  </a:cxn>
                  <a:cxn ang="0">
                    <a:pos x="21" y="0"/>
                  </a:cxn>
                  <a:cxn ang="0">
                    <a:pos x="11" y="6"/>
                  </a:cxn>
                  <a:cxn ang="0">
                    <a:pos x="4" y="13"/>
                  </a:cxn>
                  <a:cxn ang="0">
                    <a:pos x="0" y="23"/>
                  </a:cxn>
                  <a:cxn ang="0">
                    <a:pos x="2" y="34"/>
                  </a:cxn>
                  <a:cxn ang="0">
                    <a:pos x="2" y="34"/>
                  </a:cxn>
                  <a:cxn ang="0">
                    <a:pos x="6" y="41"/>
                  </a:cxn>
                  <a:cxn ang="0">
                    <a:pos x="11" y="49"/>
                  </a:cxn>
                  <a:cxn ang="0">
                    <a:pos x="19" y="53"/>
                  </a:cxn>
                  <a:cxn ang="0">
                    <a:pos x="28" y="54"/>
                  </a:cxn>
                  <a:cxn ang="0">
                    <a:pos x="28" y="54"/>
                  </a:cxn>
                  <a:cxn ang="0">
                    <a:pos x="34" y="53"/>
                  </a:cxn>
                  <a:cxn ang="0">
                    <a:pos x="34" y="53"/>
                  </a:cxn>
                  <a:cxn ang="0">
                    <a:pos x="45" y="49"/>
                  </a:cxn>
                  <a:cxn ang="0">
                    <a:pos x="51" y="41"/>
                  </a:cxn>
                  <a:cxn ang="0">
                    <a:pos x="54" y="30"/>
                  </a:cxn>
                  <a:cxn ang="0">
                    <a:pos x="54" y="21"/>
                  </a:cxn>
                  <a:cxn ang="0">
                    <a:pos x="54" y="21"/>
                  </a:cxn>
                  <a:cxn ang="0">
                    <a:pos x="51" y="11"/>
                  </a:cxn>
                  <a:cxn ang="0">
                    <a:pos x="43" y="6"/>
                  </a:cxn>
                  <a:cxn ang="0">
                    <a:pos x="36" y="2"/>
                  </a:cxn>
                  <a:cxn ang="0">
                    <a:pos x="28" y="0"/>
                  </a:cxn>
                </a:cxnLst>
                <a:rect l="0" t="0" r="r" b="b"/>
                <a:pathLst>
                  <a:path w="54" h="54">
                    <a:moveTo>
                      <a:pt x="28" y="0"/>
                    </a:moveTo>
                    <a:lnTo>
                      <a:pt x="28" y="0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11" y="6"/>
                    </a:lnTo>
                    <a:lnTo>
                      <a:pt x="4" y="13"/>
                    </a:lnTo>
                    <a:lnTo>
                      <a:pt x="0" y="23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6" y="41"/>
                    </a:lnTo>
                    <a:lnTo>
                      <a:pt x="11" y="49"/>
                    </a:lnTo>
                    <a:lnTo>
                      <a:pt x="19" y="53"/>
                    </a:lnTo>
                    <a:lnTo>
                      <a:pt x="28" y="54"/>
                    </a:lnTo>
                    <a:lnTo>
                      <a:pt x="28" y="54"/>
                    </a:lnTo>
                    <a:lnTo>
                      <a:pt x="34" y="53"/>
                    </a:lnTo>
                    <a:lnTo>
                      <a:pt x="34" y="53"/>
                    </a:lnTo>
                    <a:lnTo>
                      <a:pt x="45" y="49"/>
                    </a:lnTo>
                    <a:lnTo>
                      <a:pt x="51" y="41"/>
                    </a:lnTo>
                    <a:lnTo>
                      <a:pt x="54" y="30"/>
                    </a:lnTo>
                    <a:lnTo>
                      <a:pt x="54" y="21"/>
                    </a:lnTo>
                    <a:lnTo>
                      <a:pt x="54" y="21"/>
                    </a:lnTo>
                    <a:lnTo>
                      <a:pt x="51" y="11"/>
                    </a:lnTo>
                    <a:lnTo>
                      <a:pt x="43" y="6"/>
                    </a:lnTo>
                    <a:lnTo>
                      <a:pt x="36" y="2"/>
                    </a:lnTo>
                    <a:lnTo>
                      <a:pt x="2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80" name="Freeform 95"/>
              <p:cNvSpPr>
                <a:spLocks/>
              </p:cNvSpPr>
              <p:nvPr userDrawn="1"/>
            </p:nvSpPr>
            <p:spPr bwMode="auto">
              <a:xfrm>
                <a:off x="3908" y="2627"/>
                <a:ext cx="48" cy="48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9" y="0"/>
                  </a:cxn>
                  <a:cxn ang="0">
                    <a:pos x="19" y="0"/>
                  </a:cxn>
                  <a:cxn ang="0">
                    <a:pos x="9" y="4"/>
                  </a:cxn>
                  <a:cxn ang="0">
                    <a:pos x="4" y="12"/>
                  </a:cxn>
                  <a:cxn ang="0">
                    <a:pos x="0" y="21"/>
                  </a:cxn>
                  <a:cxn ang="0">
                    <a:pos x="2" y="31"/>
                  </a:cxn>
                  <a:cxn ang="0">
                    <a:pos x="2" y="31"/>
                  </a:cxn>
                  <a:cxn ang="0">
                    <a:pos x="4" y="39"/>
                  </a:cxn>
                  <a:cxn ang="0">
                    <a:pos x="9" y="44"/>
                  </a:cxn>
                  <a:cxn ang="0">
                    <a:pos x="17" y="48"/>
                  </a:cxn>
                  <a:cxn ang="0">
                    <a:pos x="24" y="48"/>
                  </a:cxn>
                  <a:cxn ang="0">
                    <a:pos x="24" y="48"/>
                  </a:cxn>
                  <a:cxn ang="0">
                    <a:pos x="30" y="48"/>
                  </a:cxn>
                  <a:cxn ang="0">
                    <a:pos x="30" y="48"/>
                  </a:cxn>
                  <a:cxn ang="0">
                    <a:pos x="39" y="44"/>
                  </a:cxn>
                  <a:cxn ang="0">
                    <a:pos x="45" y="37"/>
                  </a:cxn>
                  <a:cxn ang="0">
                    <a:pos x="48" y="27"/>
                  </a:cxn>
                  <a:cxn ang="0">
                    <a:pos x="47" y="18"/>
                  </a:cxn>
                  <a:cxn ang="0">
                    <a:pos x="47" y="18"/>
                  </a:cxn>
                  <a:cxn ang="0">
                    <a:pos x="45" y="10"/>
                  </a:cxn>
                  <a:cxn ang="0">
                    <a:pos x="39" y="4"/>
                  </a:cxn>
                  <a:cxn ang="0">
                    <a:pos x="32" y="0"/>
                  </a:cxn>
                  <a:cxn ang="0">
                    <a:pos x="24" y="0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lnTo>
                      <a:pt x="24" y="0"/>
                    </a:lnTo>
                    <a:lnTo>
                      <a:pt x="19" y="0"/>
                    </a:lnTo>
                    <a:lnTo>
                      <a:pt x="19" y="0"/>
                    </a:lnTo>
                    <a:lnTo>
                      <a:pt x="9" y="4"/>
                    </a:lnTo>
                    <a:lnTo>
                      <a:pt x="4" y="12"/>
                    </a:lnTo>
                    <a:lnTo>
                      <a:pt x="0" y="21"/>
                    </a:lnTo>
                    <a:lnTo>
                      <a:pt x="2" y="31"/>
                    </a:lnTo>
                    <a:lnTo>
                      <a:pt x="2" y="31"/>
                    </a:lnTo>
                    <a:lnTo>
                      <a:pt x="4" y="39"/>
                    </a:lnTo>
                    <a:lnTo>
                      <a:pt x="9" y="44"/>
                    </a:lnTo>
                    <a:lnTo>
                      <a:pt x="17" y="48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39" y="44"/>
                    </a:lnTo>
                    <a:lnTo>
                      <a:pt x="45" y="37"/>
                    </a:lnTo>
                    <a:lnTo>
                      <a:pt x="48" y="27"/>
                    </a:lnTo>
                    <a:lnTo>
                      <a:pt x="47" y="18"/>
                    </a:lnTo>
                    <a:lnTo>
                      <a:pt x="47" y="18"/>
                    </a:lnTo>
                    <a:lnTo>
                      <a:pt x="45" y="10"/>
                    </a:lnTo>
                    <a:lnTo>
                      <a:pt x="39" y="4"/>
                    </a:lnTo>
                    <a:lnTo>
                      <a:pt x="32" y="0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81" name="Freeform 96"/>
              <p:cNvSpPr>
                <a:spLocks/>
              </p:cNvSpPr>
              <p:nvPr userDrawn="1"/>
            </p:nvSpPr>
            <p:spPr bwMode="auto">
              <a:xfrm>
                <a:off x="3908" y="2627"/>
                <a:ext cx="48" cy="48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9" y="0"/>
                  </a:cxn>
                  <a:cxn ang="0">
                    <a:pos x="19" y="0"/>
                  </a:cxn>
                  <a:cxn ang="0">
                    <a:pos x="9" y="4"/>
                  </a:cxn>
                  <a:cxn ang="0">
                    <a:pos x="4" y="12"/>
                  </a:cxn>
                  <a:cxn ang="0">
                    <a:pos x="0" y="21"/>
                  </a:cxn>
                  <a:cxn ang="0">
                    <a:pos x="2" y="31"/>
                  </a:cxn>
                  <a:cxn ang="0">
                    <a:pos x="2" y="31"/>
                  </a:cxn>
                  <a:cxn ang="0">
                    <a:pos x="4" y="39"/>
                  </a:cxn>
                  <a:cxn ang="0">
                    <a:pos x="9" y="44"/>
                  </a:cxn>
                  <a:cxn ang="0">
                    <a:pos x="17" y="48"/>
                  </a:cxn>
                  <a:cxn ang="0">
                    <a:pos x="24" y="48"/>
                  </a:cxn>
                  <a:cxn ang="0">
                    <a:pos x="24" y="48"/>
                  </a:cxn>
                  <a:cxn ang="0">
                    <a:pos x="30" y="48"/>
                  </a:cxn>
                  <a:cxn ang="0">
                    <a:pos x="30" y="48"/>
                  </a:cxn>
                  <a:cxn ang="0">
                    <a:pos x="39" y="44"/>
                  </a:cxn>
                  <a:cxn ang="0">
                    <a:pos x="45" y="37"/>
                  </a:cxn>
                  <a:cxn ang="0">
                    <a:pos x="48" y="27"/>
                  </a:cxn>
                  <a:cxn ang="0">
                    <a:pos x="47" y="18"/>
                  </a:cxn>
                  <a:cxn ang="0">
                    <a:pos x="47" y="18"/>
                  </a:cxn>
                  <a:cxn ang="0">
                    <a:pos x="45" y="10"/>
                  </a:cxn>
                  <a:cxn ang="0">
                    <a:pos x="39" y="4"/>
                  </a:cxn>
                  <a:cxn ang="0">
                    <a:pos x="32" y="0"/>
                  </a:cxn>
                  <a:cxn ang="0">
                    <a:pos x="24" y="0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lnTo>
                      <a:pt x="24" y="0"/>
                    </a:lnTo>
                    <a:lnTo>
                      <a:pt x="19" y="0"/>
                    </a:lnTo>
                    <a:lnTo>
                      <a:pt x="19" y="0"/>
                    </a:lnTo>
                    <a:lnTo>
                      <a:pt x="9" y="4"/>
                    </a:lnTo>
                    <a:lnTo>
                      <a:pt x="4" y="12"/>
                    </a:lnTo>
                    <a:lnTo>
                      <a:pt x="0" y="21"/>
                    </a:lnTo>
                    <a:lnTo>
                      <a:pt x="2" y="31"/>
                    </a:lnTo>
                    <a:lnTo>
                      <a:pt x="2" y="31"/>
                    </a:lnTo>
                    <a:lnTo>
                      <a:pt x="4" y="39"/>
                    </a:lnTo>
                    <a:lnTo>
                      <a:pt x="9" y="44"/>
                    </a:lnTo>
                    <a:lnTo>
                      <a:pt x="17" y="48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39" y="44"/>
                    </a:lnTo>
                    <a:lnTo>
                      <a:pt x="45" y="37"/>
                    </a:lnTo>
                    <a:lnTo>
                      <a:pt x="48" y="27"/>
                    </a:lnTo>
                    <a:lnTo>
                      <a:pt x="47" y="18"/>
                    </a:lnTo>
                    <a:lnTo>
                      <a:pt x="47" y="18"/>
                    </a:lnTo>
                    <a:lnTo>
                      <a:pt x="45" y="10"/>
                    </a:lnTo>
                    <a:lnTo>
                      <a:pt x="39" y="4"/>
                    </a:lnTo>
                    <a:lnTo>
                      <a:pt x="32" y="0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82" name="Freeform 97"/>
              <p:cNvSpPr>
                <a:spLocks/>
              </p:cNvSpPr>
              <p:nvPr userDrawn="1"/>
            </p:nvSpPr>
            <p:spPr bwMode="auto">
              <a:xfrm>
                <a:off x="4028" y="2747"/>
                <a:ext cx="42" cy="42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5" y="0"/>
                  </a:cxn>
                  <a:cxn ang="0">
                    <a:pos x="15" y="0"/>
                  </a:cxn>
                  <a:cxn ang="0">
                    <a:pos x="8" y="4"/>
                  </a:cxn>
                  <a:cxn ang="0">
                    <a:pos x="2" y="11"/>
                  </a:cxn>
                  <a:cxn ang="0">
                    <a:pos x="0" y="18"/>
                  </a:cxn>
                  <a:cxn ang="0">
                    <a:pos x="0" y="28"/>
                  </a:cxn>
                  <a:cxn ang="0">
                    <a:pos x="0" y="28"/>
                  </a:cxn>
                  <a:cxn ang="0">
                    <a:pos x="2" y="33"/>
                  </a:cxn>
                  <a:cxn ang="0">
                    <a:pos x="8" y="39"/>
                  </a:cxn>
                  <a:cxn ang="0">
                    <a:pos x="13" y="42"/>
                  </a:cxn>
                  <a:cxn ang="0">
                    <a:pos x="20" y="42"/>
                  </a:cxn>
                  <a:cxn ang="0">
                    <a:pos x="20" y="42"/>
                  </a:cxn>
                  <a:cxn ang="0">
                    <a:pos x="26" y="42"/>
                  </a:cxn>
                  <a:cxn ang="0">
                    <a:pos x="26" y="42"/>
                  </a:cxn>
                  <a:cxn ang="0">
                    <a:pos x="33" y="39"/>
                  </a:cxn>
                  <a:cxn ang="0">
                    <a:pos x="39" y="31"/>
                  </a:cxn>
                  <a:cxn ang="0">
                    <a:pos x="42" y="24"/>
                  </a:cxn>
                  <a:cxn ang="0">
                    <a:pos x="41" y="17"/>
                  </a:cxn>
                  <a:cxn ang="0">
                    <a:pos x="41" y="17"/>
                  </a:cxn>
                  <a:cxn ang="0">
                    <a:pos x="39" y="9"/>
                  </a:cxn>
                  <a:cxn ang="0">
                    <a:pos x="33" y="4"/>
                  </a:cxn>
                  <a:cxn ang="0">
                    <a:pos x="28" y="2"/>
                  </a:cxn>
                  <a:cxn ang="0">
                    <a:pos x="20" y="0"/>
                  </a:cxn>
                </a:cxnLst>
                <a:rect l="0" t="0" r="r" b="b"/>
                <a:pathLst>
                  <a:path w="42" h="42">
                    <a:moveTo>
                      <a:pt x="20" y="0"/>
                    </a:moveTo>
                    <a:lnTo>
                      <a:pt x="20" y="0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8" y="4"/>
                    </a:lnTo>
                    <a:lnTo>
                      <a:pt x="2" y="11"/>
                    </a:lnTo>
                    <a:lnTo>
                      <a:pt x="0" y="18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2" y="33"/>
                    </a:lnTo>
                    <a:lnTo>
                      <a:pt x="8" y="39"/>
                    </a:lnTo>
                    <a:lnTo>
                      <a:pt x="13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33" y="39"/>
                    </a:lnTo>
                    <a:lnTo>
                      <a:pt x="39" y="31"/>
                    </a:lnTo>
                    <a:lnTo>
                      <a:pt x="42" y="24"/>
                    </a:lnTo>
                    <a:lnTo>
                      <a:pt x="41" y="17"/>
                    </a:lnTo>
                    <a:lnTo>
                      <a:pt x="41" y="17"/>
                    </a:lnTo>
                    <a:lnTo>
                      <a:pt x="39" y="9"/>
                    </a:lnTo>
                    <a:lnTo>
                      <a:pt x="33" y="4"/>
                    </a:lnTo>
                    <a:lnTo>
                      <a:pt x="28" y="2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83" name="Freeform 98"/>
              <p:cNvSpPr>
                <a:spLocks/>
              </p:cNvSpPr>
              <p:nvPr userDrawn="1"/>
            </p:nvSpPr>
            <p:spPr bwMode="auto">
              <a:xfrm>
                <a:off x="4028" y="2747"/>
                <a:ext cx="42" cy="42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5" y="0"/>
                  </a:cxn>
                  <a:cxn ang="0">
                    <a:pos x="15" y="0"/>
                  </a:cxn>
                  <a:cxn ang="0">
                    <a:pos x="8" y="4"/>
                  </a:cxn>
                  <a:cxn ang="0">
                    <a:pos x="2" y="11"/>
                  </a:cxn>
                  <a:cxn ang="0">
                    <a:pos x="0" y="18"/>
                  </a:cxn>
                  <a:cxn ang="0">
                    <a:pos x="0" y="28"/>
                  </a:cxn>
                  <a:cxn ang="0">
                    <a:pos x="0" y="28"/>
                  </a:cxn>
                  <a:cxn ang="0">
                    <a:pos x="2" y="33"/>
                  </a:cxn>
                  <a:cxn ang="0">
                    <a:pos x="8" y="39"/>
                  </a:cxn>
                  <a:cxn ang="0">
                    <a:pos x="13" y="42"/>
                  </a:cxn>
                  <a:cxn ang="0">
                    <a:pos x="20" y="42"/>
                  </a:cxn>
                  <a:cxn ang="0">
                    <a:pos x="20" y="42"/>
                  </a:cxn>
                  <a:cxn ang="0">
                    <a:pos x="26" y="42"/>
                  </a:cxn>
                  <a:cxn ang="0">
                    <a:pos x="26" y="42"/>
                  </a:cxn>
                  <a:cxn ang="0">
                    <a:pos x="33" y="39"/>
                  </a:cxn>
                  <a:cxn ang="0">
                    <a:pos x="39" y="31"/>
                  </a:cxn>
                  <a:cxn ang="0">
                    <a:pos x="42" y="24"/>
                  </a:cxn>
                  <a:cxn ang="0">
                    <a:pos x="41" y="17"/>
                  </a:cxn>
                  <a:cxn ang="0">
                    <a:pos x="41" y="17"/>
                  </a:cxn>
                  <a:cxn ang="0">
                    <a:pos x="39" y="9"/>
                  </a:cxn>
                  <a:cxn ang="0">
                    <a:pos x="33" y="4"/>
                  </a:cxn>
                  <a:cxn ang="0">
                    <a:pos x="28" y="2"/>
                  </a:cxn>
                  <a:cxn ang="0">
                    <a:pos x="20" y="0"/>
                  </a:cxn>
                </a:cxnLst>
                <a:rect l="0" t="0" r="r" b="b"/>
                <a:pathLst>
                  <a:path w="42" h="42">
                    <a:moveTo>
                      <a:pt x="20" y="0"/>
                    </a:moveTo>
                    <a:lnTo>
                      <a:pt x="20" y="0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8" y="4"/>
                    </a:lnTo>
                    <a:lnTo>
                      <a:pt x="2" y="11"/>
                    </a:lnTo>
                    <a:lnTo>
                      <a:pt x="0" y="18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2" y="33"/>
                    </a:lnTo>
                    <a:lnTo>
                      <a:pt x="8" y="39"/>
                    </a:lnTo>
                    <a:lnTo>
                      <a:pt x="13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33" y="39"/>
                    </a:lnTo>
                    <a:lnTo>
                      <a:pt x="39" y="31"/>
                    </a:lnTo>
                    <a:lnTo>
                      <a:pt x="42" y="24"/>
                    </a:lnTo>
                    <a:lnTo>
                      <a:pt x="41" y="17"/>
                    </a:lnTo>
                    <a:lnTo>
                      <a:pt x="41" y="17"/>
                    </a:lnTo>
                    <a:lnTo>
                      <a:pt x="39" y="9"/>
                    </a:lnTo>
                    <a:lnTo>
                      <a:pt x="33" y="4"/>
                    </a:lnTo>
                    <a:lnTo>
                      <a:pt x="28" y="2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84" name="Freeform 99"/>
              <p:cNvSpPr>
                <a:spLocks/>
              </p:cNvSpPr>
              <p:nvPr userDrawn="1"/>
            </p:nvSpPr>
            <p:spPr bwMode="auto">
              <a:xfrm>
                <a:off x="4124" y="2879"/>
                <a:ext cx="42" cy="42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8" y="6"/>
                  </a:cxn>
                  <a:cxn ang="0">
                    <a:pos x="2" y="12"/>
                  </a:cxn>
                  <a:cxn ang="0">
                    <a:pos x="0" y="18"/>
                  </a:cxn>
                  <a:cxn ang="0">
                    <a:pos x="0" y="28"/>
                  </a:cxn>
                  <a:cxn ang="0">
                    <a:pos x="0" y="28"/>
                  </a:cxn>
                  <a:cxn ang="0">
                    <a:pos x="4" y="34"/>
                  </a:cxn>
                  <a:cxn ang="0">
                    <a:pos x="8" y="38"/>
                  </a:cxn>
                  <a:cxn ang="0">
                    <a:pos x="14" y="42"/>
                  </a:cxn>
                  <a:cxn ang="0">
                    <a:pos x="20" y="42"/>
                  </a:cxn>
                  <a:cxn ang="0">
                    <a:pos x="20" y="42"/>
                  </a:cxn>
                  <a:cxn ang="0">
                    <a:pos x="26" y="42"/>
                  </a:cxn>
                  <a:cxn ang="0">
                    <a:pos x="26" y="42"/>
                  </a:cxn>
                  <a:cxn ang="0">
                    <a:pos x="34" y="38"/>
                  </a:cxn>
                  <a:cxn ang="0">
                    <a:pos x="38" y="32"/>
                  </a:cxn>
                  <a:cxn ang="0">
                    <a:pos x="42" y="24"/>
                  </a:cxn>
                  <a:cxn ang="0">
                    <a:pos x="40" y="16"/>
                  </a:cxn>
                  <a:cxn ang="0">
                    <a:pos x="40" y="16"/>
                  </a:cxn>
                  <a:cxn ang="0">
                    <a:pos x="38" y="10"/>
                  </a:cxn>
                  <a:cxn ang="0">
                    <a:pos x="34" y="6"/>
                  </a:cxn>
                  <a:cxn ang="0">
                    <a:pos x="28" y="2"/>
                  </a:cxn>
                  <a:cxn ang="0">
                    <a:pos x="20" y="0"/>
                  </a:cxn>
                </a:cxnLst>
                <a:rect l="0" t="0" r="r" b="b"/>
                <a:pathLst>
                  <a:path w="42" h="42">
                    <a:moveTo>
                      <a:pt x="20" y="0"/>
                    </a:moveTo>
                    <a:lnTo>
                      <a:pt x="20" y="0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8" y="6"/>
                    </a:lnTo>
                    <a:lnTo>
                      <a:pt x="2" y="12"/>
                    </a:lnTo>
                    <a:lnTo>
                      <a:pt x="0" y="18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4" y="34"/>
                    </a:lnTo>
                    <a:lnTo>
                      <a:pt x="8" y="38"/>
                    </a:lnTo>
                    <a:lnTo>
                      <a:pt x="14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34" y="38"/>
                    </a:lnTo>
                    <a:lnTo>
                      <a:pt x="38" y="32"/>
                    </a:lnTo>
                    <a:lnTo>
                      <a:pt x="42" y="24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38" y="10"/>
                    </a:lnTo>
                    <a:lnTo>
                      <a:pt x="34" y="6"/>
                    </a:lnTo>
                    <a:lnTo>
                      <a:pt x="28" y="2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85" name="Freeform 100"/>
              <p:cNvSpPr>
                <a:spLocks/>
              </p:cNvSpPr>
              <p:nvPr userDrawn="1"/>
            </p:nvSpPr>
            <p:spPr bwMode="auto">
              <a:xfrm>
                <a:off x="4124" y="2879"/>
                <a:ext cx="42" cy="42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8" y="6"/>
                  </a:cxn>
                  <a:cxn ang="0">
                    <a:pos x="2" y="12"/>
                  </a:cxn>
                  <a:cxn ang="0">
                    <a:pos x="0" y="18"/>
                  </a:cxn>
                  <a:cxn ang="0">
                    <a:pos x="0" y="28"/>
                  </a:cxn>
                  <a:cxn ang="0">
                    <a:pos x="0" y="28"/>
                  </a:cxn>
                  <a:cxn ang="0">
                    <a:pos x="4" y="34"/>
                  </a:cxn>
                  <a:cxn ang="0">
                    <a:pos x="8" y="38"/>
                  </a:cxn>
                  <a:cxn ang="0">
                    <a:pos x="14" y="42"/>
                  </a:cxn>
                  <a:cxn ang="0">
                    <a:pos x="20" y="42"/>
                  </a:cxn>
                  <a:cxn ang="0">
                    <a:pos x="20" y="42"/>
                  </a:cxn>
                  <a:cxn ang="0">
                    <a:pos x="26" y="42"/>
                  </a:cxn>
                  <a:cxn ang="0">
                    <a:pos x="26" y="42"/>
                  </a:cxn>
                  <a:cxn ang="0">
                    <a:pos x="34" y="38"/>
                  </a:cxn>
                  <a:cxn ang="0">
                    <a:pos x="38" y="32"/>
                  </a:cxn>
                  <a:cxn ang="0">
                    <a:pos x="42" y="24"/>
                  </a:cxn>
                  <a:cxn ang="0">
                    <a:pos x="40" y="16"/>
                  </a:cxn>
                  <a:cxn ang="0">
                    <a:pos x="40" y="16"/>
                  </a:cxn>
                  <a:cxn ang="0">
                    <a:pos x="38" y="10"/>
                  </a:cxn>
                  <a:cxn ang="0">
                    <a:pos x="34" y="6"/>
                  </a:cxn>
                  <a:cxn ang="0">
                    <a:pos x="28" y="2"/>
                  </a:cxn>
                  <a:cxn ang="0">
                    <a:pos x="20" y="0"/>
                  </a:cxn>
                </a:cxnLst>
                <a:rect l="0" t="0" r="r" b="b"/>
                <a:pathLst>
                  <a:path w="42" h="42">
                    <a:moveTo>
                      <a:pt x="20" y="0"/>
                    </a:moveTo>
                    <a:lnTo>
                      <a:pt x="20" y="0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8" y="6"/>
                    </a:lnTo>
                    <a:lnTo>
                      <a:pt x="2" y="12"/>
                    </a:lnTo>
                    <a:lnTo>
                      <a:pt x="0" y="18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4" y="34"/>
                    </a:lnTo>
                    <a:lnTo>
                      <a:pt x="8" y="38"/>
                    </a:lnTo>
                    <a:lnTo>
                      <a:pt x="14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34" y="38"/>
                    </a:lnTo>
                    <a:lnTo>
                      <a:pt x="38" y="32"/>
                    </a:lnTo>
                    <a:lnTo>
                      <a:pt x="42" y="24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38" y="10"/>
                    </a:lnTo>
                    <a:lnTo>
                      <a:pt x="34" y="6"/>
                    </a:lnTo>
                    <a:lnTo>
                      <a:pt x="28" y="2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86" name="Freeform 101"/>
              <p:cNvSpPr>
                <a:spLocks/>
              </p:cNvSpPr>
              <p:nvPr userDrawn="1"/>
            </p:nvSpPr>
            <p:spPr bwMode="auto">
              <a:xfrm>
                <a:off x="4196" y="3035"/>
                <a:ext cx="36" cy="36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5"/>
                  </a:cxn>
                  <a:cxn ang="0">
                    <a:pos x="0" y="23"/>
                  </a:cxn>
                  <a:cxn ang="0">
                    <a:pos x="0" y="23"/>
                  </a:cxn>
                  <a:cxn ang="0">
                    <a:pos x="2" y="29"/>
                  </a:cxn>
                  <a:cxn ang="0">
                    <a:pos x="6" y="32"/>
                  </a:cxn>
                  <a:cxn ang="0">
                    <a:pos x="12" y="34"/>
                  </a:cxn>
                  <a:cxn ang="0">
                    <a:pos x="18" y="36"/>
                  </a:cxn>
                  <a:cxn ang="0">
                    <a:pos x="18" y="36"/>
                  </a:cxn>
                  <a:cxn ang="0">
                    <a:pos x="22" y="34"/>
                  </a:cxn>
                  <a:cxn ang="0">
                    <a:pos x="22" y="34"/>
                  </a:cxn>
                  <a:cxn ang="0">
                    <a:pos x="30" y="32"/>
                  </a:cxn>
                  <a:cxn ang="0">
                    <a:pos x="34" y="27"/>
                  </a:cxn>
                  <a:cxn ang="0">
                    <a:pos x="36" y="21"/>
                  </a:cxn>
                  <a:cxn ang="0">
                    <a:pos x="36" y="14"/>
                  </a:cxn>
                  <a:cxn ang="0">
                    <a:pos x="36" y="14"/>
                  </a:cxn>
                  <a:cxn ang="0">
                    <a:pos x="34" y="8"/>
                  </a:cxn>
                  <a:cxn ang="0">
                    <a:pos x="30" y="4"/>
                  </a:cxn>
                  <a:cxn ang="0">
                    <a:pos x="24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6">
                    <a:moveTo>
                      <a:pt x="18" y="0"/>
                    </a:moveTo>
                    <a:lnTo>
                      <a:pt x="18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5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2" y="29"/>
                    </a:lnTo>
                    <a:lnTo>
                      <a:pt x="6" y="32"/>
                    </a:lnTo>
                    <a:lnTo>
                      <a:pt x="12" y="34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30" y="32"/>
                    </a:lnTo>
                    <a:lnTo>
                      <a:pt x="34" y="27"/>
                    </a:lnTo>
                    <a:lnTo>
                      <a:pt x="36" y="21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4" y="8"/>
                    </a:lnTo>
                    <a:lnTo>
                      <a:pt x="30" y="4"/>
                    </a:lnTo>
                    <a:lnTo>
                      <a:pt x="24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87" name="Freeform 102"/>
              <p:cNvSpPr>
                <a:spLocks/>
              </p:cNvSpPr>
              <p:nvPr userDrawn="1"/>
            </p:nvSpPr>
            <p:spPr bwMode="auto">
              <a:xfrm>
                <a:off x="4196" y="3035"/>
                <a:ext cx="36" cy="36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5"/>
                  </a:cxn>
                  <a:cxn ang="0">
                    <a:pos x="0" y="23"/>
                  </a:cxn>
                  <a:cxn ang="0">
                    <a:pos x="0" y="23"/>
                  </a:cxn>
                  <a:cxn ang="0">
                    <a:pos x="2" y="29"/>
                  </a:cxn>
                  <a:cxn ang="0">
                    <a:pos x="6" y="32"/>
                  </a:cxn>
                  <a:cxn ang="0">
                    <a:pos x="12" y="34"/>
                  </a:cxn>
                  <a:cxn ang="0">
                    <a:pos x="18" y="36"/>
                  </a:cxn>
                  <a:cxn ang="0">
                    <a:pos x="18" y="36"/>
                  </a:cxn>
                  <a:cxn ang="0">
                    <a:pos x="22" y="34"/>
                  </a:cxn>
                  <a:cxn ang="0">
                    <a:pos x="22" y="34"/>
                  </a:cxn>
                  <a:cxn ang="0">
                    <a:pos x="30" y="32"/>
                  </a:cxn>
                  <a:cxn ang="0">
                    <a:pos x="34" y="27"/>
                  </a:cxn>
                  <a:cxn ang="0">
                    <a:pos x="36" y="21"/>
                  </a:cxn>
                  <a:cxn ang="0">
                    <a:pos x="36" y="14"/>
                  </a:cxn>
                  <a:cxn ang="0">
                    <a:pos x="36" y="14"/>
                  </a:cxn>
                  <a:cxn ang="0">
                    <a:pos x="34" y="8"/>
                  </a:cxn>
                  <a:cxn ang="0">
                    <a:pos x="30" y="4"/>
                  </a:cxn>
                  <a:cxn ang="0">
                    <a:pos x="24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6">
                    <a:moveTo>
                      <a:pt x="18" y="0"/>
                    </a:moveTo>
                    <a:lnTo>
                      <a:pt x="18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5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2" y="29"/>
                    </a:lnTo>
                    <a:lnTo>
                      <a:pt x="6" y="32"/>
                    </a:lnTo>
                    <a:lnTo>
                      <a:pt x="12" y="34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30" y="32"/>
                    </a:lnTo>
                    <a:lnTo>
                      <a:pt x="34" y="27"/>
                    </a:lnTo>
                    <a:lnTo>
                      <a:pt x="36" y="21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4" y="8"/>
                    </a:lnTo>
                    <a:lnTo>
                      <a:pt x="30" y="4"/>
                    </a:lnTo>
                    <a:lnTo>
                      <a:pt x="24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88" name="Freeform 103"/>
              <p:cNvSpPr>
                <a:spLocks/>
              </p:cNvSpPr>
              <p:nvPr userDrawn="1"/>
            </p:nvSpPr>
            <p:spPr bwMode="auto">
              <a:xfrm>
                <a:off x="4238" y="3191"/>
                <a:ext cx="36" cy="36"/>
              </a:xfrm>
              <a:custGeom>
                <a:avLst/>
                <a:gdLst/>
                <a:ahLst/>
                <a:cxnLst>
                  <a:cxn ang="0">
                    <a:pos x="17" y="0"/>
                  </a:cxn>
                  <a:cxn ang="0">
                    <a:pos x="17" y="0"/>
                  </a:cxn>
                  <a:cxn ang="0">
                    <a:pos x="13" y="2"/>
                  </a:cxn>
                  <a:cxn ang="0">
                    <a:pos x="13" y="2"/>
                  </a:cxn>
                  <a:cxn ang="0">
                    <a:pos x="6" y="5"/>
                  </a:cxn>
                  <a:cxn ang="0">
                    <a:pos x="2" y="9"/>
                  </a:cxn>
                  <a:cxn ang="0">
                    <a:pos x="0" y="17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2" y="30"/>
                  </a:cxn>
                  <a:cxn ang="0">
                    <a:pos x="6" y="32"/>
                  </a:cxn>
                  <a:cxn ang="0">
                    <a:pos x="13" y="36"/>
                  </a:cxn>
                  <a:cxn ang="0">
                    <a:pos x="17" y="36"/>
                  </a:cxn>
                  <a:cxn ang="0">
                    <a:pos x="17" y="36"/>
                  </a:cxn>
                  <a:cxn ang="0">
                    <a:pos x="21" y="36"/>
                  </a:cxn>
                  <a:cxn ang="0">
                    <a:pos x="21" y="36"/>
                  </a:cxn>
                  <a:cxn ang="0">
                    <a:pos x="28" y="32"/>
                  </a:cxn>
                  <a:cxn ang="0">
                    <a:pos x="34" y="28"/>
                  </a:cxn>
                  <a:cxn ang="0">
                    <a:pos x="36" y="21"/>
                  </a:cxn>
                  <a:cxn ang="0">
                    <a:pos x="34" y="15"/>
                  </a:cxn>
                  <a:cxn ang="0">
                    <a:pos x="34" y="15"/>
                  </a:cxn>
                  <a:cxn ang="0">
                    <a:pos x="32" y="9"/>
                  </a:cxn>
                  <a:cxn ang="0">
                    <a:pos x="28" y="5"/>
                  </a:cxn>
                  <a:cxn ang="0">
                    <a:pos x="24" y="2"/>
                  </a:cxn>
                  <a:cxn ang="0">
                    <a:pos x="17" y="0"/>
                  </a:cxn>
                </a:cxnLst>
                <a:rect l="0" t="0" r="r" b="b"/>
                <a:pathLst>
                  <a:path w="36" h="36">
                    <a:moveTo>
                      <a:pt x="17" y="0"/>
                    </a:moveTo>
                    <a:lnTo>
                      <a:pt x="17" y="0"/>
                    </a:lnTo>
                    <a:lnTo>
                      <a:pt x="13" y="2"/>
                    </a:lnTo>
                    <a:lnTo>
                      <a:pt x="13" y="2"/>
                    </a:lnTo>
                    <a:lnTo>
                      <a:pt x="6" y="5"/>
                    </a:lnTo>
                    <a:lnTo>
                      <a:pt x="2" y="9"/>
                    </a:lnTo>
                    <a:lnTo>
                      <a:pt x="0" y="17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30"/>
                    </a:lnTo>
                    <a:lnTo>
                      <a:pt x="6" y="32"/>
                    </a:lnTo>
                    <a:lnTo>
                      <a:pt x="13" y="36"/>
                    </a:lnTo>
                    <a:lnTo>
                      <a:pt x="17" y="36"/>
                    </a:lnTo>
                    <a:lnTo>
                      <a:pt x="17" y="36"/>
                    </a:lnTo>
                    <a:lnTo>
                      <a:pt x="21" y="36"/>
                    </a:lnTo>
                    <a:lnTo>
                      <a:pt x="21" y="36"/>
                    </a:lnTo>
                    <a:lnTo>
                      <a:pt x="28" y="32"/>
                    </a:lnTo>
                    <a:lnTo>
                      <a:pt x="34" y="28"/>
                    </a:lnTo>
                    <a:lnTo>
                      <a:pt x="36" y="21"/>
                    </a:lnTo>
                    <a:lnTo>
                      <a:pt x="34" y="15"/>
                    </a:lnTo>
                    <a:lnTo>
                      <a:pt x="34" y="15"/>
                    </a:lnTo>
                    <a:lnTo>
                      <a:pt x="32" y="9"/>
                    </a:lnTo>
                    <a:lnTo>
                      <a:pt x="28" y="5"/>
                    </a:lnTo>
                    <a:lnTo>
                      <a:pt x="24" y="2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89" name="Freeform 104"/>
              <p:cNvSpPr>
                <a:spLocks/>
              </p:cNvSpPr>
              <p:nvPr userDrawn="1"/>
            </p:nvSpPr>
            <p:spPr bwMode="auto">
              <a:xfrm>
                <a:off x="4238" y="3191"/>
                <a:ext cx="36" cy="36"/>
              </a:xfrm>
              <a:custGeom>
                <a:avLst/>
                <a:gdLst/>
                <a:ahLst/>
                <a:cxnLst>
                  <a:cxn ang="0">
                    <a:pos x="17" y="0"/>
                  </a:cxn>
                  <a:cxn ang="0">
                    <a:pos x="17" y="0"/>
                  </a:cxn>
                  <a:cxn ang="0">
                    <a:pos x="13" y="2"/>
                  </a:cxn>
                  <a:cxn ang="0">
                    <a:pos x="13" y="2"/>
                  </a:cxn>
                  <a:cxn ang="0">
                    <a:pos x="6" y="5"/>
                  </a:cxn>
                  <a:cxn ang="0">
                    <a:pos x="2" y="9"/>
                  </a:cxn>
                  <a:cxn ang="0">
                    <a:pos x="0" y="17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2" y="30"/>
                  </a:cxn>
                  <a:cxn ang="0">
                    <a:pos x="6" y="32"/>
                  </a:cxn>
                  <a:cxn ang="0">
                    <a:pos x="13" y="36"/>
                  </a:cxn>
                  <a:cxn ang="0">
                    <a:pos x="17" y="36"/>
                  </a:cxn>
                  <a:cxn ang="0">
                    <a:pos x="17" y="36"/>
                  </a:cxn>
                  <a:cxn ang="0">
                    <a:pos x="21" y="36"/>
                  </a:cxn>
                  <a:cxn ang="0">
                    <a:pos x="21" y="36"/>
                  </a:cxn>
                  <a:cxn ang="0">
                    <a:pos x="28" y="32"/>
                  </a:cxn>
                  <a:cxn ang="0">
                    <a:pos x="34" y="28"/>
                  </a:cxn>
                  <a:cxn ang="0">
                    <a:pos x="36" y="21"/>
                  </a:cxn>
                  <a:cxn ang="0">
                    <a:pos x="34" y="15"/>
                  </a:cxn>
                  <a:cxn ang="0">
                    <a:pos x="34" y="15"/>
                  </a:cxn>
                  <a:cxn ang="0">
                    <a:pos x="32" y="9"/>
                  </a:cxn>
                  <a:cxn ang="0">
                    <a:pos x="28" y="5"/>
                  </a:cxn>
                  <a:cxn ang="0">
                    <a:pos x="24" y="2"/>
                  </a:cxn>
                  <a:cxn ang="0">
                    <a:pos x="17" y="0"/>
                  </a:cxn>
                </a:cxnLst>
                <a:rect l="0" t="0" r="r" b="b"/>
                <a:pathLst>
                  <a:path w="36" h="36">
                    <a:moveTo>
                      <a:pt x="17" y="0"/>
                    </a:moveTo>
                    <a:lnTo>
                      <a:pt x="17" y="0"/>
                    </a:lnTo>
                    <a:lnTo>
                      <a:pt x="13" y="2"/>
                    </a:lnTo>
                    <a:lnTo>
                      <a:pt x="13" y="2"/>
                    </a:lnTo>
                    <a:lnTo>
                      <a:pt x="6" y="5"/>
                    </a:lnTo>
                    <a:lnTo>
                      <a:pt x="2" y="9"/>
                    </a:lnTo>
                    <a:lnTo>
                      <a:pt x="0" y="17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30"/>
                    </a:lnTo>
                    <a:lnTo>
                      <a:pt x="6" y="32"/>
                    </a:lnTo>
                    <a:lnTo>
                      <a:pt x="13" y="36"/>
                    </a:lnTo>
                    <a:lnTo>
                      <a:pt x="17" y="36"/>
                    </a:lnTo>
                    <a:lnTo>
                      <a:pt x="17" y="36"/>
                    </a:lnTo>
                    <a:lnTo>
                      <a:pt x="21" y="36"/>
                    </a:lnTo>
                    <a:lnTo>
                      <a:pt x="21" y="36"/>
                    </a:lnTo>
                    <a:lnTo>
                      <a:pt x="28" y="32"/>
                    </a:lnTo>
                    <a:lnTo>
                      <a:pt x="34" y="28"/>
                    </a:lnTo>
                    <a:lnTo>
                      <a:pt x="36" y="21"/>
                    </a:lnTo>
                    <a:lnTo>
                      <a:pt x="34" y="15"/>
                    </a:lnTo>
                    <a:lnTo>
                      <a:pt x="34" y="15"/>
                    </a:lnTo>
                    <a:lnTo>
                      <a:pt x="32" y="9"/>
                    </a:lnTo>
                    <a:lnTo>
                      <a:pt x="28" y="5"/>
                    </a:lnTo>
                    <a:lnTo>
                      <a:pt x="24" y="2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90" name="Freeform 105"/>
              <p:cNvSpPr>
                <a:spLocks/>
              </p:cNvSpPr>
              <p:nvPr userDrawn="1"/>
            </p:nvSpPr>
            <p:spPr bwMode="auto">
              <a:xfrm>
                <a:off x="2960" y="2447"/>
                <a:ext cx="90" cy="84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45" y="0"/>
                  </a:cxn>
                  <a:cxn ang="0">
                    <a:pos x="33" y="0"/>
                  </a:cxn>
                  <a:cxn ang="0">
                    <a:pos x="33" y="0"/>
                  </a:cxn>
                  <a:cxn ang="0">
                    <a:pos x="25" y="4"/>
                  </a:cxn>
                  <a:cxn ang="0">
                    <a:pos x="17" y="8"/>
                  </a:cxn>
                  <a:cxn ang="0">
                    <a:pos x="11" y="14"/>
                  </a:cxn>
                  <a:cxn ang="0">
                    <a:pos x="6" y="21"/>
                  </a:cxn>
                  <a:cxn ang="0">
                    <a:pos x="2" y="27"/>
                  </a:cxn>
                  <a:cxn ang="0">
                    <a:pos x="0" y="36"/>
                  </a:cxn>
                  <a:cxn ang="0">
                    <a:pos x="0" y="44"/>
                  </a:cxn>
                  <a:cxn ang="0">
                    <a:pos x="2" y="52"/>
                  </a:cxn>
                  <a:cxn ang="0">
                    <a:pos x="2" y="52"/>
                  </a:cxn>
                  <a:cxn ang="0">
                    <a:pos x="4" y="59"/>
                  </a:cxn>
                  <a:cxn ang="0">
                    <a:pos x="8" y="65"/>
                  </a:cxn>
                  <a:cxn ang="0">
                    <a:pos x="19" y="75"/>
                  </a:cxn>
                  <a:cxn ang="0">
                    <a:pos x="31" y="80"/>
                  </a:cxn>
                  <a:cxn ang="0">
                    <a:pos x="45" y="84"/>
                  </a:cxn>
                  <a:cxn ang="0">
                    <a:pos x="45" y="84"/>
                  </a:cxn>
                  <a:cxn ang="0">
                    <a:pos x="56" y="82"/>
                  </a:cxn>
                  <a:cxn ang="0">
                    <a:pos x="56" y="82"/>
                  </a:cxn>
                  <a:cxn ang="0">
                    <a:pos x="66" y="78"/>
                  </a:cxn>
                  <a:cxn ang="0">
                    <a:pos x="72" y="75"/>
                  </a:cxn>
                  <a:cxn ang="0">
                    <a:pos x="78" y="69"/>
                  </a:cxn>
                  <a:cxn ang="0">
                    <a:pos x="84" y="63"/>
                  </a:cxn>
                  <a:cxn ang="0">
                    <a:pos x="86" y="56"/>
                  </a:cxn>
                  <a:cxn ang="0">
                    <a:pos x="88" y="48"/>
                  </a:cxn>
                  <a:cxn ang="0">
                    <a:pos x="90" y="38"/>
                  </a:cxn>
                  <a:cxn ang="0">
                    <a:pos x="88" y="31"/>
                  </a:cxn>
                  <a:cxn ang="0">
                    <a:pos x="88" y="31"/>
                  </a:cxn>
                  <a:cxn ang="0">
                    <a:pos x="86" y="23"/>
                  </a:cxn>
                  <a:cxn ang="0">
                    <a:pos x="82" y="17"/>
                  </a:cxn>
                  <a:cxn ang="0">
                    <a:pos x="72" y="8"/>
                  </a:cxn>
                  <a:cxn ang="0">
                    <a:pos x="60" y="2"/>
                  </a:cxn>
                  <a:cxn ang="0">
                    <a:pos x="45" y="0"/>
                  </a:cxn>
                </a:cxnLst>
                <a:rect l="0" t="0" r="r" b="b"/>
                <a:pathLst>
                  <a:path w="90" h="84">
                    <a:moveTo>
                      <a:pt x="45" y="0"/>
                    </a:moveTo>
                    <a:lnTo>
                      <a:pt x="45" y="0"/>
                    </a:lnTo>
                    <a:lnTo>
                      <a:pt x="33" y="0"/>
                    </a:lnTo>
                    <a:lnTo>
                      <a:pt x="33" y="0"/>
                    </a:lnTo>
                    <a:lnTo>
                      <a:pt x="25" y="4"/>
                    </a:lnTo>
                    <a:lnTo>
                      <a:pt x="17" y="8"/>
                    </a:lnTo>
                    <a:lnTo>
                      <a:pt x="11" y="14"/>
                    </a:lnTo>
                    <a:lnTo>
                      <a:pt x="6" y="21"/>
                    </a:lnTo>
                    <a:lnTo>
                      <a:pt x="2" y="27"/>
                    </a:lnTo>
                    <a:lnTo>
                      <a:pt x="0" y="36"/>
                    </a:lnTo>
                    <a:lnTo>
                      <a:pt x="0" y="44"/>
                    </a:lnTo>
                    <a:lnTo>
                      <a:pt x="2" y="52"/>
                    </a:lnTo>
                    <a:lnTo>
                      <a:pt x="2" y="52"/>
                    </a:lnTo>
                    <a:lnTo>
                      <a:pt x="4" y="59"/>
                    </a:lnTo>
                    <a:lnTo>
                      <a:pt x="8" y="65"/>
                    </a:lnTo>
                    <a:lnTo>
                      <a:pt x="19" y="75"/>
                    </a:lnTo>
                    <a:lnTo>
                      <a:pt x="31" y="80"/>
                    </a:lnTo>
                    <a:lnTo>
                      <a:pt x="45" y="84"/>
                    </a:lnTo>
                    <a:lnTo>
                      <a:pt x="45" y="84"/>
                    </a:lnTo>
                    <a:lnTo>
                      <a:pt x="56" y="82"/>
                    </a:lnTo>
                    <a:lnTo>
                      <a:pt x="56" y="82"/>
                    </a:lnTo>
                    <a:lnTo>
                      <a:pt x="66" y="78"/>
                    </a:lnTo>
                    <a:lnTo>
                      <a:pt x="72" y="75"/>
                    </a:lnTo>
                    <a:lnTo>
                      <a:pt x="78" y="69"/>
                    </a:lnTo>
                    <a:lnTo>
                      <a:pt x="84" y="63"/>
                    </a:lnTo>
                    <a:lnTo>
                      <a:pt x="86" y="56"/>
                    </a:lnTo>
                    <a:lnTo>
                      <a:pt x="88" y="48"/>
                    </a:lnTo>
                    <a:lnTo>
                      <a:pt x="90" y="38"/>
                    </a:lnTo>
                    <a:lnTo>
                      <a:pt x="88" y="31"/>
                    </a:lnTo>
                    <a:lnTo>
                      <a:pt x="88" y="31"/>
                    </a:lnTo>
                    <a:lnTo>
                      <a:pt x="86" y="23"/>
                    </a:lnTo>
                    <a:lnTo>
                      <a:pt x="82" y="17"/>
                    </a:lnTo>
                    <a:lnTo>
                      <a:pt x="72" y="8"/>
                    </a:lnTo>
                    <a:lnTo>
                      <a:pt x="60" y="2"/>
                    </a:lnTo>
                    <a:lnTo>
                      <a:pt x="4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91" name="Freeform 106"/>
              <p:cNvSpPr>
                <a:spLocks/>
              </p:cNvSpPr>
              <p:nvPr userDrawn="1"/>
            </p:nvSpPr>
            <p:spPr bwMode="auto">
              <a:xfrm>
                <a:off x="2960" y="2447"/>
                <a:ext cx="90" cy="84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45" y="0"/>
                  </a:cxn>
                  <a:cxn ang="0">
                    <a:pos x="33" y="0"/>
                  </a:cxn>
                  <a:cxn ang="0">
                    <a:pos x="33" y="0"/>
                  </a:cxn>
                  <a:cxn ang="0">
                    <a:pos x="25" y="4"/>
                  </a:cxn>
                  <a:cxn ang="0">
                    <a:pos x="17" y="8"/>
                  </a:cxn>
                  <a:cxn ang="0">
                    <a:pos x="11" y="14"/>
                  </a:cxn>
                  <a:cxn ang="0">
                    <a:pos x="6" y="21"/>
                  </a:cxn>
                  <a:cxn ang="0">
                    <a:pos x="2" y="27"/>
                  </a:cxn>
                  <a:cxn ang="0">
                    <a:pos x="0" y="36"/>
                  </a:cxn>
                  <a:cxn ang="0">
                    <a:pos x="0" y="44"/>
                  </a:cxn>
                  <a:cxn ang="0">
                    <a:pos x="2" y="52"/>
                  </a:cxn>
                  <a:cxn ang="0">
                    <a:pos x="2" y="52"/>
                  </a:cxn>
                  <a:cxn ang="0">
                    <a:pos x="4" y="59"/>
                  </a:cxn>
                  <a:cxn ang="0">
                    <a:pos x="8" y="65"/>
                  </a:cxn>
                  <a:cxn ang="0">
                    <a:pos x="19" y="75"/>
                  </a:cxn>
                  <a:cxn ang="0">
                    <a:pos x="31" y="80"/>
                  </a:cxn>
                  <a:cxn ang="0">
                    <a:pos x="45" y="84"/>
                  </a:cxn>
                  <a:cxn ang="0">
                    <a:pos x="45" y="84"/>
                  </a:cxn>
                  <a:cxn ang="0">
                    <a:pos x="56" y="82"/>
                  </a:cxn>
                  <a:cxn ang="0">
                    <a:pos x="56" y="82"/>
                  </a:cxn>
                  <a:cxn ang="0">
                    <a:pos x="66" y="78"/>
                  </a:cxn>
                  <a:cxn ang="0">
                    <a:pos x="72" y="75"/>
                  </a:cxn>
                  <a:cxn ang="0">
                    <a:pos x="78" y="69"/>
                  </a:cxn>
                  <a:cxn ang="0">
                    <a:pos x="84" y="63"/>
                  </a:cxn>
                  <a:cxn ang="0">
                    <a:pos x="86" y="56"/>
                  </a:cxn>
                  <a:cxn ang="0">
                    <a:pos x="88" y="48"/>
                  </a:cxn>
                  <a:cxn ang="0">
                    <a:pos x="90" y="38"/>
                  </a:cxn>
                  <a:cxn ang="0">
                    <a:pos x="88" y="31"/>
                  </a:cxn>
                  <a:cxn ang="0">
                    <a:pos x="88" y="31"/>
                  </a:cxn>
                  <a:cxn ang="0">
                    <a:pos x="86" y="23"/>
                  </a:cxn>
                  <a:cxn ang="0">
                    <a:pos x="82" y="17"/>
                  </a:cxn>
                  <a:cxn ang="0">
                    <a:pos x="72" y="8"/>
                  </a:cxn>
                  <a:cxn ang="0">
                    <a:pos x="60" y="2"/>
                  </a:cxn>
                  <a:cxn ang="0">
                    <a:pos x="45" y="0"/>
                  </a:cxn>
                </a:cxnLst>
                <a:rect l="0" t="0" r="r" b="b"/>
                <a:pathLst>
                  <a:path w="90" h="84">
                    <a:moveTo>
                      <a:pt x="45" y="0"/>
                    </a:moveTo>
                    <a:lnTo>
                      <a:pt x="45" y="0"/>
                    </a:lnTo>
                    <a:lnTo>
                      <a:pt x="33" y="0"/>
                    </a:lnTo>
                    <a:lnTo>
                      <a:pt x="33" y="0"/>
                    </a:lnTo>
                    <a:lnTo>
                      <a:pt x="25" y="4"/>
                    </a:lnTo>
                    <a:lnTo>
                      <a:pt x="17" y="8"/>
                    </a:lnTo>
                    <a:lnTo>
                      <a:pt x="11" y="14"/>
                    </a:lnTo>
                    <a:lnTo>
                      <a:pt x="6" y="21"/>
                    </a:lnTo>
                    <a:lnTo>
                      <a:pt x="2" y="27"/>
                    </a:lnTo>
                    <a:lnTo>
                      <a:pt x="0" y="36"/>
                    </a:lnTo>
                    <a:lnTo>
                      <a:pt x="0" y="44"/>
                    </a:lnTo>
                    <a:lnTo>
                      <a:pt x="2" y="52"/>
                    </a:lnTo>
                    <a:lnTo>
                      <a:pt x="2" y="52"/>
                    </a:lnTo>
                    <a:lnTo>
                      <a:pt x="4" y="59"/>
                    </a:lnTo>
                    <a:lnTo>
                      <a:pt x="8" y="65"/>
                    </a:lnTo>
                    <a:lnTo>
                      <a:pt x="19" y="75"/>
                    </a:lnTo>
                    <a:lnTo>
                      <a:pt x="31" y="80"/>
                    </a:lnTo>
                    <a:lnTo>
                      <a:pt x="45" y="84"/>
                    </a:lnTo>
                    <a:lnTo>
                      <a:pt x="45" y="84"/>
                    </a:lnTo>
                    <a:lnTo>
                      <a:pt x="56" y="82"/>
                    </a:lnTo>
                    <a:lnTo>
                      <a:pt x="56" y="82"/>
                    </a:lnTo>
                    <a:lnTo>
                      <a:pt x="66" y="78"/>
                    </a:lnTo>
                    <a:lnTo>
                      <a:pt x="72" y="75"/>
                    </a:lnTo>
                    <a:lnTo>
                      <a:pt x="78" y="69"/>
                    </a:lnTo>
                    <a:lnTo>
                      <a:pt x="84" y="63"/>
                    </a:lnTo>
                    <a:lnTo>
                      <a:pt x="86" y="56"/>
                    </a:lnTo>
                    <a:lnTo>
                      <a:pt x="88" y="48"/>
                    </a:lnTo>
                    <a:lnTo>
                      <a:pt x="90" y="38"/>
                    </a:lnTo>
                    <a:lnTo>
                      <a:pt x="88" y="31"/>
                    </a:lnTo>
                    <a:lnTo>
                      <a:pt x="88" y="31"/>
                    </a:lnTo>
                    <a:lnTo>
                      <a:pt x="86" y="23"/>
                    </a:lnTo>
                    <a:lnTo>
                      <a:pt x="82" y="17"/>
                    </a:lnTo>
                    <a:lnTo>
                      <a:pt x="72" y="8"/>
                    </a:lnTo>
                    <a:lnTo>
                      <a:pt x="60" y="2"/>
                    </a:lnTo>
                    <a:lnTo>
                      <a:pt x="4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92" name="Freeform 107"/>
              <p:cNvSpPr>
                <a:spLocks/>
              </p:cNvSpPr>
              <p:nvPr userDrawn="1"/>
            </p:nvSpPr>
            <p:spPr bwMode="auto">
              <a:xfrm>
                <a:off x="2816" y="2519"/>
                <a:ext cx="78" cy="78"/>
              </a:xfrm>
              <a:custGeom>
                <a:avLst/>
                <a:gdLst/>
                <a:ahLst/>
                <a:cxnLst>
                  <a:cxn ang="0">
                    <a:pos x="38" y="0"/>
                  </a:cxn>
                  <a:cxn ang="0">
                    <a:pos x="38" y="0"/>
                  </a:cxn>
                  <a:cxn ang="0">
                    <a:pos x="28" y="0"/>
                  </a:cxn>
                  <a:cxn ang="0">
                    <a:pos x="28" y="0"/>
                  </a:cxn>
                  <a:cxn ang="0">
                    <a:pos x="20" y="4"/>
                  </a:cxn>
                  <a:cxn ang="0">
                    <a:pos x="14" y="8"/>
                  </a:cxn>
                  <a:cxn ang="0">
                    <a:pos x="8" y="12"/>
                  </a:cxn>
                  <a:cxn ang="0">
                    <a:pos x="4" y="18"/>
                  </a:cxn>
                  <a:cxn ang="0">
                    <a:pos x="2" y="26"/>
                  </a:cxn>
                  <a:cxn ang="0">
                    <a:pos x="0" y="34"/>
                  </a:cxn>
                  <a:cxn ang="0">
                    <a:pos x="0" y="42"/>
                  </a:cxn>
                  <a:cxn ang="0">
                    <a:pos x="0" y="48"/>
                  </a:cxn>
                  <a:cxn ang="0">
                    <a:pos x="0" y="48"/>
                  </a:cxn>
                  <a:cxn ang="0">
                    <a:pos x="6" y="60"/>
                  </a:cxn>
                  <a:cxn ang="0">
                    <a:pos x="14" y="70"/>
                  </a:cxn>
                  <a:cxn ang="0">
                    <a:pos x="26" y="76"/>
                  </a:cxn>
                  <a:cxn ang="0">
                    <a:pos x="38" y="78"/>
                  </a:cxn>
                  <a:cxn ang="0">
                    <a:pos x="38" y="78"/>
                  </a:cxn>
                  <a:cxn ang="0">
                    <a:pos x="48" y="76"/>
                  </a:cxn>
                  <a:cxn ang="0">
                    <a:pos x="48" y="76"/>
                  </a:cxn>
                  <a:cxn ang="0">
                    <a:pos x="56" y="74"/>
                  </a:cxn>
                  <a:cxn ang="0">
                    <a:pos x="62" y="70"/>
                  </a:cxn>
                  <a:cxn ang="0">
                    <a:pos x="68" y="64"/>
                  </a:cxn>
                  <a:cxn ang="0">
                    <a:pos x="72" y="58"/>
                  </a:cxn>
                  <a:cxn ang="0">
                    <a:pos x="76" y="52"/>
                  </a:cxn>
                  <a:cxn ang="0">
                    <a:pos x="78" y="44"/>
                  </a:cxn>
                  <a:cxn ang="0">
                    <a:pos x="78" y="36"/>
                  </a:cxn>
                  <a:cxn ang="0">
                    <a:pos x="76" y="28"/>
                  </a:cxn>
                  <a:cxn ang="0">
                    <a:pos x="76" y="28"/>
                  </a:cxn>
                  <a:cxn ang="0">
                    <a:pos x="72" y="16"/>
                  </a:cxn>
                  <a:cxn ang="0">
                    <a:pos x="62" y="8"/>
                  </a:cxn>
                  <a:cxn ang="0">
                    <a:pos x="52" y="2"/>
                  </a:cxn>
                  <a:cxn ang="0">
                    <a:pos x="38" y="0"/>
                  </a:cxn>
                </a:cxnLst>
                <a:rect l="0" t="0" r="r" b="b"/>
                <a:pathLst>
                  <a:path w="78" h="78">
                    <a:moveTo>
                      <a:pt x="38" y="0"/>
                    </a:moveTo>
                    <a:lnTo>
                      <a:pt x="38" y="0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0" y="4"/>
                    </a:lnTo>
                    <a:lnTo>
                      <a:pt x="14" y="8"/>
                    </a:lnTo>
                    <a:lnTo>
                      <a:pt x="8" y="12"/>
                    </a:lnTo>
                    <a:lnTo>
                      <a:pt x="4" y="18"/>
                    </a:lnTo>
                    <a:lnTo>
                      <a:pt x="2" y="26"/>
                    </a:lnTo>
                    <a:lnTo>
                      <a:pt x="0" y="34"/>
                    </a:lnTo>
                    <a:lnTo>
                      <a:pt x="0" y="42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6" y="60"/>
                    </a:lnTo>
                    <a:lnTo>
                      <a:pt x="14" y="70"/>
                    </a:lnTo>
                    <a:lnTo>
                      <a:pt x="26" y="76"/>
                    </a:lnTo>
                    <a:lnTo>
                      <a:pt x="38" y="78"/>
                    </a:lnTo>
                    <a:lnTo>
                      <a:pt x="38" y="78"/>
                    </a:lnTo>
                    <a:lnTo>
                      <a:pt x="48" y="76"/>
                    </a:lnTo>
                    <a:lnTo>
                      <a:pt x="48" y="76"/>
                    </a:lnTo>
                    <a:lnTo>
                      <a:pt x="56" y="74"/>
                    </a:lnTo>
                    <a:lnTo>
                      <a:pt x="62" y="70"/>
                    </a:lnTo>
                    <a:lnTo>
                      <a:pt x="68" y="64"/>
                    </a:lnTo>
                    <a:lnTo>
                      <a:pt x="72" y="58"/>
                    </a:lnTo>
                    <a:lnTo>
                      <a:pt x="76" y="52"/>
                    </a:lnTo>
                    <a:lnTo>
                      <a:pt x="78" y="44"/>
                    </a:lnTo>
                    <a:lnTo>
                      <a:pt x="78" y="36"/>
                    </a:lnTo>
                    <a:lnTo>
                      <a:pt x="76" y="28"/>
                    </a:lnTo>
                    <a:lnTo>
                      <a:pt x="76" y="28"/>
                    </a:lnTo>
                    <a:lnTo>
                      <a:pt x="72" y="16"/>
                    </a:lnTo>
                    <a:lnTo>
                      <a:pt x="62" y="8"/>
                    </a:lnTo>
                    <a:lnTo>
                      <a:pt x="52" y="2"/>
                    </a:lnTo>
                    <a:lnTo>
                      <a:pt x="3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93" name="Freeform 108"/>
              <p:cNvSpPr>
                <a:spLocks/>
              </p:cNvSpPr>
              <p:nvPr userDrawn="1"/>
            </p:nvSpPr>
            <p:spPr bwMode="auto">
              <a:xfrm>
                <a:off x="2816" y="2519"/>
                <a:ext cx="78" cy="78"/>
              </a:xfrm>
              <a:custGeom>
                <a:avLst/>
                <a:gdLst/>
                <a:ahLst/>
                <a:cxnLst>
                  <a:cxn ang="0">
                    <a:pos x="38" y="0"/>
                  </a:cxn>
                  <a:cxn ang="0">
                    <a:pos x="38" y="0"/>
                  </a:cxn>
                  <a:cxn ang="0">
                    <a:pos x="28" y="0"/>
                  </a:cxn>
                  <a:cxn ang="0">
                    <a:pos x="28" y="0"/>
                  </a:cxn>
                  <a:cxn ang="0">
                    <a:pos x="20" y="4"/>
                  </a:cxn>
                  <a:cxn ang="0">
                    <a:pos x="14" y="8"/>
                  </a:cxn>
                  <a:cxn ang="0">
                    <a:pos x="8" y="12"/>
                  </a:cxn>
                  <a:cxn ang="0">
                    <a:pos x="4" y="18"/>
                  </a:cxn>
                  <a:cxn ang="0">
                    <a:pos x="2" y="26"/>
                  </a:cxn>
                  <a:cxn ang="0">
                    <a:pos x="0" y="34"/>
                  </a:cxn>
                  <a:cxn ang="0">
                    <a:pos x="0" y="42"/>
                  </a:cxn>
                  <a:cxn ang="0">
                    <a:pos x="0" y="48"/>
                  </a:cxn>
                  <a:cxn ang="0">
                    <a:pos x="0" y="48"/>
                  </a:cxn>
                  <a:cxn ang="0">
                    <a:pos x="6" y="60"/>
                  </a:cxn>
                  <a:cxn ang="0">
                    <a:pos x="14" y="70"/>
                  </a:cxn>
                  <a:cxn ang="0">
                    <a:pos x="26" y="76"/>
                  </a:cxn>
                  <a:cxn ang="0">
                    <a:pos x="38" y="78"/>
                  </a:cxn>
                  <a:cxn ang="0">
                    <a:pos x="38" y="78"/>
                  </a:cxn>
                  <a:cxn ang="0">
                    <a:pos x="48" y="76"/>
                  </a:cxn>
                  <a:cxn ang="0">
                    <a:pos x="48" y="76"/>
                  </a:cxn>
                  <a:cxn ang="0">
                    <a:pos x="56" y="74"/>
                  </a:cxn>
                  <a:cxn ang="0">
                    <a:pos x="62" y="70"/>
                  </a:cxn>
                  <a:cxn ang="0">
                    <a:pos x="68" y="64"/>
                  </a:cxn>
                  <a:cxn ang="0">
                    <a:pos x="72" y="58"/>
                  </a:cxn>
                  <a:cxn ang="0">
                    <a:pos x="76" y="52"/>
                  </a:cxn>
                  <a:cxn ang="0">
                    <a:pos x="78" y="44"/>
                  </a:cxn>
                  <a:cxn ang="0">
                    <a:pos x="78" y="36"/>
                  </a:cxn>
                  <a:cxn ang="0">
                    <a:pos x="76" y="28"/>
                  </a:cxn>
                  <a:cxn ang="0">
                    <a:pos x="76" y="28"/>
                  </a:cxn>
                  <a:cxn ang="0">
                    <a:pos x="72" y="16"/>
                  </a:cxn>
                  <a:cxn ang="0">
                    <a:pos x="62" y="8"/>
                  </a:cxn>
                  <a:cxn ang="0">
                    <a:pos x="52" y="2"/>
                  </a:cxn>
                  <a:cxn ang="0">
                    <a:pos x="38" y="0"/>
                  </a:cxn>
                </a:cxnLst>
                <a:rect l="0" t="0" r="r" b="b"/>
                <a:pathLst>
                  <a:path w="78" h="78">
                    <a:moveTo>
                      <a:pt x="38" y="0"/>
                    </a:moveTo>
                    <a:lnTo>
                      <a:pt x="38" y="0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0" y="4"/>
                    </a:lnTo>
                    <a:lnTo>
                      <a:pt x="14" y="8"/>
                    </a:lnTo>
                    <a:lnTo>
                      <a:pt x="8" y="12"/>
                    </a:lnTo>
                    <a:lnTo>
                      <a:pt x="4" y="18"/>
                    </a:lnTo>
                    <a:lnTo>
                      <a:pt x="2" y="26"/>
                    </a:lnTo>
                    <a:lnTo>
                      <a:pt x="0" y="34"/>
                    </a:lnTo>
                    <a:lnTo>
                      <a:pt x="0" y="42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6" y="60"/>
                    </a:lnTo>
                    <a:lnTo>
                      <a:pt x="14" y="70"/>
                    </a:lnTo>
                    <a:lnTo>
                      <a:pt x="26" y="76"/>
                    </a:lnTo>
                    <a:lnTo>
                      <a:pt x="38" y="78"/>
                    </a:lnTo>
                    <a:lnTo>
                      <a:pt x="38" y="78"/>
                    </a:lnTo>
                    <a:lnTo>
                      <a:pt x="48" y="76"/>
                    </a:lnTo>
                    <a:lnTo>
                      <a:pt x="48" y="76"/>
                    </a:lnTo>
                    <a:lnTo>
                      <a:pt x="56" y="74"/>
                    </a:lnTo>
                    <a:lnTo>
                      <a:pt x="62" y="70"/>
                    </a:lnTo>
                    <a:lnTo>
                      <a:pt x="68" y="64"/>
                    </a:lnTo>
                    <a:lnTo>
                      <a:pt x="72" y="58"/>
                    </a:lnTo>
                    <a:lnTo>
                      <a:pt x="76" y="52"/>
                    </a:lnTo>
                    <a:lnTo>
                      <a:pt x="78" y="44"/>
                    </a:lnTo>
                    <a:lnTo>
                      <a:pt x="78" y="36"/>
                    </a:lnTo>
                    <a:lnTo>
                      <a:pt x="76" y="28"/>
                    </a:lnTo>
                    <a:lnTo>
                      <a:pt x="76" y="28"/>
                    </a:lnTo>
                    <a:lnTo>
                      <a:pt x="72" y="16"/>
                    </a:lnTo>
                    <a:lnTo>
                      <a:pt x="62" y="8"/>
                    </a:lnTo>
                    <a:lnTo>
                      <a:pt x="52" y="2"/>
                    </a:lnTo>
                    <a:lnTo>
                      <a:pt x="3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94" name="Freeform 109"/>
              <p:cNvSpPr>
                <a:spLocks/>
              </p:cNvSpPr>
              <p:nvPr userDrawn="1"/>
            </p:nvSpPr>
            <p:spPr bwMode="auto">
              <a:xfrm>
                <a:off x="2684" y="2615"/>
                <a:ext cx="72" cy="72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6" y="0"/>
                  </a:cxn>
                  <a:cxn ang="0">
                    <a:pos x="26" y="0"/>
                  </a:cxn>
                  <a:cxn ang="0">
                    <a:pos x="20" y="4"/>
                  </a:cxn>
                  <a:cxn ang="0">
                    <a:pos x="14" y="6"/>
                  </a:cxn>
                  <a:cxn ang="0">
                    <a:pos x="10" y="12"/>
                  </a:cxn>
                  <a:cxn ang="0">
                    <a:pos x="6" y="19"/>
                  </a:cxn>
                  <a:cxn ang="0">
                    <a:pos x="2" y="25"/>
                  </a:cxn>
                  <a:cxn ang="0">
                    <a:pos x="0" y="31"/>
                  </a:cxn>
                  <a:cxn ang="0">
                    <a:pos x="0" y="39"/>
                  </a:cxn>
                  <a:cxn ang="0">
                    <a:pos x="2" y="45"/>
                  </a:cxn>
                  <a:cxn ang="0">
                    <a:pos x="2" y="45"/>
                  </a:cxn>
                  <a:cxn ang="0">
                    <a:pos x="6" y="56"/>
                  </a:cxn>
                  <a:cxn ang="0">
                    <a:pos x="14" y="66"/>
                  </a:cxn>
                  <a:cxn ang="0">
                    <a:pos x="24" y="70"/>
                  </a:cxn>
                  <a:cxn ang="0">
                    <a:pos x="36" y="72"/>
                  </a:cxn>
                  <a:cxn ang="0">
                    <a:pos x="36" y="72"/>
                  </a:cxn>
                  <a:cxn ang="0">
                    <a:pos x="46" y="72"/>
                  </a:cxn>
                  <a:cxn ang="0">
                    <a:pos x="46" y="72"/>
                  </a:cxn>
                  <a:cxn ang="0">
                    <a:pos x="52" y="68"/>
                  </a:cxn>
                  <a:cxn ang="0">
                    <a:pos x="58" y="64"/>
                  </a:cxn>
                  <a:cxn ang="0">
                    <a:pos x="62" y="60"/>
                  </a:cxn>
                  <a:cxn ang="0">
                    <a:pos x="66" y="54"/>
                  </a:cxn>
                  <a:cxn ang="0">
                    <a:pos x="70" y="48"/>
                  </a:cxn>
                  <a:cxn ang="0">
                    <a:pos x="72" y="41"/>
                  </a:cxn>
                  <a:cxn ang="0">
                    <a:pos x="72" y="33"/>
                  </a:cxn>
                  <a:cxn ang="0">
                    <a:pos x="70" y="27"/>
                  </a:cxn>
                  <a:cxn ang="0">
                    <a:pos x="70" y="27"/>
                  </a:cxn>
                  <a:cxn ang="0">
                    <a:pos x="66" y="15"/>
                  </a:cxn>
                  <a:cxn ang="0">
                    <a:pos x="58" y="6"/>
                  </a:cxn>
                  <a:cxn ang="0">
                    <a:pos x="48" y="2"/>
                  </a:cxn>
                  <a:cxn ang="0">
                    <a:pos x="36" y="0"/>
                  </a:cxn>
                </a:cxnLst>
                <a:rect l="0" t="0" r="r" b="b"/>
                <a:pathLst>
                  <a:path w="72" h="72">
                    <a:moveTo>
                      <a:pt x="36" y="0"/>
                    </a:moveTo>
                    <a:lnTo>
                      <a:pt x="3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0" y="4"/>
                    </a:lnTo>
                    <a:lnTo>
                      <a:pt x="14" y="6"/>
                    </a:lnTo>
                    <a:lnTo>
                      <a:pt x="10" y="12"/>
                    </a:lnTo>
                    <a:lnTo>
                      <a:pt x="6" y="19"/>
                    </a:lnTo>
                    <a:lnTo>
                      <a:pt x="2" y="25"/>
                    </a:lnTo>
                    <a:lnTo>
                      <a:pt x="0" y="31"/>
                    </a:lnTo>
                    <a:lnTo>
                      <a:pt x="0" y="39"/>
                    </a:lnTo>
                    <a:lnTo>
                      <a:pt x="2" y="45"/>
                    </a:lnTo>
                    <a:lnTo>
                      <a:pt x="2" y="45"/>
                    </a:lnTo>
                    <a:lnTo>
                      <a:pt x="6" y="56"/>
                    </a:lnTo>
                    <a:lnTo>
                      <a:pt x="14" y="66"/>
                    </a:lnTo>
                    <a:lnTo>
                      <a:pt x="24" y="70"/>
                    </a:lnTo>
                    <a:lnTo>
                      <a:pt x="36" y="72"/>
                    </a:lnTo>
                    <a:lnTo>
                      <a:pt x="36" y="72"/>
                    </a:lnTo>
                    <a:lnTo>
                      <a:pt x="46" y="72"/>
                    </a:lnTo>
                    <a:lnTo>
                      <a:pt x="46" y="72"/>
                    </a:lnTo>
                    <a:lnTo>
                      <a:pt x="52" y="68"/>
                    </a:lnTo>
                    <a:lnTo>
                      <a:pt x="58" y="64"/>
                    </a:lnTo>
                    <a:lnTo>
                      <a:pt x="62" y="60"/>
                    </a:lnTo>
                    <a:lnTo>
                      <a:pt x="66" y="54"/>
                    </a:lnTo>
                    <a:lnTo>
                      <a:pt x="70" y="48"/>
                    </a:lnTo>
                    <a:lnTo>
                      <a:pt x="72" y="41"/>
                    </a:lnTo>
                    <a:lnTo>
                      <a:pt x="72" y="33"/>
                    </a:lnTo>
                    <a:lnTo>
                      <a:pt x="70" y="27"/>
                    </a:lnTo>
                    <a:lnTo>
                      <a:pt x="70" y="27"/>
                    </a:lnTo>
                    <a:lnTo>
                      <a:pt x="66" y="15"/>
                    </a:lnTo>
                    <a:lnTo>
                      <a:pt x="58" y="6"/>
                    </a:lnTo>
                    <a:lnTo>
                      <a:pt x="48" y="2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95" name="Freeform 110"/>
              <p:cNvSpPr>
                <a:spLocks/>
              </p:cNvSpPr>
              <p:nvPr userDrawn="1"/>
            </p:nvSpPr>
            <p:spPr bwMode="auto">
              <a:xfrm>
                <a:off x="2684" y="2615"/>
                <a:ext cx="72" cy="72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6" y="0"/>
                  </a:cxn>
                  <a:cxn ang="0">
                    <a:pos x="26" y="0"/>
                  </a:cxn>
                  <a:cxn ang="0">
                    <a:pos x="20" y="4"/>
                  </a:cxn>
                  <a:cxn ang="0">
                    <a:pos x="14" y="6"/>
                  </a:cxn>
                  <a:cxn ang="0">
                    <a:pos x="10" y="12"/>
                  </a:cxn>
                  <a:cxn ang="0">
                    <a:pos x="6" y="19"/>
                  </a:cxn>
                  <a:cxn ang="0">
                    <a:pos x="2" y="25"/>
                  </a:cxn>
                  <a:cxn ang="0">
                    <a:pos x="0" y="31"/>
                  </a:cxn>
                  <a:cxn ang="0">
                    <a:pos x="0" y="39"/>
                  </a:cxn>
                  <a:cxn ang="0">
                    <a:pos x="2" y="45"/>
                  </a:cxn>
                  <a:cxn ang="0">
                    <a:pos x="2" y="45"/>
                  </a:cxn>
                  <a:cxn ang="0">
                    <a:pos x="6" y="56"/>
                  </a:cxn>
                  <a:cxn ang="0">
                    <a:pos x="14" y="66"/>
                  </a:cxn>
                  <a:cxn ang="0">
                    <a:pos x="24" y="70"/>
                  </a:cxn>
                  <a:cxn ang="0">
                    <a:pos x="36" y="72"/>
                  </a:cxn>
                  <a:cxn ang="0">
                    <a:pos x="36" y="72"/>
                  </a:cxn>
                  <a:cxn ang="0">
                    <a:pos x="46" y="72"/>
                  </a:cxn>
                  <a:cxn ang="0">
                    <a:pos x="46" y="72"/>
                  </a:cxn>
                  <a:cxn ang="0">
                    <a:pos x="52" y="68"/>
                  </a:cxn>
                  <a:cxn ang="0">
                    <a:pos x="58" y="64"/>
                  </a:cxn>
                  <a:cxn ang="0">
                    <a:pos x="62" y="60"/>
                  </a:cxn>
                  <a:cxn ang="0">
                    <a:pos x="66" y="54"/>
                  </a:cxn>
                  <a:cxn ang="0">
                    <a:pos x="70" y="48"/>
                  </a:cxn>
                  <a:cxn ang="0">
                    <a:pos x="72" y="41"/>
                  </a:cxn>
                  <a:cxn ang="0">
                    <a:pos x="72" y="33"/>
                  </a:cxn>
                  <a:cxn ang="0">
                    <a:pos x="70" y="27"/>
                  </a:cxn>
                  <a:cxn ang="0">
                    <a:pos x="70" y="27"/>
                  </a:cxn>
                  <a:cxn ang="0">
                    <a:pos x="66" y="15"/>
                  </a:cxn>
                  <a:cxn ang="0">
                    <a:pos x="58" y="6"/>
                  </a:cxn>
                  <a:cxn ang="0">
                    <a:pos x="48" y="2"/>
                  </a:cxn>
                  <a:cxn ang="0">
                    <a:pos x="36" y="0"/>
                  </a:cxn>
                </a:cxnLst>
                <a:rect l="0" t="0" r="r" b="b"/>
                <a:pathLst>
                  <a:path w="72" h="72">
                    <a:moveTo>
                      <a:pt x="36" y="0"/>
                    </a:moveTo>
                    <a:lnTo>
                      <a:pt x="3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0" y="4"/>
                    </a:lnTo>
                    <a:lnTo>
                      <a:pt x="14" y="6"/>
                    </a:lnTo>
                    <a:lnTo>
                      <a:pt x="10" y="12"/>
                    </a:lnTo>
                    <a:lnTo>
                      <a:pt x="6" y="19"/>
                    </a:lnTo>
                    <a:lnTo>
                      <a:pt x="2" y="25"/>
                    </a:lnTo>
                    <a:lnTo>
                      <a:pt x="0" y="31"/>
                    </a:lnTo>
                    <a:lnTo>
                      <a:pt x="0" y="39"/>
                    </a:lnTo>
                    <a:lnTo>
                      <a:pt x="2" y="45"/>
                    </a:lnTo>
                    <a:lnTo>
                      <a:pt x="2" y="45"/>
                    </a:lnTo>
                    <a:lnTo>
                      <a:pt x="6" y="56"/>
                    </a:lnTo>
                    <a:lnTo>
                      <a:pt x="14" y="66"/>
                    </a:lnTo>
                    <a:lnTo>
                      <a:pt x="24" y="70"/>
                    </a:lnTo>
                    <a:lnTo>
                      <a:pt x="36" y="72"/>
                    </a:lnTo>
                    <a:lnTo>
                      <a:pt x="36" y="72"/>
                    </a:lnTo>
                    <a:lnTo>
                      <a:pt x="46" y="72"/>
                    </a:lnTo>
                    <a:lnTo>
                      <a:pt x="46" y="72"/>
                    </a:lnTo>
                    <a:lnTo>
                      <a:pt x="52" y="68"/>
                    </a:lnTo>
                    <a:lnTo>
                      <a:pt x="58" y="64"/>
                    </a:lnTo>
                    <a:lnTo>
                      <a:pt x="62" y="60"/>
                    </a:lnTo>
                    <a:lnTo>
                      <a:pt x="66" y="54"/>
                    </a:lnTo>
                    <a:lnTo>
                      <a:pt x="70" y="48"/>
                    </a:lnTo>
                    <a:lnTo>
                      <a:pt x="72" y="41"/>
                    </a:lnTo>
                    <a:lnTo>
                      <a:pt x="72" y="33"/>
                    </a:lnTo>
                    <a:lnTo>
                      <a:pt x="70" y="27"/>
                    </a:lnTo>
                    <a:lnTo>
                      <a:pt x="70" y="27"/>
                    </a:lnTo>
                    <a:lnTo>
                      <a:pt x="66" y="15"/>
                    </a:lnTo>
                    <a:lnTo>
                      <a:pt x="58" y="6"/>
                    </a:lnTo>
                    <a:lnTo>
                      <a:pt x="48" y="2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96" name="Freeform 111"/>
              <p:cNvSpPr>
                <a:spLocks/>
              </p:cNvSpPr>
              <p:nvPr userDrawn="1"/>
            </p:nvSpPr>
            <p:spPr bwMode="auto">
              <a:xfrm>
                <a:off x="2570" y="2735"/>
                <a:ext cx="66" cy="66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33" y="0"/>
                  </a:cxn>
                  <a:cxn ang="0">
                    <a:pos x="25" y="0"/>
                  </a:cxn>
                  <a:cxn ang="0">
                    <a:pos x="25" y="0"/>
                  </a:cxn>
                  <a:cxn ang="0">
                    <a:pos x="19" y="2"/>
                  </a:cxn>
                  <a:cxn ang="0">
                    <a:pos x="12" y="6"/>
                  </a:cxn>
                  <a:cxn ang="0">
                    <a:pos x="4" y="17"/>
                  </a:cxn>
                  <a:cxn ang="0">
                    <a:pos x="0" y="27"/>
                  </a:cxn>
                  <a:cxn ang="0">
                    <a:pos x="0" y="35"/>
                  </a:cxn>
                  <a:cxn ang="0">
                    <a:pos x="0" y="41"/>
                  </a:cxn>
                  <a:cxn ang="0">
                    <a:pos x="0" y="41"/>
                  </a:cxn>
                  <a:cxn ang="0">
                    <a:pos x="6" y="52"/>
                  </a:cxn>
                  <a:cxn ang="0">
                    <a:pos x="12" y="58"/>
                  </a:cxn>
                  <a:cxn ang="0">
                    <a:pos x="23" y="64"/>
                  </a:cxn>
                  <a:cxn ang="0">
                    <a:pos x="33" y="66"/>
                  </a:cxn>
                  <a:cxn ang="0">
                    <a:pos x="33" y="66"/>
                  </a:cxn>
                  <a:cxn ang="0">
                    <a:pos x="41" y="64"/>
                  </a:cxn>
                  <a:cxn ang="0">
                    <a:pos x="41" y="64"/>
                  </a:cxn>
                  <a:cxn ang="0">
                    <a:pos x="48" y="62"/>
                  </a:cxn>
                  <a:cxn ang="0">
                    <a:pos x="54" y="58"/>
                  </a:cxn>
                  <a:cxn ang="0">
                    <a:pos x="62" y="50"/>
                  </a:cxn>
                  <a:cxn ang="0">
                    <a:pos x="66" y="37"/>
                  </a:cxn>
                  <a:cxn ang="0">
                    <a:pos x="66" y="31"/>
                  </a:cxn>
                  <a:cxn ang="0">
                    <a:pos x="64" y="23"/>
                  </a:cxn>
                  <a:cxn ang="0">
                    <a:pos x="64" y="23"/>
                  </a:cxn>
                  <a:cxn ang="0">
                    <a:pos x="60" y="15"/>
                  </a:cxn>
                  <a:cxn ang="0">
                    <a:pos x="54" y="6"/>
                  </a:cxn>
                  <a:cxn ang="0">
                    <a:pos x="44" y="0"/>
                  </a:cxn>
                  <a:cxn ang="0">
                    <a:pos x="33" y="0"/>
                  </a:cxn>
                </a:cxnLst>
                <a:rect l="0" t="0" r="r" b="b"/>
                <a:pathLst>
                  <a:path w="66" h="66">
                    <a:moveTo>
                      <a:pt x="33" y="0"/>
                    </a:moveTo>
                    <a:lnTo>
                      <a:pt x="33" y="0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19" y="2"/>
                    </a:lnTo>
                    <a:lnTo>
                      <a:pt x="12" y="6"/>
                    </a:lnTo>
                    <a:lnTo>
                      <a:pt x="4" y="17"/>
                    </a:lnTo>
                    <a:lnTo>
                      <a:pt x="0" y="27"/>
                    </a:lnTo>
                    <a:lnTo>
                      <a:pt x="0" y="35"/>
                    </a:lnTo>
                    <a:lnTo>
                      <a:pt x="0" y="41"/>
                    </a:lnTo>
                    <a:lnTo>
                      <a:pt x="0" y="41"/>
                    </a:lnTo>
                    <a:lnTo>
                      <a:pt x="6" y="52"/>
                    </a:lnTo>
                    <a:lnTo>
                      <a:pt x="12" y="58"/>
                    </a:lnTo>
                    <a:lnTo>
                      <a:pt x="23" y="64"/>
                    </a:lnTo>
                    <a:lnTo>
                      <a:pt x="33" y="66"/>
                    </a:lnTo>
                    <a:lnTo>
                      <a:pt x="33" y="66"/>
                    </a:lnTo>
                    <a:lnTo>
                      <a:pt x="41" y="64"/>
                    </a:lnTo>
                    <a:lnTo>
                      <a:pt x="41" y="64"/>
                    </a:lnTo>
                    <a:lnTo>
                      <a:pt x="48" y="62"/>
                    </a:lnTo>
                    <a:lnTo>
                      <a:pt x="54" y="58"/>
                    </a:lnTo>
                    <a:lnTo>
                      <a:pt x="62" y="50"/>
                    </a:lnTo>
                    <a:lnTo>
                      <a:pt x="66" y="37"/>
                    </a:lnTo>
                    <a:lnTo>
                      <a:pt x="66" y="31"/>
                    </a:lnTo>
                    <a:lnTo>
                      <a:pt x="64" y="23"/>
                    </a:lnTo>
                    <a:lnTo>
                      <a:pt x="64" y="23"/>
                    </a:lnTo>
                    <a:lnTo>
                      <a:pt x="60" y="15"/>
                    </a:lnTo>
                    <a:lnTo>
                      <a:pt x="54" y="6"/>
                    </a:lnTo>
                    <a:lnTo>
                      <a:pt x="44" y="0"/>
                    </a:lnTo>
                    <a:lnTo>
                      <a:pt x="3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97" name="Freeform 112"/>
              <p:cNvSpPr>
                <a:spLocks/>
              </p:cNvSpPr>
              <p:nvPr userDrawn="1"/>
            </p:nvSpPr>
            <p:spPr bwMode="auto">
              <a:xfrm>
                <a:off x="2570" y="2735"/>
                <a:ext cx="66" cy="66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33" y="0"/>
                  </a:cxn>
                  <a:cxn ang="0">
                    <a:pos x="25" y="0"/>
                  </a:cxn>
                  <a:cxn ang="0">
                    <a:pos x="25" y="0"/>
                  </a:cxn>
                  <a:cxn ang="0">
                    <a:pos x="19" y="2"/>
                  </a:cxn>
                  <a:cxn ang="0">
                    <a:pos x="12" y="6"/>
                  </a:cxn>
                  <a:cxn ang="0">
                    <a:pos x="4" y="17"/>
                  </a:cxn>
                  <a:cxn ang="0">
                    <a:pos x="0" y="27"/>
                  </a:cxn>
                  <a:cxn ang="0">
                    <a:pos x="0" y="35"/>
                  </a:cxn>
                  <a:cxn ang="0">
                    <a:pos x="0" y="41"/>
                  </a:cxn>
                  <a:cxn ang="0">
                    <a:pos x="0" y="41"/>
                  </a:cxn>
                  <a:cxn ang="0">
                    <a:pos x="6" y="52"/>
                  </a:cxn>
                  <a:cxn ang="0">
                    <a:pos x="12" y="58"/>
                  </a:cxn>
                  <a:cxn ang="0">
                    <a:pos x="23" y="64"/>
                  </a:cxn>
                  <a:cxn ang="0">
                    <a:pos x="33" y="66"/>
                  </a:cxn>
                  <a:cxn ang="0">
                    <a:pos x="33" y="66"/>
                  </a:cxn>
                  <a:cxn ang="0">
                    <a:pos x="41" y="64"/>
                  </a:cxn>
                  <a:cxn ang="0">
                    <a:pos x="41" y="64"/>
                  </a:cxn>
                  <a:cxn ang="0">
                    <a:pos x="48" y="62"/>
                  </a:cxn>
                  <a:cxn ang="0">
                    <a:pos x="54" y="58"/>
                  </a:cxn>
                  <a:cxn ang="0">
                    <a:pos x="62" y="50"/>
                  </a:cxn>
                  <a:cxn ang="0">
                    <a:pos x="66" y="37"/>
                  </a:cxn>
                  <a:cxn ang="0">
                    <a:pos x="66" y="31"/>
                  </a:cxn>
                  <a:cxn ang="0">
                    <a:pos x="64" y="23"/>
                  </a:cxn>
                  <a:cxn ang="0">
                    <a:pos x="64" y="23"/>
                  </a:cxn>
                  <a:cxn ang="0">
                    <a:pos x="60" y="15"/>
                  </a:cxn>
                  <a:cxn ang="0">
                    <a:pos x="54" y="6"/>
                  </a:cxn>
                  <a:cxn ang="0">
                    <a:pos x="44" y="0"/>
                  </a:cxn>
                  <a:cxn ang="0">
                    <a:pos x="33" y="0"/>
                  </a:cxn>
                </a:cxnLst>
                <a:rect l="0" t="0" r="r" b="b"/>
                <a:pathLst>
                  <a:path w="66" h="66">
                    <a:moveTo>
                      <a:pt x="33" y="0"/>
                    </a:moveTo>
                    <a:lnTo>
                      <a:pt x="33" y="0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19" y="2"/>
                    </a:lnTo>
                    <a:lnTo>
                      <a:pt x="12" y="6"/>
                    </a:lnTo>
                    <a:lnTo>
                      <a:pt x="4" y="17"/>
                    </a:lnTo>
                    <a:lnTo>
                      <a:pt x="0" y="27"/>
                    </a:lnTo>
                    <a:lnTo>
                      <a:pt x="0" y="35"/>
                    </a:lnTo>
                    <a:lnTo>
                      <a:pt x="0" y="41"/>
                    </a:lnTo>
                    <a:lnTo>
                      <a:pt x="0" y="41"/>
                    </a:lnTo>
                    <a:lnTo>
                      <a:pt x="6" y="52"/>
                    </a:lnTo>
                    <a:lnTo>
                      <a:pt x="12" y="58"/>
                    </a:lnTo>
                    <a:lnTo>
                      <a:pt x="23" y="64"/>
                    </a:lnTo>
                    <a:lnTo>
                      <a:pt x="33" y="66"/>
                    </a:lnTo>
                    <a:lnTo>
                      <a:pt x="33" y="66"/>
                    </a:lnTo>
                    <a:lnTo>
                      <a:pt x="41" y="64"/>
                    </a:lnTo>
                    <a:lnTo>
                      <a:pt x="41" y="64"/>
                    </a:lnTo>
                    <a:lnTo>
                      <a:pt x="48" y="62"/>
                    </a:lnTo>
                    <a:lnTo>
                      <a:pt x="54" y="58"/>
                    </a:lnTo>
                    <a:lnTo>
                      <a:pt x="62" y="50"/>
                    </a:lnTo>
                    <a:lnTo>
                      <a:pt x="66" y="37"/>
                    </a:lnTo>
                    <a:lnTo>
                      <a:pt x="66" y="31"/>
                    </a:lnTo>
                    <a:lnTo>
                      <a:pt x="64" y="23"/>
                    </a:lnTo>
                    <a:lnTo>
                      <a:pt x="64" y="23"/>
                    </a:lnTo>
                    <a:lnTo>
                      <a:pt x="60" y="15"/>
                    </a:lnTo>
                    <a:lnTo>
                      <a:pt x="54" y="6"/>
                    </a:lnTo>
                    <a:lnTo>
                      <a:pt x="44" y="0"/>
                    </a:lnTo>
                    <a:lnTo>
                      <a:pt x="3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98" name="Freeform 113"/>
              <p:cNvSpPr>
                <a:spLocks/>
              </p:cNvSpPr>
              <p:nvPr userDrawn="1"/>
            </p:nvSpPr>
            <p:spPr bwMode="auto">
              <a:xfrm>
                <a:off x="2480" y="2873"/>
                <a:ext cx="60" cy="60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0"/>
                  </a:cxn>
                  <a:cxn ang="0">
                    <a:pos x="22" y="0"/>
                  </a:cxn>
                  <a:cxn ang="0">
                    <a:pos x="22" y="0"/>
                  </a:cxn>
                  <a:cxn ang="0">
                    <a:pos x="11" y="7"/>
                  </a:cxn>
                  <a:cxn ang="0">
                    <a:pos x="2" y="15"/>
                  </a:cxn>
                  <a:cxn ang="0">
                    <a:pos x="0" y="26"/>
                  </a:cxn>
                  <a:cxn ang="0">
                    <a:pos x="0" y="39"/>
                  </a:cxn>
                  <a:cxn ang="0">
                    <a:pos x="0" y="39"/>
                  </a:cxn>
                  <a:cxn ang="0">
                    <a:pos x="5" y="47"/>
                  </a:cxn>
                  <a:cxn ang="0">
                    <a:pos x="11" y="54"/>
                  </a:cxn>
                  <a:cxn ang="0">
                    <a:pos x="20" y="58"/>
                  </a:cxn>
                  <a:cxn ang="0">
                    <a:pos x="30" y="60"/>
                  </a:cxn>
                  <a:cxn ang="0">
                    <a:pos x="30" y="60"/>
                  </a:cxn>
                  <a:cxn ang="0">
                    <a:pos x="37" y="60"/>
                  </a:cxn>
                  <a:cxn ang="0">
                    <a:pos x="37" y="60"/>
                  </a:cxn>
                  <a:cxn ang="0">
                    <a:pos x="50" y="54"/>
                  </a:cxn>
                  <a:cxn ang="0">
                    <a:pos x="56" y="45"/>
                  </a:cxn>
                  <a:cxn ang="0">
                    <a:pos x="60" y="35"/>
                  </a:cxn>
                  <a:cxn ang="0">
                    <a:pos x="60" y="22"/>
                  </a:cxn>
                  <a:cxn ang="0">
                    <a:pos x="60" y="22"/>
                  </a:cxn>
                  <a:cxn ang="0">
                    <a:pos x="56" y="13"/>
                  </a:cxn>
                  <a:cxn ang="0">
                    <a:pos x="47" y="5"/>
                  </a:cxn>
                  <a:cxn ang="0">
                    <a:pos x="39" y="0"/>
                  </a:cxn>
                  <a:cxn ang="0">
                    <a:pos x="30" y="0"/>
                  </a:cxn>
                </a:cxnLst>
                <a:rect l="0" t="0" r="r" b="b"/>
                <a:pathLst>
                  <a:path w="60" h="60">
                    <a:moveTo>
                      <a:pt x="30" y="0"/>
                    </a:moveTo>
                    <a:lnTo>
                      <a:pt x="30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1" y="7"/>
                    </a:lnTo>
                    <a:lnTo>
                      <a:pt x="2" y="15"/>
                    </a:lnTo>
                    <a:lnTo>
                      <a:pt x="0" y="26"/>
                    </a:lnTo>
                    <a:lnTo>
                      <a:pt x="0" y="39"/>
                    </a:lnTo>
                    <a:lnTo>
                      <a:pt x="0" y="39"/>
                    </a:lnTo>
                    <a:lnTo>
                      <a:pt x="5" y="47"/>
                    </a:lnTo>
                    <a:lnTo>
                      <a:pt x="11" y="54"/>
                    </a:lnTo>
                    <a:lnTo>
                      <a:pt x="20" y="58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7" y="60"/>
                    </a:lnTo>
                    <a:lnTo>
                      <a:pt x="37" y="60"/>
                    </a:lnTo>
                    <a:lnTo>
                      <a:pt x="50" y="54"/>
                    </a:lnTo>
                    <a:lnTo>
                      <a:pt x="56" y="45"/>
                    </a:lnTo>
                    <a:lnTo>
                      <a:pt x="60" y="35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56" y="13"/>
                    </a:lnTo>
                    <a:lnTo>
                      <a:pt x="47" y="5"/>
                    </a:lnTo>
                    <a:lnTo>
                      <a:pt x="39" y="0"/>
                    </a:lnTo>
                    <a:lnTo>
                      <a:pt x="3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99" name="Freeform 114"/>
              <p:cNvSpPr>
                <a:spLocks/>
              </p:cNvSpPr>
              <p:nvPr userDrawn="1"/>
            </p:nvSpPr>
            <p:spPr bwMode="auto">
              <a:xfrm>
                <a:off x="2480" y="2873"/>
                <a:ext cx="60" cy="60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0"/>
                  </a:cxn>
                  <a:cxn ang="0">
                    <a:pos x="22" y="0"/>
                  </a:cxn>
                  <a:cxn ang="0">
                    <a:pos x="22" y="0"/>
                  </a:cxn>
                  <a:cxn ang="0">
                    <a:pos x="11" y="7"/>
                  </a:cxn>
                  <a:cxn ang="0">
                    <a:pos x="2" y="15"/>
                  </a:cxn>
                  <a:cxn ang="0">
                    <a:pos x="0" y="26"/>
                  </a:cxn>
                  <a:cxn ang="0">
                    <a:pos x="0" y="39"/>
                  </a:cxn>
                  <a:cxn ang="0">
                    <a:pos x="0" y="39"/>
                  </a:cxn>
                  <a:cxn ang="0">
                    <a:pos x="5" y="47"/>
                  </a:cxn>
                  <a:cxn ang="0">
                    <a:pos x="11" y="54"/>
                  </a:cxn>
                  <a:cxn ang="0">
                    <a:pos x="20" y="58"/>
                  </a:cxn>
                  <a:cxn ang="0">
                    <a:pos x="30" y="60"/>
                  </a:cxn>
                  <a:cxn ang="0">
                    <a:pos x="30" y="60"/>
                  </a:cxn>
                  <a:cxn ang="0">
                    <a:pos x="37" y="60"/>
                  </a:cxn>
                  <a:cxn ang="0">
                    <a:pos x="37" y="60"/>
                  </a:cxn>
                  <a:cxn ang="0">
                    <a:pos x="50" y="54"/>
                  </a:cxn>
                  <a:cxn ang="0">
                    <a:pos x="56" y="45"/>
                  </a:cxn>
                  <a:cxn ang="0">
                    <a:pos x="60" y="35"/>
                  </a:cxn>
                  <a:cxn ang="0">
                    <a:pos x="60" y="22"/>
                  </a:cxn>
                  <a:cxn ang="0">
                    <a:pos x="60" y="22"/>
                  </a:cxn>
                  <a:cxn ang="0">
                    <a:pos x="56" y="13"/>
                  </a:cxn>
                  <a:cxn ang="0">
                    <a:pos x="47" y="5"/>
                  </a:cxn>
                  <a:cxn ang="0">
                    <a:pos x="39" y="0"/>
                  </a:cxn>
                  <a:cxn ang="0">
                    <a:pos x="30" y="0"/>
                  </a:cxn>
                </a:cxnLst>
                <a:rect l="0" t="0" r="r" b="b"/>
                <a:pathLst>
                  <a:path w="60" h="60">
                    <a:moveTo>
                      <a:pt x="30" y="0"/>
                    </a:moveTo>
                    <a:lnTo>
                      <a:pt x="30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1" y="7"/>
                    </a:lnTo>
                    <a:lnTo>
                      <a:pt x="2" y="15"/>
                    </a:lnTo>
                    <a:lnTo>
                      <a:pt x="0" y="26"/>
                    </a:lnTo>
                    <a:lnTo>
                      <a:pt x="0" y="39"/>
                    </a:lnTo>
                    <a:lnTo>
                      <a:pt x="0" y="39"/>
                    </a:lnTo>
                    <a:lnTo>
                      <a:pt x="5" y="47"/>
                    </a:lnTo>
                    <a:lnTo>
                      <a:pt x="11" y="54"/>
                    </a:lnTo>
                    <a:lnTo>
                      <a:pt x="20" y="58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7" y="60"/>
                    </a:lnTo>
                    <a:lnTo>
                      <a:pt x="37" y="60"/>
                    </a:lnTo>
                    <a:lnTo>
                      <a:pt x="50" y="54"/>
                    </a:lnTo>
                    <a:lnTo>
                      <a:pt x="56" y="45"/>
                    </a:lnTo>
                    <a:lnTo>
                      <a:pt x="60" y="35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56" y="13"/>
                    </a:lnTo>
                    <a:lnTo>
                      <a:pt x="47" y="5"/>
                    </a:lnTo>
                    <a:lnTo>
                      <a:pt x="39" y="0"/>
                    </a:lnTo>
                    <a:lnTo>
                      <a:pt x="3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00" name="Freeform 115"/>
              <p:cNvSpPr>
                <a:spLocks/>
              </p:cNvSpPr>
              <p:nvPr userDrawn="1"/>
            </p:nvSpPr>
            <p:spPr bwMode="auto">
              <a:xfrm>
                <a:off x="2414" y="3023"/>
                <a:ext cx="54" cy="54"/>
              </a:xfrm>
              <a:custGeom>
                <a:avLst/>
                <a:gdLst/>
                <a:ahLst/>
                <a:cxnLst>
                  <a:cxn ang="0">
                    <a:pos x="27" y="0"/>
                  </a:cxn>
                  <a:cxn ang="0">
                    <a:pos x="27" y="0"/>
                  </a:cxn>
                  <a:cxn ang="0">
                    <a:pos x="21" y="2"/>
                  </a:cxn>
                  <a:cxn ang="0">
                    <a:pos x="21" y="2"/>
                  </a:cxn>
                  <a:cxn ang="0">
                    <a:pos x="11" y="6"/>
                  </a:cxn>
                  <a:cxn ang="0">
                    <a:pos x="5" y="15"/>
                  </a:cxn>
                  <a:cxn ang="0">
                    <a:pos x="0" y="25"/>
                  </a:cxn>
                  <a:cxn ang="0">
                    <a:pos x="2" y="36"/>
                  </a:cxn>
                  <a:cxn ang="0">
                    <a:pos x="2" y="36"/>
                  </a:cxn>
                  <a:cxn ang="0">
                    <a:pos x="5" y="44"/>
                  </a:cxn>
                  <a:cxn ang="0">
                    <a:pos x="11" y="50"/>
                  </a:cxn>
                  <a:cxn ang="0">
                    <a:pos x="19" y="54"/>
                  </a:cxn>
                  <a:cxn ang="0">
                    <a:pos x="27" y="54"/>
                  </a:cxn>
                  <a:cxn ang="0">
                    <a:pos x="27" y="54"/>
                  </a:cxn>
                  <a:cxn ang="0">
                    <a:pos x="33" y="54"/>
                  </a:cxn>
                  <a:cxn ang="0">
                    <a:pos x="33" y="54"/>
                  </a:cxn>
                  <a:cxn ang="0">
                    <a:pos x="44" y="50"/>
                  </a:cxn>
                  <a:cxn ang="0">
                    <a:pos x="50" y="42"/>
                  </a:cxn>
                  <a:cxn ang="0">
                    <a:pos x="54" y="32"/>
                  </a:cxn>
                  <a:cxn ang="0">
                    <a:pos x="54" y="21"/>
                  </a:cxn>
                  <a:cxn ang="0">
                    <a:pos x="54" y="21"/>
                  </a:cxn>
                  <a:cxn ang="0">
                    <a:pos x="50" y="13"/>
                  </a:cxn>
                  <a:cxn ang="0">
                    <a:pos x="44" y="6"/>
                  </a:cxn>
                  <a:cxn ang="0">
                    <a:pos x="36" y="2"/>
                  </a:cxn>
                  <a:cxn ang="0">
                    <a:pos x="27" y="0"/>
                  </a:cxn>
                </a:cxnLst>
                <a:rect l="0" t="0" r="r" b="b"/>
                <a:pathLst>
                  <a:path w="54" h="54">
                    <a:moveTo>
                      <a:pt x="27" y="0"/>
                    </a:moveTo>
                    <a:lnTo>
                      <a:pt x="27" y="0"/>
                    </a:lnTo>
                    <a:lnTo>
                      <a:pt x="21" y="2"/>
                    </a:lnTo>
                    <a:lnTo>
                      <a:pt x="21" y="2"/>
                    </a:lnTo>
                    <a:lnTo>
                      <a:pt x="11" y="6"/>
                    </a:lnTo>
                    <a:lnTo>
                      <a:pt x="5" y="15"/>
                    </a:lnTo>
                    <a:lnTo>
                      <a:pt x="0" y="25"/>
                    </a:lnTo>
                    <a:lnTo>
                      <a:pt x="2" y="36"/>
                    </a:lnTo>
                    <a:lnTo>
                      <a:pt x="2" y="36"/>
                    </a:lnTo>
                    <a:lnTo>
                      <a:pt x="5" y="44"/>
                    </a:lnTo>
                    <a:lnTo>
                      <a:pt x="11" y="50"/>
                    </a:lnTo>
                    <a:lnTo>
                      <a:pt x="19" y="54"/>
                    </a:lnTo>
                    <a:lnTo>
                      <a:pt x="27" y="54"/>
                    </a:lnTo>
                    <a:lnTo>
                      <a:pt x="27" y="54"/>
                    </a:lnTo>
                    <a:lnTo>
                      <a:pt x="33" y="54"/>
                    </a:lnTo>
                    <a:lnTo>
                      <a:pt x="33" y="54"/>
                    </a:lnTo>
                    <a:lnTo>
                      <a:pt x="44" y="50"/>
                    </a:lnTo>
                    <a:lnTo>
                      <a:pt x="50" y="42"/>
                    </a:lnTo>
                    <a:lnTo>
                      <a:pt x="54" y="32"/>
                    </a:lnTo>
                    <a:lnTo>
                      <a:pt x="54" y="21"/>
                    </a:lnTo>
                    <a:lnTo>
                      <a:pt x="54" y="21"/>
                    </a:lnTo>
                    <a:lnTo>
                      <a:pt x="50" y="13"/>
                    </a:lnTo>
                    <a:lnTo>
                      <a:pt x="44" y="6"/>
                    </a:lnTo>
                    <a:lnTo>
                      <a:pt x="36" y="2"/>
                    </a:lnTo>
                    <a:lnTo>
                      <a:pt x="2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01" name="Freeform 116"/>
              <p:cNvSpPr>
                <a:spLocks/>
              </p:cNvSpPr>
              <p:nvPr userDrawn="1"/>
            </p:nvSpPr>
            <p:spPr bwMode="auto">
              <a:xfrm>
                <a:off x="2414" y="3023"/>
                <a:ext cx="54" cy="54"/>
              </a:xfrm>
              <a:custGeom>
                <a:avLst/>
                <a:gdLst/>
                <a:ahLst/>
                <a:cxnLst>
                  <a:cxn ang="0">
                    <a:pos x="27" y="0"/>
                  </a:cxn>
                  <a:cxn ang="0">
                    <a:pos x="27" y="0"/>
                  </a:cxn>
                  <a:cxn ang="0">
                    <a:pos x="21" y="2"/>
                  </a:cxn>
                  <a:cxn ang="0">
                    <a:pos x="21" y="2"/>
                  </a:cxn>
                  <a:cxn ang="0">
                    <a:pos x="11" y="6"/>
                  </a:cxn>
                  <a:cxn ang="0">
                    <a:pos x="5" y="15"/>
                  </a:cxn>
                  <a:cxn ang="0">
                    <a:pos x="0" y="25"/>
                  </a:cxn>
                  <a:cxn ang="0">
                    <a:pos x="2" y="36"/>
                  </a:cxn>
                  <a:cxn ang="0">
                    <a:pos x="2" y="36"/>
                  </a:cxn>
                  <a:cxn ang="0">
                    <a:pos x="5" y="44"/>
                  </a:cxn>
                  <a:cxn ang="0">
                    <a:pos x="11" y="50"/>
                  </a:cxn>
                  <a:cxn ang="0">
                    <a:pos x="19" y="54"/>
                  </a:cxn>
                  <a:cxn ang="0">
                    <a:pos x="27" y="54"/>
                  </a:cxn>
                  <a:cxn ang="0">
                    <a:pos x="27" y="54"/>
                  </a:cxn>
                  <a:cxn ang="0">
                    <a:pos x="33" y="54"/>
                  </a:cxn>
                  <a:cxn ang="0">
                    <a:pos x="33" y="54"/>
                  </a:cxn>
                  <a:cxn ang="0">
                    <a:pos x="44" y="50"/>
                  </a:cxn>
                  <a:cxn ang="0">
                    <a:pos x="50" y="42"/>
                  </a:cxn>
                  <a:cxn ang="0">
                    <a:pos x="54" y="32"/>
                  </a:cxn>
                  <a:cxn ang="0">
                    <a:pos x="54" y="21"/>
                  </a:cxn>
                  <a:cxn ang="0">
                    <a:pos x="54" y="21"/>
                  </a:cxn>
                  <a:cxn ang="0">
                    <a:pos x="50" y="13"/>
                  </a:cxn>
                  <a:cxn ang="0">
                    <a:pos x="44" y="6"/>
                  </a:cxn>
                  <a:cxn ang="0">
                    <a:pos x="36" y="2"/>
                  </a:cxn>
                  <a:cxn ang="0">
                    <a:pos x="27" y="0"/>
                  </a:cxn>
                </a:cxnLst>
                <a:rect l="0" t="0" r="r" b="b"/>
                <a:pathLst>
                  <a:path w="54" h="54">
                    <a:moveTo>
                      <a:pt x="27" y="0"/>
                    </a:moveTo>
                    <a:lnTo>
                      <a:pt x="27" y="0"/>
                    </a:lnTo>
                    <a:lnTo>
                      <a:pt x="21" y="2"/>
                    </a:lnTo>
                    <a:lnTo>
                      <a:pt x="21" y="2"/>
                    </a:lnTo>
                    <a:lnTo>
                      <a:pt x="11" y="6"/>
                    </a:lnTo>
                    <a:lnTo>
                      <a:pt x="5" y="15"/>
                    </a:lnTo>
                    <a:lnTo>
                      <a:pt x="0" y="25"/>
                    </a:lnTo>
                    <a:lnTo>
                      <a:pt x="2" y="36"/>
                    </a:lnTo>
                    <a:lnTo>
                      <a:pt x="2" y="36"/>
                    </a:lnTo>
                    <a:lnTo>
                      <a:pt x="5" y="44"/>
                    </a:lnTo>
                    <a:lnTo>
                      <a:pt x="11" y="50"/>
                    </a:lnTo>
                    <a:lnTo>
                      <a:pt x="19" y="54"/>
                    </a:lnTo>
                    <a:lnTo>
                      <a:pt x="27" y="54"/>
                    </a:lnTo>
                    <a:lnTo>
                      <a:pt x="27" y="54"/>
                    </a:lnTo>
                    <a:lnTo>
                      <a:pt x="33" y="54"/>
                    </a:lnTo>
                    <a:lnTo>
                      <a:pt x="33" y="54"/>
                    </a:lnTo>
                    <a:lnTo>
                      <a:pt x="44" y="50"/>
                    </a:lnTo>
                    <a:lnTo>
                      <a:pt x="50" y="42"/>
                    </a:lnTo>
                    <a:lnTo>
                      <a:pt x="54" y="32"/>
                    </a:lnTo>
                    <a:lnTo>
                      <a:pt x="54" y="21"/>
                    </a:lnTo>
                    <a:lnTo>
                      <a:pt x="54" y="21"/>
                    </a:lnTo>
                    <a:lnTo>
                      <a:pt x="50" y="13"/>
                    </a:lnTo>
                    <a:lnTo>
                      <a:pt x="44" y="6"/>
                    </a:lnTo>
                    <a:lnTo>
                      <a:pt x="36" y="2"/>
                    </a:lnTo>
                    <a:lnTo>
                      <a:pt x="2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02" name="Freeform 117"/>
              <p:cNvSpPr>
                <a:spLocks/>
              </p:cNvSpPr>
              <p:nvPr userDrawn="1"/>
            </p:nvSpPr>
            <p:spPr bwMode="auto">
              <a:xfrm>
                <a:off x="2372" y="3185"/>
                <a:ext cx="48" cy="48"/>
              </a:xfrm>
              <a:custGeom>
                <a:avLst/>
                <a:gdLst/>
                <a:ahLst/>
                <a:cxnLst>
                  <a:cxn ang="0">
                    <a:pos x="25" y="0"/>
                  </a:cxn>
                  <a:cxn ang="0">
                    <a:pos x="25" y="0"/>
                  </a:cxn>
                  <a:cxn ang="0">
                    <a:pos x="19" y="0"/>
                  </a:cxn>
                  <a:cxn ang="0">
                    <a:pos x="19" y="0"/>
                  </a:cxn>
                  <a:cxn ang="0">
                    <a:pos x="11" y="6"/>
                  </a:cxn>
                  <a:cxn ang="0">
                    <a:pos x="5" y="13"/>
                  </a:cxn>
                  <a:cxn ang="0">
                    <a:pos x="0" y="21"/>
                  </a:cxn>
                  <a:cxn ang="0">
                    <a:pos x="2" y="32"/>
                  </a:cxn>
                  <a:cxn ang="0">
                    <a:pos x="2" y="32"/>
                  </a:cxn>
                  <a:cxn ang="0">
                    <a:pos x="5" y="38"/>
                  </a:cxn>
                  <a:cxn ang="0">
                    <a:pos x="11" y="44"/>
                  </a:cxn>
                  <a:cxn ang="0">
                    <a:pos x="17" y="48"/>
                  </a:cxn>
                  <a:cxn ang="0">
                    <a:pos x="25" y="48"/>
                  </a:cxn>
                  <a:cxn ang="0">
                    <a:pos x="25" y="48"/>
                  </a:cxn>
                  <a:cxn ang="0">
                    <a:pos x="32" y="48"/>
                  </a:cxn>
                  <a:cxn ang="0">
                    <a:pos x="32" y="48"/>
                  </a:cxn>
                  <a:cxn ang="0">
                    <a:pos x="40" y="44"/>
                  </a:cxn>
                  <a:cxn ang="0">
                    <a:pos x="46" y="38"/>
                  </a:cxn>
                  <a:cxn ang="0">
                    <a:pos x="48" y="27"/>
                  </a:cxn>
                  <a:cxn ang="0">
                    <a:pos x="48" y="19"/>
                  </a:cxn>
                  <a:cxn ang="0">
                    <a:pos x="48" y="19"/>
                  </a:cxn>
                  <a:cxn ang="0">
                    <a:pos x="44" y="11"/>
                  </a:cxn>
                  <a:cxn ang="0">
                    <a:pos x="40" y="5"/>
                  </a:cxn>
                  <a:cxn ang="0">
                    <a:pos x="32" y="2"/>
                  </a:cxn>
                  <a:cxn ang="0">
                    <a:pos x="25" y="0"/>
                  </a:cxn>
                </a:cxnLst>
                <a:rect l="0" t="0" r="r" b="b"/>
                <a:pathLst>
                  <a:path w="48" h="48">
                    <a:moveTo>
                      <a:pt x="25" y="0"/>
                    </a:moveTo>
                    <a:lnTo>
                      <a:pt x="25" y="0"/>
                    </a:lnTo>
                    <a:lnTo>
                      <a:pt x="19" y="0"/>
                    </a:lnTo>
                    <a:lnTo>
                      <a:pt x="19" y="0"/>
                    </a:lnTo>
                    <a:lnTo>
                      <a:pt x="11" y="6"/>
                    </a:lnTo>
                    <a:lnTo>
                      <a:pt x="5" y="13"/>
                    </a:lnTo>
                    <a:lnTo>
                      <a:pt x="0" y="21"/>
                    </a:lnTo>
                    <a:lnTo>
                      <a:pt x="2" y="32"/>
                    </a:lnTo>
                    <a:lnTo>
                      <a:pt x="2" y="32"/>
                    </a:lnTo>
                    <a:lnTo>
                      <a:pt x="5" y="38"/>
                    </a:lnTo>
                    <a:lnTo>
                      <a:pt x="11" y="44"/>
                    </a:lnTo>
                    <a:lnTo>
                      <a:pt x="17" y="48"/>
                    </a:lnTo>
                    <a:lnTo>
                      <a:pt x="25" y="48"/>
                    </a:lnTo>
                    <a:lnTo>
                      <a:pt x="25" y="48"/>
                    </a:lnTo>
                    <a:lnTo>
                      <a:pt x="32" y="48"/>
                    </a:lnTo>
                    <a:lnTo>
                      <a:pt x="32" y="48"/>
                    </a:lnTo>
                    <a:lnTo>
                      <a:pt x="40" y="44"/>
                    </a:lnTo>
                    <a:lnTo>
                      <a:pt x="46" y="38"/>
                    </a:lnTo>
                    <a:lnTo>
                      <a:pt x="48" y="27"/>
                    </a:lnTo>
                    <a:lnTo>
                      <a:pt x="48" y="19"/>
                    </a:lnTo>
                    <a:lnTo>
                      <a:pt x="48" y="19"/>
                    </a:lnTo>
                    <a:lnTo>
                      <a:pt x="44" y="11"/>
                    </a:lnTo>
                    <a:lnTo>
                      <a:pt x="40" y="5"/>
                    </a:lnTo>
                    <a:lnTo>
                      <a:pt x="32" y="2"/>
                    </a:lnTo>
                    <a:lnTo>
                      <a:pt x="2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03" name="Freeform 118"/>
              <p:cNvSpPr>
                <a:spLocks/>
              </p:cNvSpPr>
              <p:nvPr userDrawn="1"/>
            </p:nvSpPr>
            <p:spPr bwMode="auto">
              <a:xfrm>
                <a:off x="2372" y="3185"/>
                <a:ext cx="48" cy="48"/>
              </a:xfrm>
              <a:custGeom>
                <a:avLst/>
                <a:gdLst/>
                <a:ahLst/>
                <a:cxnLst>
                  <a:cxn ang="0">
                    <a:pos x="25" y="0"/>
                  </a:cxn>
                  <a:cxn ang="0">
                    <a:pos x="25" y="0"/>
                  </a:cxn>
                  <a:cxn ang="0">
                    <a:pos x="19" y="0"/>
                  </a:cxn>
                  <a:cxn ang="0">
                    <a:pos x="19" y="0"/>
                  </a:cxn>
                  <a:cxn ang="0">
                    <a:pos x="11" y="6"/>
                  </a:cxn>
                  <a:cxn ang="0">
                    <a:pos x="5" y="13"/>
                  </a:cxn>
                  <a:cxn ang="0">
                    <a:pos x="0" y="21"/>
                  </a:cxn>
                  <a:cxn ang="0">
                    <a:pos x="2" y="32"/>
                  </a:cxn>
                  <a:cxn ang="0">
                    <a:pos x="2" y="32"/>
                  </a:cxn>
                  <a:cxn ang="0">
                    <a:pos x="5" y="38"/>
                  </a:cxn>
                  <a:cxn ang="0">
                    <a:pos x="11" y="44"/>
                  </a:cxn>
                  <a:cxn ang="0">
                    <a:pos x="17" y="48"/>
                  </a:cxn>
                  <a:cxn ang="0">
                    <a:pos x="25" y="48"/>
                  </a:cxn>
                  <a:cxn ang="0">
                    <a:pos x="25" y="48"/>
                  </a:cxn>
                  <a:cxn ang="0">
                    <a:pos x="32" y="48"/>
                  </a:cxn>
                  <a:cxn ang="0">
                    <a:pos x="32" y="48"/>
                  </a:cxn>
                  <a:cxn ang="0">
                    <a:pos x="40" y="44"/>
                  </a:cxn>
                  <a:cxn ang="0">
                    <a:pos x="46" y="38"/>
                  </a:cxn>
                  <a:cxn ang="0">
                    <a:pos x="48" y="27"/>
                  </a:cxn>
                  <a:cxn ang="0">
                    <a:pos x="48" y="19"/>
                  </a:cxn>
                  <a:cxn ang="0">
                    <a:pos x="48" y="19"/>
                  </a:cxn>
                  <a:cxn ang="0">
                    <a:pos x="44" y="11"/>
                  </a:cxn>
                  <a:cxn ang="0">
                    <a:pos x="40" y="5"/>
                  </a:cxn>
                  <a:cxn ang="0">
                    <a:pos x="32" y="2"/>
                  </a:cxn>
                  <a:cxn ang="0">
                    <a:pos x="25" y="0"/>
                  </a:cxn>
                </a:cxnLst>
                <a:rect l="0" t="0" r="r" b="b"/>
                <a:pathLst>
                  <a:path w="48" h="48">
                    <a:moveTo>
                      <a:pt x="25" y="0"/>
                    </a:moveTo>
                    <a:lnTo>
                      <a:pt x="25" y="0"/>
                    </a:lnTo>
                    <a:lnTo>
                      <a:pt x="19" y="0"/>
                    </a:lnTo>
                    <a:lnTo>
                      <a:pt x="19" y="0"/>
                    </a:lnTo>
                    <a:lnTo>
                      <a:pt x="11" y="6"/>
                    </a:lnTo>
                    <a:lnTo>
                      <a:pt x="5" y="13"/>
                    </a:lnTo>
                    <a:lnTo>
                      <a:pt x="0" y="21"/>
                    </a:lnTo>
                    <a:lnTo>
                      <a:pt x="2" y="32"/>
                    </a:lnTo>
                    <a:lnTo>
                      <a:pt x="2" y="32"/>
                    </a:lnTo>
                    <a:lnTo>
                      <a:pt x="5" y="38"/>
                    </a:lnTo>
                    <a:lnTo>
                      <a:pt x="11" y="44"/>
                    </a:lnTo>
                    <a:lnTo>
                      <a:pt x="17" y="48"/>
                    </a:lnTo>
                    <a:lnTo>
                      <a:pt x="25" y="48"/>
                    </a:lnTo>
                    <a:lnTo>
                      <a:pt x="25" y="48"/>
                    </a:lnTo>
                    <a:lnTo>
                      <a:pt x="32" y="48"/>
                    </a:lnTo>
                    <a:lnTo>
                      <a:pt x="32" y="48"/>
                    </a:lnTo>
                    <a:lnTo>
                      <a:pt x="40" y="44"/>
                    </a:lnTo>
                    <a:lnTo>
                      <a:pt x="46" y="38"/>
                    </a:lnTo>
                    <a:lnTo>
                      <a:pt x="48" y="27"/>
                    </a:lnTo>
                    <a:lnTo>
                      <a:pt x="48" y="19"/>
                    </a:lnTo>
                    <a:lnTo>
                      <a:pt x="48" y="19"/>
                    </a:lnTo>
                    <a:lnTo>
                      <a:pt x="44" y="11"/>
                    </a:lnTo>
                    <a:lnTo>
                      <a:pt x="40" y="5"/>
                    </a:lnTo>
                    <a:lnTo>
                      <a:pt x="32" y="2"/>
                    </a:lnTo>
                    <a:lnTo>
                      <a:pt x="2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04" name="Freeform 119"/>
              <p:cNvSpPr>
                <a:spLocks/>
              </p:cNvSpPr>
              <p:nvPr userDrawn="1"/>
            </p:nvSpPr>
            <p:spPr bwMode="auto">
              <a:xfrm>
                <a:off x="2360" y="3353"/>
                <a:ext cx="42" cy="42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8"/>
                  </a:cxn>
                  <a:cxn ang="0">
                    <a:pos x="0" y="26"/>
                  </a:cxn>
                  <a:cxn ang="0">
                    <a:pos x="0" y="26"/>
                  </a:cxn>
                  <a:cxn ang="0">
                    <a:pos x="4" y="32"/>
                  </a:cxn>
                  <a:cxn ang="0">
                    <a:pos x="8" y="38"/>
                  </a:cxn>
                  <a:cxn ang="0">
                    <a:pos x="14" y="42"/>
                  </a:cxn>
                  <a:cxn ang="0">
                    <a:pos x="22" y="42"/>
                  </a:cxn>
                  <a:cxn ang="0">
                    <a:pos x="22" y="42"/>
                  </a:cxn>
                  <a:cxn ang="0">
                    <a:pos x="26" y="42"/>
                  </a:cxn>
                  <a:cxn ang="0">
                    <a:pos x="26" y="42"/>
                  </a:cxn>
                  <a:cxn ang="0">
                    <a:pos x="34" y="38"/>
                  </a:cxn>
                  <a:cxn ang="0">
                    <a:pos x="40" y="32"/>
                  </a:cxn>
                  <a:cxn ang="0">
                    <a:pos x="42" y="24"/>
                  </a:cxn>
                  <a:cxn ang="0">
                    <a:pos x="42" y="16"/>
                  </a:cxn>
                  <a:cxn ang="0">
                    <a:pos x="42" y="16"/>
                  </a:cxn>
                  <a:cxn ang="0">
                    <a:pos x="38" y="10"/>
                  </a:cxn>
                  <a:cxn ang="0">
                    <a:pos x="34" y="4"/>
                  </a:cxn>
                  <a:cxn ang="0">
                    <a:pos x="28" y="2"/>
                  </a:cxn>
                  <a:cxn ang="0">
                    <a:pos x="22" y="0"/>
                  </a:cxn>
                </a:cxnLst>
                <a:rect l="0" t="0" r="r" b="b"/>
                <a:pathLst>
                  <a:path w="42" h="42">
                    <a:moveTo>
                      <a:pt x="22" y="0"/>
                    </a:moveTo>
                    <a:lnTo>
                      <a:pt x="2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8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4" y="32"/>
                    </a:lnTo>
                    <a:lnTo>
                      <a:pt x="8" y="38"/>
                    </a:lnTo>
                    <a:lnTo>
                      <a:pt x="14" y="42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34" y="38"/>
                    </a:lnTo>
                    <a:lnTo>
                      <a:pt x="40" y="32"/>
                    </a:lnTo>
                    <a:lnTo>
                      <a:pt x="42" y="24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38" y="10"/>
                    </a:lnTo>
                    <a:lnTo>
                      <a:pt x="34" y="4"/>
                    </a:lnTo>
                    <a:lnTo>
                      <a:pt x="28" y="2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05" name="Freeform 120"/>
              <p:cNvSpPr>
                <a:spLocks/>
              </p:cNvSpPr>
              <p:nvPr userDrawn="1"/>
            </p:nvSpPr>
            <p:spPr bwMode="auto">
              <a:xfrm>
                <a:off x="2360" y="3353"/>
                <a:ext cx="42" cy="42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8"/>
                  </a:cxn>
                  <a:cxn ang="0">
                    <a:pos x="0" y="26"/>
                  </a:cxn>
                  <a:cxn ang="0">
                    <a:pos x="0" y="26"/>
                  </a:cxn>
                  <a:cxn ang="0">
                    <a:pos x="4" y="32"/>
                  </a:cxn>
                  <a:cxn ang="0">
                    <a:pos x="8" y="38"/>
                  </a:cxn>
                  <a:cxn ang="0">
                    <a:pos x="14" y="42"/>
                  </a:cxn>
                  <a:cxn ang="0">
                    <a:pos x="22" y="42"/>
                  </a:cxn>
                  <a:cxn ang="0">
                    <a:pos x="22" y="42"/>
                  </a:cxn>
                  <a:cxn ang="0">
                    <a:pos x="26" y="42"/>
                  </a:cxn>
                  <a:cxn ang="0">
                    <a:pos x="26" y="42"/>
                  </a:cxn>
                  <a:cxn ang="0">
                    <a:pos x="34" y="38"/>
                  </a:cxn>
                  <a:cxn ang="0">
                    <a:pos x="40" y="32"/>
                  </a:cxn>
                  <a:cxn ang="0">
                    <a:pos x="42" y="24"/>
                  </a:cxn>
                  <a:cxn ang="0">
                    <a:pos x="42" y="16"/>
                  </a:cxn>
                  <a:cxn ang="0">
                    <a:pos x="42" y="16"/>
                  </a:cxn>
                  <a:cxn ang="0">
                    <a:pos x="38" y="10"/>
                  </a:cxn>
                  <a:cxn ang="0">
                    <a:pos x="34" y="4"/>
                  </a:cxn>
                  <a:cxn ang="0">
                    <a:pos x="28" y="2"/>
                  </a:cxn>
                  <a:cxn ang="0">
                    <a:pos x="22" y="0"/>
                  </a:cxn>
                </a:cxnLst>
                <a:rect l="0" t="0" r="r" b="b"/>
                <a:pathLst>
                  <a:path w="42" h="42">
                    <a:moveTo>
                      <a:pt x="22" y="0"/>
                    </a:moveTo>
                    <a:lnTo>
                      <a:pt x="2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8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4" y="32"/>
                    </a:lnTo>
                    <a:lnTo>
                      <a:pt x="8" y="38"/>
                    </a:lnTo>
                    <a:lnTo>
                      <a:pt x="14" y="42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34" y="38"/>
                    </a:lnTo>
                    <a:lnTo>
                      <a:pt x="40" y="32"/>
                    </a:lnTo>
                    <a:lnTo>
                      <a:pt x="42" y="24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38" y="10"/>
                    </a:lnTo>
                    <a:lnTo>
                      <a:pt x="34" y="4"/>
                    </a:lnTo>
                    <a:lnTo>
                      <a:pt x="28" y="2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06" name="Freeform 121"/>
              <p:cNvSpPr>
                <a:spLocks/>
              </p:cNvSpPr>
              <p:nvPr userDrawn="1"/>
            </p:nvSpPr>
            <p:spPr bwMode="auto">
              <a:xfrm>
                <a:off x="2378" y="3521"/>
                <a:ext cx="36" cy="36"/>
              </a:xfrm>
              <a:custGeom>
                <a:avLst/>
                <a:gdLst/>
                <a:ahLst/>
                <a:cxnLst>
                  <a:cxn ang="0">
                    <a:pos x="19" y="0"/>
                  </a:cxn>
                  <a:cxn ang="0">
                    <a:pos x="19" y="0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5"/>
                  </a:cxn>
                  <a:cxn ang="0">
                    <a:pos x="2" y="23"/>
                  </a:cxn>
                  <a:cxn ang="0">
                    <a:pos x="2" y="23"/>
                  </a:cxn>
                  <a:cxn ang="0">
                    <a:pos x="4" y="29"/>
                  </a:cxn>
                  <a:cxn ang="0">
                    <a:pos x="8" y="32"/>
                  </a:cxn>
                  <a:cxn ang="0">
                    <a:pos x="14" y="34"/>
                  </a:cxn>
                  <a:cxn ang="0">
                    <a:pos x="19" y="36"/>
                  </a:cxn>
                  <a:cxn ang="0">
                    <a:pos x="19" y="36"/>
                  </a:cxn>
                  <a:cxn ang="0">
                    <a:pos x="23" y="36"/>
                  </a:cxn>
                  <a:cxn ang="0">
                    <a:pos x="23" y="36"/>
                  </a:cxn>
                  <a:cxn ang="0">
                    <a:pos x="30" y="32"/>
                  </a:cxn>
                  <a:cxn ang="0">
                    <a:pos x="34" y="27"/>
                  </a:cxn>
                  <a:cxn ang="0">
                    <a:pos x="36" y="21"/>
                  </a:cxn>
                  <a:cxn ang="0">
                    <a:pos x="36" y="14"/>
                  </a:cxn>
                  <a:cxn ang="0">
                    <a:pos x="36" y="14"/>
                  </a:cxn>
                  <a:cxn ang="0">
                    <a:pos x="34" y="8"/>
                  </a:cxn>
                  <a:cxn ang="0">
                    <a:pos x="29" y="4"/>
                  </a:cxn>
                  <a:cxn ang="0">
                    <a:pos x="25" y="2"/>
                  </a:cxn>
                  <a:cxn ang="0">
                    <a:pos x="19" y="0"/>
                  </a:cxn>
                </a:cxnLst>
                <a:rect l="0" t="0" r="r" b="b"/>
                <a:pathLst>
                  <a:path w="36" h="36">
                    <a:moveTo>
                      <a:pt x="19" y="0"/>
                    </a:moveTo>
                    <a:lnTo>
                      <a:pt x="19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5"/>
                    </a:lnTo>
                    <a:lnTo>
                      <a:pt x="2" y="23"/>
                    </a:lnTo>
                    <a:lnTo>
                      <a:pt x="2" y="23"/>
                    </a:lnTo>
                    <a:lnTo>
                      <a:pt x="4" y="29"/>
                    </a:lnTo>
                    <a:lnTo>
                      <a:pt x="8" y="32"/>
                    </a:lnTo>
                    <a:lnTo>
                      <a:pt x="14" y="34"/>
                    </a:lnTo>
                    <a:lnTo>
                      <a:pt x="19" y="36"/>
                    </a:lnTo>
                    <a:lnTo>
                      <a:pt x="19" y="36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30" y="32"/>
                    </a:lnTo>
                    <a:lnTo>
                      <a:pt x="34" y="27"/>
                    </a:lnTo>
                    <a:lnTo>
                      <a:pt x="36" y="21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4" y="8"/>
                    </a:lnTo>
                    <a:lnTo>
                      <a:pt x="29" y="4"/>
                    </a:lnTo>
                    <a:lnTo>
                      <a:pt x="25" y="2"/>
                    </a:lnTo>
                    <a:lnTo>
                      <a:pt x="1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07" name="Freeform 122"/>
              <p:cNvSpPr>
                <a:spLocks/>
              </p:cNvSpPr>
              <p:nvPr userDrawn="1"/>
            </p:nvSpPr>
            <p:spPr bwMode="auto">
              <a:xfrm>
                <a:off x="2378" y="3521"/>
                <a:ext cx="36" cy="36"/>
              </a:xfrm>
              <a:custGeom>
                <a:avLst/>
                <a:gdLst/>
                <a:ahLst/>
                <a:cxnLst>
                  <a:cxn ang="0">
                    <a:pos x="19" y="0"/>
                  </a:cxn>
                  <a:cxn ang="0">
                    <a:pos x="19" y="0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5"/>
                  </a:cxn>
                  <a:cxn ang="0">
                    <a:pos x="2" y="23"/>
                  </a:cxn>
                  <a:cxn ang="0">
                    <a:pos x="2" y="23"/>
                  </a:cxn>
                  <a:cxn ang="0">
                    <a:pos x="4" y="29"/>
                  </a:cxn>
                  <a:cxn ang="0">
                    <a:pos x="8" y="32"/>
                  </a:cxn>
                  <a:cxn ang="0">
                    <a:pos x="14" y="34"/>
                  </a:cxn>
                  <a:cxn ang="0">
                    <a:pos x="19" y="36"/>
                  </a:cxn>
                  <a:cxn ang="0">
                    <a:pos x="19" y="36"/>
                  </a:cxn>
                  <a:cxn ang="0">
                    <a:pos x="23" y="36"/>
                  </a:cxn>
                  <a:cxn ang="0">
                    <a:pos x="23" y="36"/>
                  </a:cxn>
                  <a:cxn ang="0">
                    <a:pos x="30" y="32"/>
                  </a:cxn>
                  <a:cxn ang="0">
                    <a:pos x="34" y="27"/>
                  </a:cxn>
                  <a:cxn ang="0">
                    <a:pos x="36" y="21"/>
                  </a:cxn>
                  <a:cxn ang="0">
                    <a:pos x="36" y="14"/>
                  </a:cxn>
                  <a:cxn ang="0">
                    <a:pos x="36" y="14"/>
                  </a:cxn>
                  <a:cxn ang="0">
                    <a:pos x="34" y="8"/>
                  </a:cxn>
                  <a:cxn ang="0">
                    <a:pos x="29" y="4"/>
                  </a:cxn>
                  <a:cxn ang="0">
                    <a:pos x="25" y="2"/>
                  </a:cxn>
                  <a:cxn ang="0">
                    <a:pos x="19" y="0"/>
                  </a:cxn>
                </a:cxnLst>
                <a:rect l="0" t="0" r="r" b="b"/>
                <a:pathLst>
                  <a:path w="36" h="36">
                    <a:moveTo>
                      <a:pt x="19" y="0"/>
                    </a:moveTo>
                    <a:lnTo>
                      <a:pt x="19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5"/>
                    </a:lnTo>
                    <a:lnTo>
                      <a:pt x="2" y="23"/>
                    </a:lnTo>
                    <a:lnTo>
                      <a:pt x="2" y="23"/>
                    </a:lnTo>
                    <a:lnTo>
                      <a:pt x="4" y="29"/>
                    </a:lnTo>
                    <a:lnTo>
                      <a:pt x="8" y="32"/>
                    </a:lnTo>
                    <a:lnTo>
                      <a:pt x="14" y="34"/>
                    </a:lnTo>
                    <a:lnTo>
                      <a:pt x="19" y="36"/>
                    </a:lnTo>
                    <a:lnTo>
                      <a:pt x="19" y="36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30" y="32"/>
                    </a:lnTo>
                    <a:lnTo>
                      <a:pt x="34" y="27"/>
                    </a:lnTo>
                    <a:lnTo>
                      <a:pt x="36" y="21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4" y="8"/>
                    </a:lnTo>
                    <a:lnTo>
                      <a:pt x="29" y="4"/>
                    </a:lnTo>
                    <a:lnTo>
                      <a:pt x="25" y="2"/>
                    </a:lnTo>
                    <a:lnTo>
                      <a:pt x="1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08" name="Freeform 123"/>
              <p:cNvSpPr>
                <a:spLocks/>
              </p:cNvSpPr>
              <p:nvPr userDrawn="1"/>
            </p:nvSpPr>
            <p:spPr bwMode="auto">
              <a:xfrm>
                <a:off x="2426" y="3677"/>
                <a:ext cx="30" cy="36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11" y="2"/>
                  </a:cxn>
                  <a:cxn ang="0">
                    <a:pos x="11" y="2"/>
                  </a:cxn>
                  <a:cxn ang="0">
                    <a:pos x="6" y="5"/>
                  </a:cxn>
                  <a:cxn ang="0">
                    <a:pos x="2" y="11"/>
                  </a:cxn>
                  <a:cxn ang="0">
                    <a:pos x="0" y="17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2" y="30"/>
                  </a:cxn>
                  <a:cxn ang="0">
                    <a:pos x="6" y="34"/>
                  </a:cxn>
                  <a:cxn ang="0">
                    <a:pos x="9" y="36"/>
                  </a:cxn>
                  <a:cxn ang="0">
                    <a:pos x="15" y="36"/>
                  </a:cxn>
                  <a:cxn ang="0">
                    <a:pos x="15" y="36"/>
                  </a:cxn>
                  <a:cxn ang="0">
                    <a:pos x="19" y="36"/>
                  </a:cxn>
                  <a:cxn ang="0">
                    <a:pos x="19" y="36"/>
                  </a:cxn>
                  <a:cxn ang="0">
                    <a:pos x="24" y="34"/>
                  </a:cxn>
                  <a:cxn ang="0">
                    <a:pos x="28" y="28"/>
                  </a:cxn>
                  <a:cxn ang="0">
                    <a:pos x="30" y="21"/>
                  </a:cxn>
                  <a:cxn ang="0">
                    <a:pos x="30" y="15"/>
                  </a:cxn>
                  <a:cxn ang="0">
                    <a:pos x="30" y="15"/>
                  </a:cxn>
                  <a:cxn ang="0">
                    <a:pos x="28" y="9"/>
                  </a:cxn>
                  <a:cxn ang="0">
                    <a:pos x="24" y="5"/>
                  </a:cxn>
                  <a:cxn ang="0">
                    <a:pos x="21" y="2"/>
                  </a:cxn>
                  <a:cxn ang="0">
                    <a:pos x="15" y="0"/>
                  </a:cxn>
                </a:cxnLst>
                <a:rect l="0" t="0" r="r" b="b"/>
                <a:pathLst>
                  <a:path w="30" h="36">
                    <a:moveTo>
                      <a:pt x="15" y="0"/>
                    </a:moveTo>
                    <a:lnTo>
                      <a:pt x="15" y="0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6" y="5"/>
                    </a:lnTo>
                    <a:lnTo>
                      <a:pt x="2" y="11"/>
                    </a:lnTo>
                    <a:lnTo>
                      <a:pt x="0" y="17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30"/>
                    </a:lnTo>
                    <a:lnTo>
                      <a:pt x="6" y="34"/>
                    </a:lnTo>
                    <a:lnTo>
                      <a:pt x="9" y="36"/>
                    </a:lnTo>
                    <a:lnTo>
                      <a:pt x="15" y="36"/>
                    </a:lnTo>
                    <a:lnTo>
                      <a:pt x="15" y="36"/>
                    </a:lnTo>
                    <a:lnTo>
                      <a:pt x="19" y="36"/>
                    </a:lnTo>
                    <a:lnTo>
                      <a:pt x="19" y="36"/>
                    </a:lnTo>
                    <a:lnTo>
                      <a:pt x="24" y="34"/>
                    </a:lnTo>
                    <a:lnTo>
                      <a:pt x="28" y="28"/>
                    </a:lnTo>
                    <a:lnTo>
                      <a:pt x="30" y="21"/>
                    </a:lnTo>
                    <a:lnTo>
                      <a:pt x="30" y="15"/>
                    </a:lnTo>
                    <a:lnTo>
                      <a:pt x="30" y="15"/>
                    </a:lnTo>
                    <a:lnTo>
                      <a:pt x="28" y="9"/>
                    </a:lnTo>
                    <a:lnTo>
                      <a:pt x="24" y="5"/>
                    </a:lnTo>
                    <a:lnTo>
                      <a:pt x="21" y="2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09" name="Freeform 124"/>
              <p:cNvSpPr>
                <a:spLocks/>
              </p:cNvSpPr>
              <p:nvPr userDrawn="1"/>
            </p:nvSpPr>
            <p:spPr bwMode="auto">
              <a:xfrm>
                <a:off x="2426" y="3677"/>
                <a:ext cx="30" cy="36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11" y="2"/>
                  </a:cxn>
                  <a:cxn ang="0">
                    <a:pos x="11" y="2"/>
                  </a:cxn>
                  <a:cxn ang="0">
                    <a:pos x="6" y="5"/>
                  </a:cxn>
                  <a:cxn ang="0">
                    <a:pos x="2" y="11"/>
                  </a:cxn>
                  <a:cxn ang="0">
                    <a:pos x="0" y="17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2" y="30"/>
                  </a:cxn>
                  <a:cxn ang="0">
                    <a:pos x="6" y="34"/>
                  </a:cxn>
                  <a:cxn ang="0">
                    <a:pos x="9" y="36"/>
                  </a:cxn>
                  <a:cxn ang="0">
                    <a:pos x="15" y="36"/>
                  </a:cxn>
                  <a:cxn ang="0">
                    <a:pos x="15" y="36"/>
                  </a:cxn>
                  <a:cxn ang="0">
                    <a:pos x="19" y="36"/>
                  </a:cxn>
                  <a:cxn ang="0">
                    <a:pos x="19" y="36"/>
                  </a:cxn>
                  <a:cxn ang="0">
                    <a:pos x="24" y="34"/>
                  </a:cxn>
                  <a:cxn ang="0">
                    <a:pos x="28" y="28"/>
                  </a:cxn>
                  <a:cxn ang="0">
                    <a:pos x="30" y="21"/>
                  </a:cxn>
                  <a:cxn ang="0">
                    <a:pos x="30" y="15"/>
                  </a:cxn>
                  <a:cxn ang="0">
                    <a:pos x="30" y="15"/>
                  </a:cxn>
                  <a:cxn ang="0">
                    <a:pos x="28" y="9"/>
                  </a:cxn>
                  <a:cxn ang="0">
                    <a:pos x="24" y="5"/>
                  </a:cxn>
                  <a:cxn ang="0">
                    <a:pos x="21" y="2"/>
                  </a:cxn>
                  <a:cxn ang="0">
                    <a:pos x="15" y="0"/>
                  </a:cxn>
                </a:cxnLst>
                <a:rect l="0" t="0" r="r" b="b"/>
                <a:pathLst>
                  <a:path w="30" h="36">
                    <a:moveTo>
                      <a:pt x="15" y="0"/>
                    </a:moveTo>
                    <a:lnTo>
                      <a:pt x="15" y="0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6" y="5"/>
                    </a:lnTo>
                    <a:lnTo>
                      <a:pt x="2" y="11"/>
                    </a:lnTo>
                    <a:lnTo>
                      <a:pt x="0" y="17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30"/>
                    </a:lnTo>
                    <a:lnTo>
                      <a:pt x="6" y="34"/>
                    </a:lnTo>
                    <a:lnTo>
                      <a:pt x="9" y="36"/>
                    </a:lnTo>
                    <a:lnTo>
                      <a:pt x="15" y="36"/>
                    </a:lnTo>
                    <a:lnTo>
                      <a:pt x="15" y="36"/>
                    </a:lnTo>
                    <a:lnTo>
                      <a:pt x="19" y="36"/>
                    </a:lnTo>
                    <a:lnTo>
                      <a:pt x="19" y="36"/>
                    </a:lnTo>
                    <a:lnTo>
                      <a:pt x="24" y="34"/>
                    </a:lnTo>
                    <a:lnTo>
                      <a:pt x="28" y="28"/>
                    </a:lnTo>
                    <a:lnTo>
                      <a:pt x="30" y="21"/>
                    </a:lnTo>
                    <a:lnTo>
                      <a:pt x="30" y="15"/>
                    </a:lnTo>
                    <a:lnTo>
                      <a:pt x="30" y="15"/>
                    </a:lnTo>
                    <a:lnTo>
                      <a:pt x="28" y="9"/>
                    </a:lnTo>
                    <a:lnTo>
                      <a:pt x="24" y="5"/>
                    </a:lnTo>
                    <a:lnTo>
                      <a:pt x="21" y="2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10" name="Freeform 125"/>
              <p:cNvSpPr>
                <a:spLocks/>
              </p:cNvSpPr>
              <p:nvPr userDrawn="1"/>
            </p:nvSpPr>
            <p:spPr bwMode="auto">
              <a:xfrm>
                <a:off x="2774" y="2723"/>
                <a:ext cx="72" cy="72"/>
              </a:xfrm>
              <a:custGeom>
                <a:avLst/>
                <a:gdLst/>
                <a:ahLst/>
                <a:cxnLst>
                  <a:cxn ang="0">
                    <a:pos x="35" y="0"/>
                  </a:cxn>
                  <a:cxn ang="0">
                    <a:pos x="35" y="0"/>
                  </a:cxn>
                  <a:cxn ang="0">
                    <a:pos x="29" y="0"/>
                  </a:cxn>
                  <a:cxn ang="0">
                    <a:pos x="22" y="2"/>
                  </a:cxn>
                  <a:cxn ang="0">
                    <a:pos x="16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6"/>
                  </a:cxn>
                  <a:cxn ang="0">
                    <a:pos x="2" y="24"/>
                  </a:cxn>
                  <a:cxn ang="0">
                    <a:pos x="0" y="29"/>
                  </a:cxn>
                  <a:cxn ang="0">
                    <a:pos x="0" y="37"/>
                  </a:cxn>
                  <a:cxn ang="0">
                    <a:pos x="0" y="43"/>
                  </a:cxn>
                  <a:cxn ang="0">
                    <a:pos x="2" y="51"/>
                  </a:cxn>
                  <a:cxn ang="0">
                    <a:pos x="6" y="57"/>
                  </a:cxn>
                  <a:cxn ang="0">
                    <a:pos x="10" y="63"/>
                  </a:cxn>
                  <a:cxn ang="0">
                    <a:pos x="10" y="63"/>
                  </a:cxn>
                  <a:cxn ang="0">
                    <a:pos x="16" y="66"/>
                  </a:cxn>
                  <a:cxn ang="0">
                    <a:pos x="22" y="70"/>
                  </a:cxn>
                  <a:cxn ang="0">
                    <a:pos x="29" y="72"/>
                  </a:cxn>
                  <a:cxn ang="0">
                    <a:pos x="35" y="72"/>
                  </a:cxn>
                  <a:cxn ang="0">
                    <a:pos x="35" y="72"/>
                  </a:cxn>
                  <a:cxn ang="0">
                    <a:pos x="43" y="72"/>
                  </a:cxn>
                  <a:cxn ang="0">
                    <a:pos x="49" y="70"/>
                  </a:cxn>
                  <a:cxn ang="0">
                    <a:pos x="57" y="66"/>
                  </a:cxn>
                  <a:cxn ang="0">
                    <a:pos x="63" y="63"/>
                  </a:cxn>
                  <a:cxn ang="0">
                    <a:pos x="63" y="63"/>
                  </a:cxn>
                  <a:cxn ang="0">
                    <a:pos x="66" y="57"/>
                  </a:cxn>
                  <a:cxn ang="0">
                    <a:pos x="70" y="51"/>
                  </a:cxn>
                  <a:cxn ang="0">
                    <a:pos x="72" y="43"/>
                  </a:cxn>
                  <a:cxn ang="0">
                    <a:pos x="72" y="37"/>
                  </a:cxn>
                  <a:cxn ang="0">
                    <a:pos x="72" y="29"/>
                  </a:cxn>
                  <a:cxn ang="0">
                    <a:pos x="70" y="24"/>
                  </a:cxn>
                  <a:cxn ang="0">
                    <a:pos x="66" y="16"/>
                  </a:cxn>
                  <a:cxn ang="0">
                    <a:pos x="63" y="10"/>
                  </a:cxn>
                  <a:cxn ang="0">
                    <a:pos x="63" y="10"/>
                  </a:cxn>
                  <a:cxn ang="0">
                    <a:pos x="57" y="6"/>
                  </a:cxn>
                  <a:cxn ang="0">
                    <a:pos x="49" y="2"/>
                  </a:cxn>
                  <a:cxn ang="0">
                    <a:pos x="43" y="0"/>
                  </a:cxn>
                  <a:cxn ang="0">
                    <a:pos x="35" y="0"/>
                  </a:cxn>
                </a:cxnLst>
                <a:rect l="0" t="0" r="r" b="b"/>
                <a:pathLst>
                  <a:path w="72" h="72">
                    <a:moveTo>
                      <a:pt x="35" y="0"/>
                    </a:moveTo>
                    <a:lnTo>
                      <a:pt x="35" y="0"/>
                    </a:lnTo>
                    <a:lnTo>
                      <a:pt x="29" y="0"/>
                    </a:lnTo>
                    <a:lnTo>
                      <a:pt x="22" y="2"/>
                    </a:lnTo>
                    <a:lnTo>
                      <a:pt x="16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6"/>
                    </a:lnTo>
                    <a:lnTo>
                      <a:pt x="2" y="24"/>
                    </a:lnTo>
                    <a:lnTo>
                      <a:pt x="0" y="29"/>
                    </a:lnTo>
                    <a:lnTo>
                      <a:pt x="0" y="37"/>
                    </a:lnTo>
                    <a:lnTo>
                      <a:pt x="0" y="43"/>
                    </a:lnTo>
                    <a:lnTo>
                      <a:pt x="2" y="51"/>
                    </a:lnTo>
                    <a:lnTo>
                      <a:pt x="6" y="57"/>
                    </a:lnTo>
                    <a:lnTo>
                      <a:pt x="10" y="63"/>
                    </a:lnTo>
                    <a:lnTo>
                      <a:pt x="10" y="63"/>
                    </a:lnTo>
                    <a:lnTo>
                      <a:pt x="16" y="66"/>
                    </a:lnTo>
                    <a:lnTo>
                      <a:pt x="22" y="70"/>
                    </a:lnTo>
                    <a:lnTo>
                      <a:pt x="29" y="72"/>
                    </a:lnTo>
                    <a:lnTo>
                      <a:pt x="35" y="72"/>
                    </a:lnTo>
                    <a:lnTo>
                      <a:pt x="35" y="72"/>
                    </a:lnTo>
                    <a:lnTo>
                      <a:pt x="43" y="72"/>
                    </a:lnTo>
                    <a:lnTo>
                      <a:pt x="49" y="70"/>
                    </a:lnTo>
                    <a:lnTo>
                      <a:pt x="57" y="66"/>
                    </a:lnTo>
                    <a:lnTo>
                      <a:pt x="63" y="63"/>
                    </a:lnTo>
                    <a:lnTo>
                      <a:pt x="63" y="63"/>
                    </a:lnTo>
                    <a:lnTo>
                      <a:pt x="66" y="57"/>
                    </a:lnTo>
                    <a:lnTo>
                      <a:pt x="70" y="51"/>
                    </a:lnTo>
                    <a:lnTo>
                      <a:pt x="72" y="43"/>
                    </a:lnTo>
                    <a:lnTo>
                      <a:pt x="72" y="37"/>
                    </a:lnTo>
                    <a:lnTo>
                      <a:pt x="72" y="29"/>
                    </a:lnTo>
                    <a:lnTo>
                      <a:pt x="70" y="24"/>
                    </a:lnTo>
                    <a:lnTo>
                      <a:pt x="66" y="16"/>
                    </a:lnTo>
                    <a:lnTo>
                      <a:pt x="63" y="10"/>
                    </a:lnTo>
                    <a:lnTo>
                      <a:pt x="63" y="10"/>
                    </a:lnTo>
                    <a:lnTo>
                      <a:pt x="57" y="6"/>
                    </a:lnTo>
                    <a:lnTo>
                      <a:pt x="49" y="2"/>
                    </a:lnTo>
                    <a:lnTo>
                      <a:pt x="43" y="0"/>
                    </a:lnTo>
                    <a:lnTo>
                      <a:pt x="3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11" name="Freeform 126"/>
              <p:cNvSpPr>
                <a:spLocks/>
              </p:cNvSpPr>
              <p:nvPr userDrawn="1"/>
            </p:nvSpPr>
            <p:spPr bwMode="auto">
              <a:xfrm>
                <a:off x="2774" y="2723"/>
                <a:ext cx="72" cy="72"/>
              </a:xfrm>
              <a:custGeom>
                <a:avLst/>
                <a:gdLst/>
                <a:ahLst/>
                <a:cxnLst>
                  <a:cxn ang="0">
                    <a:pos x="35" y="0"/>
                  </a:cxn>
                  <a:cxn ang="0">
                    <a:pos x="35" y="0"/>
                  </a:cxn>
                  <a:cxn ang="0">
                    <a:pos x="29" y="0"/>
                  </a:cxn>
                  <a:cxn ang="0">
                    <a:pos x="22" y="2"/>
                  </a:cxn>
                  <a:cxn ang="0">
                    <a:pos x="16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6"/>
                  </a:cxn>
                  <a:cxn ang="0">
                    <a:pos x="2" y="24"/>
                  </a:cxn>
                  <a:cxn ang="0">
                    <a:pos x="0" y="29"/>
                  </a:cxn>
                  <a:cxn ang="0">
                    <a:pos x="0" y="37"/>
                  </a:cxn>
                  <a:cxn ang="0">
                    <a:pos x="0" y="43"/>
                  </a:cxn>
                  <a:cxn ang="0">
                    <a:pos x="2" y="51"/>
                  </a:cxn>
                  <a:cxn ang="0">
                    <a:pos x="6" y="57"/>
                  </a:cxn>
                  <a:cxn ang="0">
                    <a:pos x="10" y="63"/>
                  </a:cxn>
                  <a:cxn ang="0">
                    <a:pos x="10" y="63"/>
                  </a:cxn>
                  <a:cxn ang="0">
                    <a:pos x="16" y="66"/>
                  </a:cxn>
                  <a:cxn ang="0">
                    <a:pos x="22" y="70"/>
                  </a:cxn>
                  <a:cxn ang="0">
                    <a:pos x="29" y="72"/>
                  </a:cxn>
                  <a:cxn ang="0">
                    <a:pos x="35" y="72"/>
                  </a:cxn>
                  <a:cxn ang="0">
                    <a:pos x="35" y="72"/>
                  </a:cxn>
                  <a:cxn ang="0">
                    <a:pos x="43" y="72"/>
                  </a:cxn>
                  <a:cxn ang="0">
                    <a:pos x="49" y="70"/>
                  </a:cxn>
                  <a:cxn ang="0">
                    <a:pos x="57" y="66"/>
                  </a:cxn>
                  <a:cxn ang="0">
                    <a:pos x="63" y="63"/>
                  </a:cxn>
                  <a:cxn ang="0">
                    <a:pos x="63" y="63"/>
                  </a:cxn>
                  <a:cxn ang="0">
                    <a:pos x="66" y="57"/>
                  </a:cxn>
                  <a:cxn ang="0">
                    <a:pos x="70" y="51"/>
                  </a:cxn>
                  <a:cxn ang="0">
                    <a:pos x="72" y="43"/>
                  </a:cxn>
                  <a:cxn ang="0">
                    <a:pos x="72" y="37"/>
                  </a:cxn>
                  <a:cxn ang="0">
                    <a:pos x="72" y="29"/>
                  </a:cxn>
                  <a:cxn ang="0">
                    <a:pos x="70" y="24"/>
                  </a:cxn>
                  <a:cxn ang="0">
                    <a:pos x="66" y="16"/>
                  </a:cxn>
                  <a:cxn ang="0">
                    <a:pos x="63" y="10"/>
                  </a:cxn>
                  <a:cxn ang="0">
                    <a:pos x="63" y="10"/>
                  </a:cxn>
                  <a:cxn ang="0">
                    <a:pos x="57" y="6"/>
                  </a:cxn>
                  <a:cxn ang="0">
                    <a:pos x="49" y="2"/>
                  </a:cxn>
                  <a:cxn ang="0">
                    <a:pos x="43" y="0"/>
                  </a:cxn>
                  <a:cxn ang="0">
                    <a:pos x="35" y="0"/>
                  </a:cxn>
                </a:cxnLst>
                <a:rect l="0" t="0" r="r" b="b"/>
                <a:pathLst>
                  <a:path w="72" h="72">
                    <a:moveTo>
                      <a:pt x="35" y="0"/>
                    </a:moveTo>
                    <a:lnTo>
                      <a:pt x="35" y="0"/>
                    </a:lnTo>
                    <a:lnTo>
                      <a:pt x="29" y="0"/>
                    </a:lnTo>
                    <a:lnTo>
                      <a:pt x="22" y="2"/>
                    </a:lnTo>
                    <a:lnTo>
                      <a:pt x="16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6"/>
                    </a:lnTo>
                    <a:lnTo>
                      <a:pt x="2" y="24"/>
                    </a:lnTo>
                    <a:lnTo>
                      <a:pt x="0" y="29"/>
                    </a:lnTo>
                    <a:lnTo>
                      <a:pt x="0" y="37"/>
                    </a:lnTo>
                    <a:lnTo>
                      <a:pt x="0" y="43"/>
                    </a:lnTo>
                    <a:lnTo>
                      <a:pt x="2" y="51"/>
                    </a:lnTo>
                    <a:lnTo>
                      <a:pt x="6" y="57"/>
                    </a:lnTo>
                    <a:lnTo>
                      <a:pt x="10" y="63"/>
                    </a:lnTo>
                    <a:lnTo>
                      <a:pt x="10" y="63"/>
                    </a:lnTo>
                    <a:lnTo>
                      <a:pt x="16" y="66"/>
                    </a:lnTo>
                    <a:lnTo>
                      <a:pt x="22" y="70"/>
                    </a:lnTo>
                    <a:lnTo>
                      <a:pt x="29" y="72"/>
                    </a:lnTo>
                    <a:lnTo>
                      <a:pt x="35" y="72"/>
                    </a:lnTo>
                    <a:lnTo>
                      <a:pt x="35" y="72"/>
                    </a:lnTo>
                    <a:lnTo>
                      <a:pt x="43" y="72"/>
                    </a:lnTo>
                    <a:lnTo>
                      <a:pt x="49" y="70"/>
                    </a:lnTo>
                    <a:lnTo>
                      <a:pt x="57" y="66"/>
                    </a:lnTo>
                    <a:lnTo>
                      <a:pt x="63" y="63"/>
                    </a:lnTo>
                    <a:lnTo>
                      <a:pt x="63" y="63"/>
                    </a:lnTo>
                    <a:lnTo>
                      <a:pt x="66" y="57"/>
                    </a:lnTo>
                    <a:lnTo>
                      <a:pt x="70" y="51"/>
                    </a:lnTo>
                    <a:lnTo>
                      <a:pt x="72" y="43"/>
                    </a:lnTo>
                    <a:lnTo>
                      <a:pt x="72" y="37"/>
                    </a:lnTo>
                    <a:lnTo>
                      <a:pt x="72" y="29"/>
                    </a:lnTo>
                    <a:lnTo>
                      <a:pt x="70" y="24"/>
                    </a:lnTo>
                    <a:lnTo>
                      <a:pt x="66" y="16"/>
                    </a:lnTo>
                    <a:lnTo>
                      <a:pt x="63" y="10"/>
                    </a:lnTo>
                    <a:lnTo>
                      <a:pt x="63" y="10"/>
                    </a:lnTo>
                    <a:lnTo>
                      <a:pt x="57" y="6"/>
                    </a:lnTo>
                    <a:lnTo>
                      <a:pt x="49" y="2"/>
                    </a:lnTo>
                    <a:lnTo>
                      <a:pt x="43" y="0"/>
                    </a:lnTo>
                    <a:lnTo>
                      <a:pt x="3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12" name="Freeform 127"/>
              <p:cNvSpPr>
                <a:spLocks/>
              </p:cNvSpPr>
              <p:nvPr userDrawn="1"/>
            </p:nvSpPr>
            <p:spPr bwMode="auto">
              <a:xfrm>
                <a:off x="2894" y="2645"/>
                <a:ext cx="66" cy="66"/>
              </a:xfrm>
              <a:custGeom>
                <a:avLst/>
                <a:gdLst/>
                <a:ahLst/>
                <a:cxnLst>
                  <a:cxn ang="0">
                    <a:pos x="34" y="0"/>
                  </a:cxn>
                  <a:cxn ang="0">
                    <a:pos x="34" y="0"/>
                  </a:cxn>
                  <a:cxn ang="0">
                    <a:pos x="26" y="0"/>
                  </a:cxn>
                  <a:cxn ang="0">
                    <a:pos x="20" y="2"/>
                  </a:cxn>
                  <a:cxn ang="0">
                    <a:pos x="14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4"/>
                  </a:cxn>
                  <a:cxn ang="0">
                    <a:pos x="2" y="20"/>
                  </a:cxn>
                  <a:cxn ang="0">
                    <a:pos x="0" y="26"/>
                  </a:cxn>
                  <a:cxn ang="0">
                    <a:pos x="0" y="34"/>
                  </a:cxn>
                  <a:cxn ang="0">
                    <a:pos x="0" y="40"/>
                  </a:cxn>
                  <a:cxn ang="0">
                    <a:pos x="2" y="46"/>
                  </a:cxn>
                  <a:cxn ang="0">
                    <a:pos x="6" y="52"/>
                  </a:cxn>
                  <a:cxn ang="0">
                    <a:pos x="10" y="56"/>
                  </a:cxn>
                  <a:cxn ang="0">
                    <a:pos x="10" y="56"/>
                  </a:cxn>
                  <a:cxn ang="0">
                    <a:pos x="14" y="62"/>
                  </a:cxn>
                  <a:cxn ang="0">
                    <a:pos x="20" y="64"/>
                  </a:cxn>
                  <a:cxn ang="0">
                    <a:pos x="26" y="66"/>
                  </a:cxn>
                  <a:cxn ang="0">
                    <a:pos x="34" y="66"/>
                  </a:cxn>
                  <a:cxn ang="0">
                    <a:pos x="34" y="66"/>
                  </a:cxn>
                  <a:cxn ang="0">
                    <a:pos x="40" y="66"/>
                  </a:cxn>
                  <a:cxn ang="0">
                    <a:pos x="46" y="64"/>
                  </a:cxn>
                  <a:cxn ang="0">
                    <a:pos x="52" y="62"/>
                  </a:cxn>
                  <a:cxn ang="0">
                    <a:pos x="58" y="56"/>
                  </a:cxn>
                  <a:cxn ang="0">
                    <a:pos x="58" y="56"/>
                  </a:cxn>
                  <a:cxn ang="0">
                    <a:pos x="62" y="52"/>
                  </a:cxn>
                  <a:cxn ang="0">
                    <a:pos x="64" y="46"/>
                  </a:cxn>
                  <a:cxn ang="0">
                    <a:pos x="66" y="40"/>
                  </a:cxn>
                  <a:cxn ang="0">
                    <a:pos x="66" y="34"/>
                  </a:cxn>
                  <a:cxn ang="0">
                    <a:pos x="66" y="26"/>
                  </a:cxn>
                  <a:cxn ang="0">
                    <a:pos x="64" y="20"/>
                  </a:cxn>
                  <a:cxn ang="0">
                    <a:pos x="62" y="14"/>
                  </a:cxn>
                  <a:cxn ang="0">
                    <a:pos x="56" y="10"/>
                  </a:cxn>
                  <a:cxn ang="0">
                    <a:pos x="56" y="10"/>
                  </a:cxn>
                  <a:cxn ang="0">
                    <a:pos x="52" y="6"/>
                  </a:cxn>
                  <a:cxn ang="0">
                    <a:pos x="46" y="2"/>
                  </a:cxn>
                  <a:cxn ang="0">
                    <a:pos x="40" y="0"/>
                  </a:cxn>
                  <a:cxn ang="0">
                    <a:pos x="34" y="0"/>
                  </a:cxn>
                </a:cxnLst>
                <a:rect l="0" t="0" r="r" b="b"/>
                <a:pathLst>
                  <a:path w="66" h="66">
                    <a:moveTo>
                      <a:pt x="34" y="0"/>
                    </a:moveTo>
                    <a:lnTo>
                      <a:pt x="34" y="0"/>
                    </a:lnTo>
                    <a:lnTo>
                      <a:pt x="26" y="0"/>
                    </a:lnTo>
                    <a:lnTo>
                      <a:pt x="20" y="2"/>
                    </a:lnTo>
                    <a:lnTo>
                      <a:pt x="14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4"/>
                    </a:lnTo>
                    <a:lnTo>
                      <a:pt x="2" y="20"/>
                    </a:lnTo>
                    <a:lnTo>
                      <a:pt x="0" y="26"/>
                    </a:lnTo>
                    <a:lnTo>
                      <a:pt x="0" y="34"/>
                    </a:lnTo>
                    <a:lnTo>
                      <a:pt x="0" y="40"/>
                    </a:lnTo>
                    <a:lnTo>
                      <a:pt x="2" y="46"/>
                    </a:lnTo>
                    <a:lnTo>
                      <a:pt x="6" y="52"/>
                    </a:lnTo>
                    <a:lnTo>
                      <a:pt x="10" y="56"/>
                    </a:lnTo>
                    <a:lnTo>
                      <a:pt x="10" y="56"/>
                    </a:lnTo>
                    <a:lnTo>
                      <a:pt x="14" y="62"/>
                    </a:lnTo>
                    <a:lnTo>
                      <a:pt x="20" y="64"/>
                    </a:lnTo>
                    <a:lnTo>
                      <a:pt x="26" y="66"/>
                    </a:lnTo>
                    <a:lnTo>
                      <a:pt x="34" y="66"/>
                    </a:lnTo>
                    <a:lnTo>
                      <a:pt x="34" y="66"/>
                    </a:lnTo>
                    <a:lnTo>
                      <a:pt x="40" y="66"/>
                    </a:lnTo>
                    <a:lnTo>
                      <a:pt x="46" y="64"/>
                    </a:lnTo>
                    <a:lnTo>
                      <a:pt x="52" y="62"/>
                    </a:lnTo>
                    <a:lnTo>
                      <a:pt x="58" y="56"/>
                    </a:lnTo>
                    <a:lnTo>
                      <a:pt x="58" y="56"/>
                    </a:lnTo>
                    <a:lnTo>
                      <a:pt x="62" y="52"/>
                    </a:lnTo>
                    <a:lnTo>
                      <a:pt x="64" y="46"/>
                    </a:lnTo>
                    <a:lnTo>
                      <a:pt x="66" y="40"/>
                    </a:lnTo>
                    <a:lnTo>
                      <a:pt x="66" y="34"/>
                    </a:lnTo>
                    <a:lnTo>
                      <a:pt x="66" y="26"/>
                    </a:lnTo>
                    <a:lnTo>
                      <a:pt x="64" y="20"/>
                    </a:lnTo>
                    <a:lnTo>
                      <a:pt x="62" y="14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2" y="6"/>
                    </a:lnTo>
                    <a:lnTo>
                      <a:pt x="46" y="2"/>
                    </a:lnTo>
                    <a:lnTo>
                      <a:pt x="40" y="0"/>
                    </a:lnTo>
                    <a:lnTo>
                      <a:pt x="3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13" name="Freeform 128"/>
              <p:cNvSpPr>
                <a:spLocks/>
              </p:cNvSpPr>
              <p:nvPr userDrawn="1"/>
            </p:nvSpPr>
            <p:spPr bwMode="auto">
              <a:xfrm>
                <a:off x="2894" y="2645"/>
                <a:ext cx="66" cy="66"/>
              </a:xfrm>
              <a:custGeom>
                <a:avLst/>
                <a:gdLst/>
                <a:ahLst/>
                <a:cxnLst>
                  <a:cxn ang="0">
                    <a:pos x="34" y="0"/>
                  </a:cxn>
                  <a:cxn ang="0">
                    <a:pos x="34" y="0"/>
                  </a:cxn>
                  <a:cxn ang="0">
                    <a:pos x="26" y="0"/>
                  </a:cxn>
                  <a:cxn ang="0">
                    <a:pos x="20" y="2"/>
                  </a:cxn>
                  <a:cxn ang="0">
                    <a:pos x="14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4"/>
                  </a:cxn>
                  <a:cxn ang="0">
                    <a:pos x="2" y="20"/>
                  </a:cxn>
                  <a:cxn ang="0">
                    <a:pos x="0" y="26"/>
                  </a:cxn>
                  <a:cxn ang="0">
                    <a:pos x="0" y="34"/>
                  </a:cxn>
                  <a:cxn ang="0">
                    <a:pos x="0" y="40"/>
                  </a:cxn>
                  <a:cxn ang="0">
                    <a:pos x="2" y="46"/>
                  </a:cxn>
                  <a:cxn ang="0">
                    <a:pos x="6" y="52"/>
                  </a:cxn>
                  <a:cxn ang="0">
                    <a:pos x="10" y="56"/>
                  </a:cxn>
                  <a:cxn ang="0">
                    <a:pos x="10" y="56"/>
                  </a:cxn>
                  <a:cxn ang="0">
                    <a:pos x="14" y="62"/>
                  </a:cxn>
                  <a:cxn ang="0">
                    <a:pos x="20" y="64"/>
                  </a:cxn>
                  <a:cxn ang="0">
                    <a:pos x="26" y="66"/>
                  </a:cxn>
                  <a:cxn ang="0">
                    <a:pos x="34" y="66"/>
                  </a:cxn>
                  <a:cxn ang="0">
                    <a:pos x="34" y="66"/>
                  </a:cxn>
                  <a:cxn ang="0">
                    <a:pos x="40" y="66"/>
                  </a:cxn>
                  <a:cxn ang="0">
                    <a:pos x="46" y="64"/>
                  </a:cxn>
                  <a:cxn ang="0">
                    <a:pos x="52" y="62"/>
                  </a:cxn>
                  <a:cxn ang="0">
                    <a:pos x="58" y="56"/>
                  </a:cxn>
                  <a:cxn ang="0">
                    <a:pos x="58" y="56"/>
                  </a:cxn>
                  <a:cxn ang="0">
                    <a:pos x="62" y="52"/>
                  </a:cxn>
                  <a:cxn ang="0">
                    <a:pos x="64" y="46"/>
                  </a:cxn>
                  <a:cxn ang="0">
                    <a:pos x="66" y="40"/>
                  </a:cxn>
                  <a:cxn ang="0">
                    <a:pos x="66" y="34"/>
                  </a:cxn>
                  <a:cxn ang="0">
                    <a:pos x="66" y="26"/>
                  </a:cxn>
                  <a:cxn ang="0">
                    <a:pos x="64" y="20"/>
                  </a:cxn>
                  <a:cxn ang="0">
                    <a:pos x="62" y="14"/>
                  </a:cxn>
                  <a:cxn ang="0">
                    <a:pos x="56" y="10"/>
                  </a:cxn>
                  <a:cxn ang="0">
                    <a:pos x="56" y="10"/>
                  </a:cxn>
                  <a:cxn ang="0">
                    <a:pos x="52" y="6"/>
                  </a:cxn>
                  <a:cxn ang="0">
                    <a:pos x="46" y="2"/>
                  </a:cxn>
                  <a:cxn ang="0">
                    <a:pos x="40" y="0"/>
                  </a:cxn>
                  <a:cxn ang="0">
                    <a:pos x="34" y="0"/>
                  </a:cxn>
                </a:cxnLst>
                <a:rect l="0" t="0" r="r" b="b"/>
                <a:pathLst>
                  <a:path w="66" h="66">
                    <a:moveTo>
                      <a:pt x="34" y="0"/>
                    </a:moveTo>
                    <a:lnTo>
                      <a:pt x="34" y="0"/>
                    </a:lnTo>
                    <a:lnTo>
                      <a:pt x="26" y="0"/>
                    </a:lnTo>
                    <a:lnTo>
                      <a:pt x="20" y="2"/>
                    </a:lnTo>
                    <a:lnTo>
                      <a:pt x="14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4"/>
                    </a:lnTo>
                    <a:lnTo>
                      <a:pt x="2" y="20"/>
                    </a:lnTo>
                    <a:lnTo>
                      <a:pt x="0" y="26"/>
                    </a:lnTo>
                    <a:lnTo>
                      <a:pt x="0" y="34"/>
                    </a:lnTo>
                    <a:lnTo>
                      <a:pt x="0" y="40"/>
                    </a:lnTo>
                    <a:lnTo>
                      <a:pt x="2" y="46"/>
                    </a:lnTo>
                    <a:lnTo>
                      <a:pt x="6" y="52"/>
                    </a:lnTo>
                    <a:lnTo>
                      <a:pt x="10" y="56"/>
                    </a:lnTo>
                    <a:lnTo>
                      <a:pt x="10" y="56"/>
                    </a:lnTo>
                    <a:lnTo>
                      <a:pt x="14" y="62"/>
                    </a:lnTo>
                    <a:lnTo>
                      <a:pt x="20" y="64"/>
                    </a:lnTo>
                    <a:lnTo>
                      <a:pt x="26" y="66"/>
                    </a:lnTo>
                    <a:lnTo>
                      <a:pt x="34" y="66"/>
                    </a:lnTo>
                    <a:lnTo>
                      <a:pt x="34" y="66"/>
                    </a:lnTo>
                    <a:lnTo>
                      <a:pt x="40" y="66"/>
                    </a:lnTo>
                    <a:lnTo>
                      <a:pt x="46" y="64"/>
                    </a:lnTo>
                    <a:lnTo>
                      <a:pt x="52" y="62"/>
                    </a:lnTo>
                    <a:lnTo>
                      <a:pt x="58" y="56"/>
                    </a:lnTo>
                    <a:lnTo>
                      <a:pt x="58" y="56"/>
                    </a:lnTo>
                    <a:lnTo>
                      <a:pt x="62" y="52"/>
                    </a:lnTo>
                    <a:lnTo>
                      <a:pt x="64" y="46"/>
                    </a:lnTo>
                    <a:lnTo>
                      <a:pt x="66" y="40"/>
                    </a:lnTo>
                    <a:lnTo>
                      <a:pt x="66" y="34"/>
                    </a:lnTo>
                    <a:lnTo>
                      <a:pt x="66" y="26"/>
                    </a:lnTo>
                    <a:lnTo>
                      <a:pt x="64" y="20"/>
                    </a:lnTo>
                    <a:lnTo>
                      <a:pt x="62" y="14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2" y="6"/>
                    </a:lnTo>
                    <a:lnTo>
                      <a:pt x="46" y="2"/>
                    </a:lnTo>
                    <a:lnTo>
                      <a:pt x="40" y="0"/>
                    </a:lnTo>
                    <a:lnTo>
                      <a:pt x="3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14" name="Freeform 129"/>
              <p:cNvSpPr>
                <a:spLocks/>
              </p:cNvSpPr>
              <p:nvPr userDrawn="1"/>
            </p:nvSpPr>
            <p:spPr bwMode="auto">
              <a:xfrm>
                <a:off x="3020" y="2591"/>
                <a:ext cx="60" cy="60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0"/>
                  </a:cxn>
                  <a:cxn ang="0">
                    <a:pos x="18" y="2"/>
                  </a:cxn>
                  <a:cxn ang="0">
                    <a:pos x="14" y="4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4" y="14"/>
                  </a:cxn>
                  <a:cxn ang="0">
                    <a:pos x="2" y="18"/>
                  </a:cxn>
                  <a:cxn ang="0">
                    <a:pos x="0" y="30"/>
                  </a:cxn>
                  <a:cxn ang="0">
                    <a:pos x="2" y="42"/>
                  </a:cxn>
                  <a:cxn ang="0">
                    <a:pos x="4" y="46"/>
                  </a:cxn>
                  <a:cxn ang="0">
                    <a:pos x="8" y="52"/>
                  </a:cxn>
                  <a:cxn ang="0">
                    <a:pos x="8" y="52"/>
                  </a:cxn>
                  <a:cxn ang="0">
                    <a:pos x="14" y="56"/>
                  </a:cxn>
                  <a:cxn ang="0">
                    <a:pos x="18" y="58"/>
                  </a:cxn>
                  <a:cxn ang="0">
                    <a:pos x="30" y="60"/>
                  </a:cxn>
                  <a:cxn ang="0">
                    <a:pos x="30" y="60"/>
                  </a:cxn>
                  <a:cxn ang="0">
                    <a:pos x="42" y="58"/>
                  </a:cxn>
                  <a:cxn ang="0">
                    <a:pos x="46" y="56"/>
                  </a:cxn>
                  <a:cxn ang="0">
                    <a:pos x="52" y="52"/>
                  </a:cxn>
                  <a:cxn ang="0">
                    <a:pos x="52" y="52"/>
                  </a:cxn>
                  <a:cxn ang="0">
                    <a:pos x="56" y="46"/>
                  </a:cxn>
                  <a:cxn ang="0">
                    <a:pos x="58" y="42"/>
                  </a:cxn>
                  <a:cxn ang="0">
                    <a:pos x="60" y="30"/>
                  </a:cxn>
                  <a:cxn ang="0">
                    <a:pos x="58" y="18"/>
                  </a:cxn>
                  <a:cxn ang="0">
                    <a:pos x="56" y="14"/>
                  </a:cxn>
                  <a:cxn ang="0">
                    <a:pos x="52" y="8"/>
                  </a:cxn>
                  <a:cxn ang="0">
                    <a:pos x="52" y="8"/>
                  </a:cxn>
                  <a:cxn ang="0">
                    <a:pos x="46" y="4"/>
                  </a:cxn>
                  <a:cxn ang="0">
                    <a:pos x="42" y="2"/>
                  </a:cxn>
                  <a:cxn ang="0">
                    <a:pos x="30" y="0"/>
                  </a:cxn>
                </a:cxnLst>
                <a:rect l="0" t="0" r="r" b="b"/>
                <a:pathLst>
                  <a:path w="60" h="60">
                    <a:moveTo>
                      <a:pt x="30" y="0"/>
                    </a:moveTo>
                    <a:lnTo>
                      <a:pt x="30" y="0"/>
                    </a:lnTo>
                    <a:lnTo>
                      <a:pt x="18" y="2"/>
                    </a:lnTo>
                    <a:lnTo>
                      <a:pt x="14" y="4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4" y="14"/>
                    </a:lnTo>
                    <a:lnTo>
                      <a:pt x="2" y="18"/>
                    </a:lnTo>
                    <a:lnTo>
                      <a:pt x="0" y="30"/>
                    </a:lnTo>
                    <a:lnTo>
                      <a:pt x="2" y="42"/>
                    </a:lnTo>
                    <a:lnTo>
                      <a:pt x="4" y="46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14" y="56"/>
                    </a:lnTo>
                    <a:lnTo>
                      <a:pt x="18" y="58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42" y="58"/>
                    </a:lnTo>
                    <a:lnTo>
                      <a:pt x="46" y="56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6" y="46"/>
                    </a:lnTo>
                    <a:lnTo>
                      <a:pt x="58" y="42"/>
                    </a:lnTo>
                    <a:lnTo>
                      <a:pt x="60" y="30"/>
                    </a:lnTo>
                    <a:lnTo>
                      <a:pt x="58" y="18"/>
                    </a:lnTo>
                    <a:lnTo>
                      <a:pt x="56" y="14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46" y="4"/>
                    </a:lnTo>
                    <a:lnTo>
                      <a:pt x="42" y="2"/>
                    </a:lnTo>
                    <a:lnTo>
                      <a:pt x="3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15" name="Freeform 130"/>
              <p:cNvSpPr>
                <a:spLocks/>
              </p:cNvSpPr>
              <p:nvPr userDrawn="1"/>
            </p:nvSpPr>
            <p:spPr bwMode="auto">
              <a:xfrm>
                <a:off x="3020" y="2591"/>
                <a:ext cx="60" cy="60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0"/>
                  </a:cxn>
                  <a:cxn ang="0">
                    <a:pos x="18" y="2"/>
                  </a:cxn>
                  <a:cxn ang="0">
                    <a:pos x="14" y="4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4" y="14"/>
                  </a:cxn>
                  <a:cxn ang="0">
                    <a:pos x="2" y="18"/>
                  </a:cxn>
                  <a:cxn ang="0">
                    <a:pos x="0" y="30"/>
                  </a:cxn>
                  <a:cxn ang="0">
                    <a:pos x="2" y="42"/>
                  </a:cxn>
                  <a:cxn ang="0">
                    <a:pos x="4" y="46"/>
                  </a:cxn>
                  <a:cxn ang="0">
                    <a:pos x="8" y="52"/>
                  </a:cxn>
                  <a:cxn ang="0">
                    <a:pos x="8" y="52"/>
                  </a:cxn>
                  <a:cxn ang="0">
                    <a:pos x="14" y="56"/>
                  </a:cxn>
                  <a:cxn ang="0">
                    <a:pos x="18" y="58"/>
                  </a:cxn>
                  <a:cxn ang="0">
                    <a:pos x="30" y="60"/>
                  </a:cxn>
                  <a:cxn ang="0">
                    <a:pos x="30" y="60"/>
                  </a:cxn>
                  <a:cxn ang="0">
                    <a:pos x="42" y="58"/>
                  </a:cxn>
                  <a:cxn ang="0">
                    <a:pos x="46" y="56"/>
                  </a:cxn>
                  <a:cxn ang="0">
                    <a:pos x="52" y="52"/>
                  </a:cxn>
                  <a:cxn ang="0">
                    <a:pos x="52" y="52"/>
                  </a:cxn>
                  <a:cxn ang="0">
                    <a:pos x="56" y="46"/>
                  </a:cxn>
                  <a:cxn ang="0">
                    <a:pos x="58" y="42"/>
                  </a:cxn>
                  <a:cxn ang="0">
                    <a:pos x="60" y="30"/>
                  </a:cxn>
                  <a:cxn ang="0">
                    <a:pos x="58" y="18"/>
                  </a:cxn>
                  <a:cxn ang="0">
                    <a:pos x="56" y="14"/>
                  </a:cxn>
                  <a:cxn ang="0">
                    <a:pos x="52" y="8"/>
                  </a:cxn>
                  <a:cxn ang="0">
                    <a:pos x="52" y="8"/>
                  </a:cxn>
                  <a:cxn ang="0">
                    <a:pos x="46" y="4"/>
                  </a:cxn>
                  <a:cxn ang="0">
                    <a:pos x="42" y="2"/>
                  </a:cxn>
                  <a:cxn ang="0">
                    <a:pos x="30" y="0"/>
                  </a:cxn>
                </a:cxnLst>
                <a:rect l="0" t="0" r="r" b="b"/>
                <a:pathLst>
                  <a:path w="60" h="60">
                    <a:moveTo>
                      <a:pt x="30" y="0"/>
                    </a:moveTo>
                    <a:lnTo>
                      <a:pt x="30" y="0"/>
                    </a:lnTo>
                    <a:lnTo>
                      <a:pt x="18" y="2"/>
                    </a:lnTo>
                    <a:lnTo>
                      <a:pt x="14" y="4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4" y="14"/>
                    </a:lnTo>
                    <a:lnTo>
                      <a:pt x="2" y="18"/>
                    </a:lnTo>
                    <a:lnTo>
                      <a:pt x="0" y="30"/>
                    </a:lnTo>
                    <a:lnTo>
                      <a:pt x="2" y="42"/>
                    </a:lnTo>
                    <a:lnTo>
                      <a:pt x="4" y="46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14" y="56"/>
                    </a:lnTo>
                    <a:lnTo>
                      <a:pt x="18" y="58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42" y="58"/>
                    </a:lnTo>
                    <a:lnTo>
                      <a:pt x="46" y="56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6" y="46"/>
                    </a:lnTo>
                    <a:lnTo>
                      <a:pt x="58" y="42"/>
                    </a:lnTo>
                    <a:lnTo>
                      <a:pt x="60" y="30"/>
                    </a:lnTo>
                    <a:lnTo>
                      <a:pt x="58" y="18"/>
                    </a:lnTo>
                    <a:lnTo>
                      <a:pt x="56" y="14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46" y="4"/>
                    </a:lnTo>
                    <a:lnTo>
                      <a:pt x="42" y="2"/>
                    </a:lnTo>
                    <a:lnTo>
                      <a:pt x="3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16" name="Freeform 131"/>
              <p:cNvSpPr>
                <a:spLocks/>
              </p:cNvSpPr>
              <p:nvPr userDrawn="1"/>
            </p:nvSpPr>
            <p:spPr bwMode="auto">
              <a:xfrm>
                <a:off x="3158" y="2555"/>
                <a:ext cx="54" cy="6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6" y="2"/>
                  </a:cxn>
                  <a:cxn ang="0">
                    <a:pos x="8" y="9"/>
                  </a:cxn>
                  <a:cxn ang="0">
                    <a:pos x="8" y="9"/>
                  </a:cxn>
                  <a:cxn ang="0">
                    <a:pos x="2" y="20"/>
                  </a:cxn>
                  <a:cxn ang="0">
                    <a:pos x="0" y="30"/>
                  </a:cxn>
                  <a:cxn ang="0">
                    <a:pos x="2" y="41"/>
                  </a:cxn>
                  <a:cxn ang="0">
                    <a:pos x="8" y="52"/>
                  </a:cxn>
                  <a:cxn ang="0">
                    <a:pos x="8" y="52"/>
                  </a:cxn>
                  <a:cxn ang="0">
                    <a:pos x="16" y="58"/>
                  </a:cxn>
                  <a:cxn ang="0">
                    <a:pos x="26" y="60"/>
                  </a:cxn>
                  <a:cxn ang="0">
                    <a:pos x="26" y="60"/>
                  </a:cxn>
                  <a:cxn ang="0">
                    <a:pos x="38" y="58"/>
                  </a:cxn>
                  <a:cxn ang="0">
                    <a:pos x="46" y="52"/>
                  </a:cxn>
                  <a:cxn ang="0">
                    <a:pos x="46" y="52"/>
                  </a:cxn>
                  <a:cxn ang="0">
                    <a:pos x="52" y="41"/>
                  </a:cxn>
                  <a:cxn ang="0">
                    <a:pos x="54" y="30"/>
                  </a:cxn>
                  <a:cxn ang="0">
                    <a:pos x="52" y="20"/>
                  </a:cxn>
                  <a:cxn ang="0">
                    <a:pos x="46" y="9"/>
                  </a:cxn>
                  <a:cxn ang="0">
                    <a:pos x="46" y="9"/>
                  </a:cxn>
                  <a:cxn ang="0">
                    <a:pos x="38" y="2"/>
                  </a:cxn>
                  <a:cxn ang="0">
                    <a:pos x="26" y="0"/>
                  </a:cxn>
                </a:cxnLst>
                <a:rect l="0" t="0" r="r" b="b"/>
                <a:pathLst>
                  <a:path w="54" h="60">
                    <a:moveTo>
                      <a:pt x="26" y="0"/>
                    </a:moveTo>
                    <a:lnTo>
                      <a:pt x="26" y="0"/>
                    </a:lnTo>
                    <a:lnTo>
                      <a:pt x="16" y="2"/>
                    </a:lnTo>
                    <a:lnTo>
                      <a:pt x="8" y="9"/>
                    </a:lnTo>
                    <a:lnTo>
                      <a:pt x="8" y="9"/>
                    </a:lnTo>
                    <a:lnTo>
                      <a:pt x="2" y="20"/>
                    </a:lnTo>
                    <a:lnTo>
                      <a:pt x="0" y="30"/>
                    </a:lnTo>
                    <a:lnTo>
                      <a:pt x="2" y="41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16" y="58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38" y="58"/>
                    </a:lnTo>
                    <a:lnTo>
                      <a:pt x="46" y="52"/>
                    </a:lnTo>
                    <a:lnTo>
                      <a:pt x="46" y="52"/>
                    </a:lnTo>
                    <a:lnTo>
                      <a:pt x="52" y="41"/>
                    </a:lnTo>
                    <a:lnTo>
                      <a:pt x="54" y="30"/>
                    </a:lnTo>
                    <a:lnTo>
                      <a:pt x="52" y="20"/>
                    </a:lnTo>
                    <a:lnTo>
                      <a:pt x="46" y="9"/>
                    </a:lnTo>
                    <a:lnTo>
                      <a:pt x="46" y="9"/>
                    </a:lnTo>
                    <a:lnTo>
                      <a:pt x="38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17" name="Freeform 132"/>
              <p:cNvSpPr>
                <a:spLocks/>
              </p:cNvSpPr>
              <p:nvPr userDrawn="1"/>
            </p:nvSpPr>
            <p:spPr bwMode="auto">
              <a:xfrm>
                <a:off x="3158" y="2555"/>
                <a:ext cx="54" cy="6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6" y="2"/>
                  </a:cxn>
                  <a:cxn ang="0">
                    <a:pos x="8" y="9"/>
                  </a:cxn>
                  <a:cxn ang="0">
                    <a:pos x="8" y="9"/>
                  </a:cxn>
                  <a:cxn ang="0">
                    <a:pos x="2" y="20"/>
                  </a:cxn>
                  <a:cxn ang="0">
                    <a:pos x="0" y="30"/>
                  </a:cxn>
                  <a:cxn ang="0">
                    <a:pos x="2" y="41"/>
                  </a:cxn>
                  <a:cxn ang="0">
                    <a:pos x="8" y="52"/>
                  </a:cxn>
                  <a:cxn ang="0">
                    <a:pos x="8" y="52"/>
                  </a:cxn>
                  <a:cxn ang="0">
                    <a:pos x="16" y="58"/>
                  </a:cxn>
                  <a:cxn ang="0">
                    <a:pos x="26" y="60"/>
                  </a:cxn>
                  <a:cxn ang="0">
                    <a:pos x="26" y="60"/>
                  </a:cxn>
                  <a:cxn ang="0">
                    <a:pos x="38" y="58"/>
                  </a:cxn>
                  <a:cxn ang="0">
                    <a:pos x="46" y="52"/>
                  </a:cxn>
                  <a:cxn ang="0">
                    <a:pos x="46" y="52"/>
                  </a:cxn>
                  <a:cxn ang="0">
                    <a:pos x="52" y="41"/>
                  </a:cxn>
                  <a:cxn ang="0">
                    <a:pos x="54" y="30"/>
                  </a:cxn>
                  <a:cxn ang="0">
                    <a:pos x="52" y="20"/>
                  </a:cxn>
                  <a:cxn ang="0">
                    <a:pos x="46" y="9"/>
                  </a:cxn>
                  <a:cxn ang="0">
                    <a:pos x="46" y="9"/>
                  </a:cxn>
                  <a:cxn ang="0">
                    <a:pos x="38" y="2"/>
                  </a:cxn>
                  <a:cxn ang="0">
                    <a:pos x="26" y="0"/>
                  </a:cxn>
                </a:cxnLst>
                <a:rect l="0" t="0" r="r" b="b"/>
                <a:pathLst>
                  <a:path w="54" h="60">
                    <a:moveTo>
                      <a:pt x="26" y="0"/>
                    </a:moveTo>
                    <a:lnTo>
                      <a:pt x="26" y="0"/>
                    </a:lnTo>
                    <a:lnTo>
                      <a:pt x="16" y="2"/>
                    </a:lnTo>
                    <a:lnTo>
                      <a:pt x="8" y="9"/>
                    </a:lnTo>
                    <a:lnTo>
                      <a:pt x="8" y="9"/>
                    </a:lnTo>
                    <a:lnTo>
                      <a:pt x="2" y="20"/>
                    </a:lnTo>
                    <a:lnTo>
                      <a:pt x="0" y="30"/>
                    </a:lnTo>
                    <a:lnTo>
                      <a:pt x="2" y="41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16" y="58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38" y="58"/>
                    </a:lnTo>
                    <a:lnTo>
                      <a:pt x="46" y="52"/>
                    </a:lnTo>
                    <a:lnTo>
                      <a:pt x="46" y="52"/>
                    </a:lnTo>
                    <a:lnTo>
                      <a:pt x="52" y="41"/>
                    </a:lnTo>
                    <a:lnTo>
                      <a:pt x="54" y="30"/>
                    </a:lnTo>
                    <a:lnTo>
                      <a:pt x="52" y="20"/>
                    </a:lnTo>
                    <a:lnTo>
                      <a:pt x="46" y="9"/>
                    </a:lnTo>
                    <a:lnTo>
                      <a:pt x="46" y="9"/>
                    </a:lnTo>
                    <a:lnTo>
                      <a:pt x="38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18" name="Freeform 133"/>
              <p:cNvSpPr>
                <a:spLocks/>
              </p:cNvSpPr>
              <p:nvPr userDrawn="1"/>
            </p:nvSpPr>
            <p:spPr bwMode="auto">
              <a:xfrm>
                <a:off x="3302" y="2549"/>
                <a:ext cx="48" cy="48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4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2" y="14"/>
                  </a:cxn>
                  <a:cxn ang="0">
                    <a:pos x="0" y="24"/>
                  </a:cxn>
                  <a:cxn ang="0">
                    <a:pos x="2" y="32"/>
                  </a:cxn>
                  <a:cxn ang="0">
                    <a:pos x="6" y="42"/>
                  </a:cxn>
                  <a:cxn ang="0">
                    <a:pos x="6" y="42"/>
                  </a:cxn>
                  <a:cxn ang="0">
                    <a:pos x="14" y="46"/>
                  </a:cxn>
                  <a:cxn ang="0">
                    <a:pos x="24" y="48"/>
                  </a:cxn>
                  <a:cxn ang="0">
                    <a:pos x="24" y="48"/>
                  </a:cxn>
                  <a:cxn ang="0">
                    <a:pos x="34" y="46"/>
                  </a:cxn>
                  <a:cxn ang="0">
                    <a:pos x="42" y="42"/>
                  </a:cxn>
                  <a:cxn ang="0">
                    <a:pos x="42" y="42"/>
                  </a:cxn>
                  <a:cxn ang="0">
                    <a:pos x="46" y="32"/>
                  </a:cxn>
                  <a:cxn ang="0">
                    <a:pos x="48" y="24"/>
                  </a:cxn>
                  <a:cxn ang="0">
                    <a:pos x="46" y="14"/>
                  </a:cxn>
                  <a:cxn ang="0">
                    <a:pos x="42" y="6"/>
                  </a:cxn>
                  <a:cxn ang="0">
                    <a:pos x="42" y="6"/>
                  </a:cxn>
                  <a:cxn ang="0">
                    <a:pos x="34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lnTo>
                      <a:pt x="24" y="0"/>
                    </a:lnTo>
                    <a:lnTo>
                      <a:pt x="14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2" y="14"/>
                    </a:lnTo>
                    <a:lnTo>
                      <a:pt x="0" y="24"/>
                    </a:lnTo>
                    <a:lnTo>
                      <a:pt x="2" y="3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14" y="46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34" y="46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6" y="32"/>
                    </a:lnTo>
                    <a:lnTo>
                      <a:pt x="48" y="24"/>
                    </a:lnTo>
                    <a:lnTo>
                      <a:pt x="46" y="14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34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19" name="Freeform 134"/>
              <p:cNvSpPr>
                <a:spLocks/>
              </p:cNvSpPr>
              <p:nvPr userDrawn="1"/>
            </p:nvSpPr>
            <p:spPr bwMode="auto">
              <a:xfrm>
                <a:off x="3302" y="2549"/>
                <a:ext cx="48" cy="48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4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2" y="14"/>
                  </a:cxn>
                  <a:cxn ang="0">
                    <a:pos x="0" y="24"/>
                  </a:cxn>
                  <a:cxn ang="0">
                    <a:pos x="2" y="32"/>
                  </a:cxn>
                  <a:cxn ang="0">
                    <a:pos x="6" y="42"/>
                  </a:cxn>
                  <a:cxn ang="0">
                    <a:pos x="6" y="42"/>
                  </a:cxn>
                  <a:cxn ang="0">
                    <a:pos x="14" y="46"/>
                  </a:cxn>
                  <a:cxn ang="0">
                    <a:pos x="24" y="48"/>
                  </a:cxn>
                  <a:cxn ang="0">
                    <a:pos x="24" y="48"/>
                  </a:cxn>
                  <a:cxn ang="0">
                    <a:pos x="34" y="46"/>
                  </a:cxn>
                  <a:cxn ang="0">
                    <a:pos x="42" y="42"/>
                  </a:cxn>
                  <a:cxn ang="0">
                    <a:pos x="42" y="42"/>
                  </a:cxn>
                  <a:cxn ang="0">
                    <a:pos x="46" y="32"/>
                  </a:cxn>
                  <a:cxn ang="0">
                    <a:pos x="48" y="24"/>
                  </a:cxn>
                  <a:cxn ang="0">
                    <a:pos x="46" y="14"/>
                  </a:cxn>
                  <a:cxn ang="0">
                    <a:pos x="42" y="6"/>
                  </a:cxn>
                  <a:cxn ang="0">
                    <a:pos x="42" y="6"/>
                  </a:cxn>
                  <a:cxn ang="0">
                    <a:pos x="34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lnTo>
                      <a:pt x="24" y="0"/>
                    </a:lnTo>
                    <a:lnTo>
                      <a:pt x="14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2" y="14"/>
                    </a:lnTo>
                    <a:lnTo>
                      <a:pt x="0" y="24"/>
                    </a:lnTo>
                    <a:lnTo>
                      <a:pt x="2" y="3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14" y="46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34" y="46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6" y="32"/>
                    </a:lnTo>
                    <a:lnTo>
                      <a:pt x="48" y="24"/>
                    </a:lnTo>
                    <a:lnTo>
                      <a:pt x="46" y="14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34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20" name="Freeform 135"/>
              <p:cNvSpPr>
                <a:spLocks/>
              </p:cNvSpPr>
              <p:nvPr userDrawn="1"/>
            </p:nvSpPr>
            <p:spPr bwMode="auto">
              <a:xfrm>
                <a:off x="3446" y="2561"/>
                <a:ext cx="42" cy="48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1" y="0"/>
                  </a:cxn>
                  <a:cxn ang="0">
                    <a:pos x="12" y="2"/>
                  </a:cxn>
                  <a:cxn ang="0">
                    <a:pos x="6" y="7"/>
                  </a:cxn>
                  <a:cxn ang="0">
                    <a:pos x="6" y="7"/>
                  </a:cxn>
                  <a:cxn ang="0">
                    <a:pos x="0" y="15"/>
                  </a:cxn>
                  <a:cxn ang="0">
                    <a:pos x="0" y="24"/>
                  </a:cxn>
                  <a:cxn ang="0">
                    <a:pos x="0" y="33"/>
                  </a:cxn>
                  <a:cxn ang="0">
                    <a:pos x="6" y="42"/>
                  </a:cxn>
                  <a:cxn ang="0">
                    <a:pos x="6" y="42"/>
                  </a:cxn>
                  <a:cxn ang="0">
                    <a:pos x="12" y="46"/>
                  </a:cxn>
                  <a:cxn ang="0">
                    <a:pos x="21" y="48"/>
                  </a:cxn>
                  <a:cxn ang="0">
                    <a:pos x="21" y="48"/>
                  </a:cxn>
                  <a:cxn ang="0">
                    <a:pos x="29" y="46"/>
                  </a:cxn>
                  <a:cxn ang="0">
                    <a:pos x="35" y="42"/>
                  </a:cxn>
                  <a:cxn ang="0">
                    <a:pos x="35" y="42"/>
                  </a:cxn>
                  <a:cxn ang="0">
                    <a:pos x="40" y="33"/>
                  </a:cxn>
                  <a:cxn ang="0">
                    <a:pos x="42" y="24"/>
                  </a:cxn>
                  <a:cxn ang="0">
                    <a:pos x="40" y="15"/>
                  </a:cxn>
                  <a:cxn ang="0">
                    <a:pos x="35" y="7"/>
                  </a:cxn>
                  <a:cxn ang="0">
                    <a:pos x="35" y="7"/>
                  </a:cxn>
                  <a:cxn ang="0">
                    <a:pos x="29" y="2"/>
                  </a:cxn>
                  <a:cxn ang="0">
                    <a:pos x="21" y="0"/>
                  </a:cxn>
                </a:cxnLst>
                <a:rect l="0" t="0" r="r" b="b"/>
                <a:pathLst>
                  <a:path w="42" h="48">
                    <a:moveTo>
                      <a:pt x="21" y="0"/>
                    </a:moveTo>
                    <a:lnTo>
                      <a:pt x="21" y="0"/>
                    </a:lnTo>
                    <a:lnTo>
                      <a:pt x="12" y="2"/>
                    </a:lnTo>
                    <a:lnTo>
                      <a:pt x="6" y="7"/>
                    </a:lnTo>
                    <a:lnTo>
                      <a:pt x="6" y="7"/>
                    </a:lnTo>
                    <a:lnTo>
                      <a:pt x="0" y="15"/>
                    </a:lnTo>
                    <a:lnTo>
                      <a:pt x="0" y="24"/>
                    </a:lnTo>
                    <a:lnTo>
                      <a:pt x="0" y="33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12" y="46"/>
                    </a:lnTo>
                    <a:lnTo>
                      <a:pt x="21" y="48"/>
                    </a:lnTo>
                    <a:lnTo>
                      <a:pt x="21" y="48"/>
                    </a:lnTo>
                    <a:lnTo>
                      <a:pt x="29" y="46"/>
                    </a:lnTo>
                    <a:lnTo>
                      <a:pt x="35" y="42"/>
                    </a:lnTo>
                    <a:lnTo>
                      <a:pt x="35" y="42"/>
                    </a:lnTo>
                    <a:lnTo>
                      <a:pt x="40" y="33"/>
                    </a:lnTo>
                    <a:lnTo>
                      <a:pt x="42" y="24"/>
                    </a:lnTo>
                    <a:lnTo>
                      <a:pt x="40" y="15"/>
                    </a:lnTo>
                    <a:lnTo>
                      <a:pt x="35" y="7"/>
                    </a:lnTo>
                    <a:lnTo>
                      <a:pt x="35" y="7"/>
                    </a:lnTo>
                    <a:lnTo>
                      <a:pt x="29" y="2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21" name="Freeform 136"/>
              <p:cNvSpPr>
                <a:spLocks/>
              </p:cNvSpPr>
              <p:nvPr userDrawn="1"/>
            </p:nvSpPr>
            <p:spPr bwMode="auto">
              <a:xfrm>
                <a:off x="3446" y="2561"/>
                <a:ext cx="42" cy="48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1" y="0"/>
                  </a:cxn>
                  <a:cxn ang="0">
                    <a:pos x="12" y="2"/>
                  </a:cxn>
                  <a:cxn ang="0">
                    <a:pos x="6" y="7"/>
                  </a:cxn>
                  <a:cxn ang="0">
                    <a:pos x="6" y="7"/>
                  </a:cxn>
                  <a:cxn ang="0">
                    <a:pos x="0" y="15"/>
                  </a:cxn>
                  <a:cxn ang="0">
                    <a:pos x="0" y="24"/>
                  </a:cxn>
                  <a:cxn ang="0">
                    <a:pos x="0" y="33"/>
                  </a:cxn>
                  <a:cxn ang="0">
                    <a:pos x="6" y="42"/>
                  </a:cxn>
                  <a:cxn ang="0">
                    <a:pos x="6" y="42"/>
                  </a:cxn>
                  <a:cxn ang="0">
                    <a:pos x="12" y="46"/>
                  </a:cxn>
                  <a:cxn ang="0">
                    <a:pos x="21" y="48"/>
                  </a:cxn>
                  <a:cxn ang="0">
                    <a:pos x="21" y="48"/>
                  </a:cxn>
                  <a:cxn ang="0">
                    <a:pos x="29" y="46"/>
                  </a:cxn>
                  <a:cxn ang="0">
                    <a:pos x="35" y="42"/>
                  </a:cxn>
                  <a:cxn ang="0">
                    <a:pos x="35" y="42"/>
                  </a:cxn>
                  <a:cxn ang="0">
                    <a:pos x="40" y="33"/>
                  </a:cxn>
                  <a:cxn ang="0">
                    <a:pos x="42" y="24"/>
                  </a:cxn>
                  <a:cxn ang="0">
                    <a:pos x="40" y="15"/>
                  </a:cxn>
                  <a:cxn ang="0">
                    <a:pos x="35" y="7"/>
                  </a:cxn>
                  <a:cxn ang="0">
                    <a:pos x="35" y="7"/>
                  </a:cxn>
                  <a:cxn ang="0">
                    <a:pos x="29" y="2"/>
                  </a:cxn>
                  <a:cxn ang="0">
                    <a:pos x="21" y="0"/>
                  </a:cxn>
                </a:cxnLst>
                <a:rect l="0" t="0" r="r" b="b"/>
                <a:pathLst>
                  <a:path w="42" h="48">
                    <a:moveTo>
                      <a:pt x="21" y="0"/>
                    </a:moveTo>
                    <a:lnTo>
                      <a:pt x="21" y="0"/>
                    </a:lnTo>
                    <a:lnTo>
                      <a:pt x="12" y="2"/>
                    </a:lnTo>
                    <a:lnTo>
                      <a:pt x="6" y="7"/>
                    </a:lnTo>
                    <a:lnTo>
                      <a:pt x="6" y="7"/>
                    </a:lnTo>
                    <a:lnTo>
                      <a:pt x="0" y="15"/>
                    </a:lnTo>
                    <a:lnTo>
                      <a:pt x="0" y="24"/>
                    </a:lnTo>
                    <a:lnTo>
                      <a:pt x="0" y="33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12" y="46"/>
                    </a:lnTo>
                    <a:lnTo>
                      <a:pt x="21" y="48"/>
                    </a:lnTo>
                    <a:lnTo>
                      <a:pt x="21" y="48"/>
                    </a:lnTo>
                    <a:lnTo>
                      <a:pt x="29" y="46"/>
                    </a:lnTo>
                    <a:lnTo>
                      <a:pt x="35" y="42"/>
                    </a:lnTo>
                    <a:lnTo>
                      <a:pt x="35" y="42"/>
                    </a:lnTo>
                    <a:lnTo>
                      <a:pt x="40" y="33"/>
                    </a:lnTo>
                    <a:lnTo>
                      <a:pt x="42" y="24"/>
                    </a:lnTo>
                    <a:lnTo>
                      <a:pt x="40" y="15"/>
                    </a:lnTo>
                    <a:lnTo>
                      <a:pt x="35" y="7"/>
                    </a:lnTo>
                    <a:lnTo>
                      <a:pt x="35" y="7"/>
                    </a:lnTo>
                    <a:lnTo>
                      <a:pt x="29" y="2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22" name="Freeform 137"/>
              <p:cNvSpPr>
                <a:spLocks/>
              </p:cNvSpPr>
              <p:nvPr userDrawn="1"/>
            </p:nvSpPr>
            <p:spPr bwMode="auto">
              <a:xfrm>
                <a:off x="3578" y="2603"/>
                <a:ext cx="42" cy="36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1" y="0"/>
                  </a:cxn>
                  <a:cxn ang="0">
                    <a:pos x="13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2" y="11"/>
                  </a:cxn>
                  <a:cxn ang="0">
                    <a:pos x="0" y="18"/>
                  </a:cxn>
                  <a:cxn ang="0">
                    <a:pos x="2" y="26"/>
                  </a:cxn>
                  <a:cxn ang="0">
                    <a:pos x="6" y="31"/>
                  </a:cxn>
                  <a:cxn ang="0">
                    <a:pos x="6" y="31"/>
                  </a:cxn>
                  <a:cxn ang="0">
                    <a:pos x="13" y="35"/>
                  </a:cxn>
                  <a:cxn ang="0">
                    <a:pos x="21" y="36"/>
                  </a:cxn>
                  <a:cxn ang="0">
                    <a:pos x="21" y="36"/>
                  </a:cxn>
                  <a:cxn ang="0">
                    <a:pos x="30" y="35"/>
                  </a:cxn>
                  <a:cxn ang="0">
                    <a:pos x="36" y="31"/>
                  </a:cxn>
                  <a:cxn ang="0">
                    <a:pos x="36" y="31"/>
                  </a:cxn>
                  <a:cxn ang="0">
                    <a:pos x="40" y="26"/>
                  </a:cxn>
                  <a:cxn ang="0">
                    <a:pos x="42" y="18"/>
                  </a:cxn>
                  <a:cxn ang="0">
                    <a:pos x="40" y="11"/>
                  </a:cxn>
                  <a:cxn ang="0">
                    <a:pos x="36" y="6"/>
                  </a:cxn>
                  <a:cxn ang="0">
                    <a:pos x="36" y="6"/>
                  </a:cxn>
                  <a:cxn ang="0">
                    <a:pos x="30" y="2"/>
                  </a:cxn>
                  <a:cxn ang="0">
                    <a:pos x="21" y="0"/>
                  </a:cxn>
                </a:cxnLst>
                <a:rect l="0" t="0" r="r" b="b"/>
                <a:pathLst>
                  <a:path w="42" h="36">
                    <a:moveTo>
                      <a:pt x="21" y="0"/>
                    </a:moveTo>
                    <a:lnTo>
                      <a:pt x="21" y="0"/>
                    </a:lnTo>
                    <a:lnTo>
                      <a:pt x="13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2" y="11"/>
                    </a:lnTo>
                    <a:lnTo>
                      <a:pt x="0" y="18"/>
                    </a:lnTo>
                    <a:lnTo>
                      <a:pt x="2" y="26"/>
                    </a:lnTo>
                    <a:lnTo>
                      <a:pt x="6" y="31"/>
                    </a:lnTo>
                    <a:lnTo>
                      <a:pt x="6" y="31"/>
                    </a:lnTo>
                    <a:lnTo>
                      <a:pt x="13" y="35"/>
                    </a:lnTo>
                    <a:lnTo>
                      <a:pt x="21" y="36"/>
                    </a:lnTo>
                    <a:lnTo>
                      <a:pt x="21" y="36"/>
                    </a:lnTo>
                    <a:lnTo>
                      <a:pt x="30" y="35"/>
                    </a:lnTo>
                    <a:lnTo>
                      <a:pt x="36" y="31"/>
                    </a:lnTo>
                    <a:lnTo>
                      <a:pt x="36" y="31"/>
                    </a:lnTo>
                    <a:lnTo>
                      <a:pt x="40" y="26"/>
                    </a:lnTo>
                    <a:lnTo>
                      <a:pt x="42" y="18"/>
                    </a:lnTo>
                    <a:lnTo>
                      <a:pt x="40" y="11"/>
                    </a:lnTo>
                    <a:lnTo>
                      <a:pt x="36" y="6"/>
                    </a:lnTo>
                    <a:lnTo>
                      <a:pt x="36" y="6"/>
                    </a:lnTo>
                    <a:lnTo>
                      <a:pt x="30" y="2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23" name="Freeform 138"/>
              <p:cNvSpPr>
                <a:spLocks/>
              </p:cNvSpPr>
              <p:nvPr userDrawn="1"/>
            </p:nvSpPr>
            <p:spPr bwMode="auto">
              <a:xfrm>
                <a:off x="3578" y="2603"/>
                <a:ext cx="42" cy="36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1" y="0"/>
                  </a:cxn>
                  <a:cxn ang="0">
                    <a:pos x="13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2" y="11"/>
                  </a:cxn>
                  <a:cxn ang="0">
                    <a:pos x="0" y="18"/>
                  </a:cxn>
                  <a:cxn ang="0">
                    <a:pos x="2" y="26"/>
                  </a:cxn>
                  <a:cxn ang="0">
                    <a:pos x="6" y="31"/>
                  </a:cxn>
                  <a:cxn ang="0">
                    <a:pos x="6" y="31"/>
                  </a:cxn>
                  <a:cxn ang="0">
                    <a:pos x="13" y="35"/>
                  </a:cxn>
                  <a:cxn ang="0">
                    <a:pos x="21" y="36"/>
                  </a:cxn>
                  <a:cxn ang="0">
                    <a:pos x="21" y="36"/>
                  </a:cxn>
                  <a:cxn ang="0">
                    <a:pos x="30" y="35"/>
                  </a:cxn>
                  <a:cxn ang="0">
                    <a:pos x="36" y="31"/>
                  </a:cxn>
                  <a:cxn ang="0">
                    <a:pos x="36" y="31"/>
                  </a:cxn>
                  <a:cxn ang="0">
                    <a:pos x="40" y="26"/>
                  </a:cxn>
                  <a:cxn ang="0">
                    <a:pos x="42" y="18"/>
                  </a:cxn>
                  <a:cxn ang="0">
                    <a:pos x="40" y="11"/>
                  </a:cxn>
                  <a:cxn ang="0">
                    <a:pos x="36" y="6"/>
                  </a:cxn>
                  <a:cxn ang="0">
                    <a:pos x="36" y="6"/>
                  </a:cxn>
                  <a:cxn ang="0">
                    <a:pos x="30" y="2"/>
                  </a:cxn>
                  <a:cxn ang="0">
                    <a:pos x="21" y="0"/>
                  </a:cxn>
                </a:cxnLst>
                <a:rect l="0" t="0" r="r" b="b"/>
                <a:pathLst>
                  <a:path w="42" h="36">
                    <a:moveTo>
                      <a:pt x="21" y="0"/>
                    </a:moveTo>
                    <a:lnTo>
                      <a:pt x="21" y="0"/>
                    </a:lnTo>
                    <a:lnTo>
                      <a:pt x="13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2" y="11"/>
                    </a:lnTo>
                    <a:lnTo>
                      <a:pt x="0" y="18"/>
                    </a:lnTo>
                    <a:lnTo>
                      <a:pt x="2" y="26"/>
                    </a:lnTo>
                    <a:lnTo>
                      <a:pt x="6" y="31"/>
                    </a:lnTo>
                    <a:lnTo>
                      <a:pt x="6" y="31"/>
                    </a:lnTo>
                    <a:lnTo>
                      <a:pt x="13" y="35"/>
                    </a:lnTo>
                    <a:lnTo>
                      <a:pt x="21" y="36"/>
                    </a:lnTo>
                    <a:lnTo>
                      <a:pt x="21" y="36"/>
                    </a:lnTo>
                    <a:lnTo>
                      <a:pt x="30" y="35"/>
                    </a:lnTo>
                    <a:lnTo>
                      <a:pt x="36" y="31"/>
                    </a:lnTo>
                    <a:lnTo>
                      <a:pt x="36" y="31"/>
                    </a:lnTo>
                    <a:lnTo>
                      <a:pt x="40" y="26"/>
                    </a:lnTo>
                    <a:lnTo>
                      <a:pt x="42" y="18"/>
                    </a:lnTo>
                    <a:lnTo>
                      <a:pt x="40" y="11"/>
                    </a:lnTo>
                    <a:lnTo>
                      <a:pt x="36" y="6"/>
                    </a:lnTo>
                    <a:lnTo>
                      <a:pt x="36" y="6"/>
                    </a:lnTo>
                    <a:lnTo>
                      <a:pt x="30" y="2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24" name="Freeform 139"/>
              <p:cNvSpPr>
                <a:spLocks/>
              </p:cNvSpPr>
              <p:nvPr userDrawn="1"/>
            </p:nvSpPr>
            <p:spPr bwMode="auto">
              <a:xfrm>
                <a:off x="3710" y="2663"/>
                <a:ext cx="36" cy="36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0"/>
                  </a:cxn>
                  <a:cxn ang="0">
                    <a:pos x="6" y="5"/>
                  </a:cxn>
                  <a:cxn ang="0">
                    <a:pos x="6" y="5"/>
                  </a:cxn>
                  <a:cxn ang="0">
                    <a:pos x="2" y="11"/>
                  </a:cxn>
                  <a:cxn ang="0">
                    <a:pos x="0" y="19"/>
                  </a:cxn>
                  <a:cxn ang="0">
                    <a:pos x="2" y="26"/>
                  </a:cxn>
                  <a:cxn ang="0">
                    <a:pos x="6" y="32"/>
                  </a:cxn>
                  <a:cxn ang="0">
                    <a:pos x="6" y="32"/>
                  </a:cxn>
                  <a:cxn ang="0">
                    <a:pos x="12" y="36"/>
                  </a:cxn>
                  <a:cxn ang="0">
                    <a:pos x="18" y="36"/>
                  </a:cxn>
                  <a:cxn ang="0">
                    <a:pos x="18" y="36"/>
                  </a:cxn>
                  <a:cxn ang="0">
                    <a:pos x="26" y="36"/>
                  </a:cxn>
                  <a:cxn ang="0">
                    <a:pos x="32" y="32"/>
                  </a:cxn>
                  <a:cxn ang="0">
                    <a:pos x="32" y="32"/>
                  </a:cxn>
                  <a:cxn ang="0">
                    <a:pos x="36" y="26"/>
                  </a:cxn>
                  <a:cxn ang="0">
                    <a:pos x="36" y="19"/>
                  </a:cxn>
                  <a:cxn ang="0">
                    <a:pos x="36" y="11"/>
                  </a:cxn>
                  <a:cxn ang="0">
                    <a:pos x="32" y="5"/>
                  </a:cxn>
                  <a:cxn ang="0">
                    <a:pos x="32" y="5"/>
                  </a:cxn>
                  <a:cxn ang="0">
                    <a:pos x="26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6">
                    <a:moveTo>
                      <a:pt x="18" y="0"/>
                    </a:moveTo>
                    <a:lnTo>
                      <a:pt x="18" y="0"/>
                    </a:lnTo>
                    <a:lnTo>
                      <a:pt x="12" y="0"/>
                    </a:lnTo>
                    <a:lnTo>
                      <a:pt x="6" y="5"/>
                    </a:lnTo>
                    <a:lnTo>
                      <a:pt x="6" y="5"/>
                    </a:lnTo>
                    <a:lnTo>
                      <a:pt x="2" y="11"/>
                    </a:lnTo>
                    <a:lnTo>
                      <a:pt x="0" y="19"/>
                    </a:lnTo>
                    <a:lnTo>
                      <a:pt x="2" y="26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12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26" y="36"/>
                    </a:lnTo>
                    <a:lnTo>
                      <a:pt x="32" y="32"/>
                    </a:lnTo>
                    <a:lnTo>
                      <a:pt x="32" y="32"/>
                    </a:lnTo>
                    <a:lnTo>
                      <a:pt x="36" y="26"/>
                    </a:lnTo>
                    <a:lnTo>
                      <a:pt x="36" y="19"/>
                    </a:lnTo>
                    <a:lnTo>
                      <a:pt x="36" y="11"/>
                    </a:lnTo>
                    <a:lnTo>
                      <a:pt x="32" y="5"/>
                    </a:lnTo>
                    <a:lnTo>
                      <a:pt x="32" y="5"/>
                    </a:lnTo>
                    <a:lnTo>
                      <a:pt x="26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25" name="Freeform 140"/>
              <p:cNvSpPr>
                <a:spLocks/>
              </p:cNvSpPr>
              <p:nvPr userDrawn="1"/>
            </p:nvSpPr>
            <p:spPr bwMode="auto">
              <a:xfrm>
                <a:off x="3710" y="2663"/>
                <a:ext cx="36" cy="36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0"/>
                  </a:cxn>
                  <a:cxn ang="0">
                    <a:pos x="6" y="5"/>
                  </a:cxn>
                  <a:cxn ang="0">
                    <a:pos x="6" y="5"/>
                  </a:cxn>
                  <a:cxn ang="0">
                    <a:pos x="2" y="11"/>
                  </a:cxn>
                  <a:cxn ang="0">
                    <a:pos x="0" y="19"/>
                  </a:cxn>
                  <a:cxn ang="0">
                    <a:pos x="2" y="26"/>
                  </a:cxn>
                  <a:cxn ang="0">
                    <a:pos x="6" y="32"/>
                  </a:cxn>
                  <a:cxn ang="0">
                    <a:pos x="6" y="32"/>
                  </a:cxn>
                  <a:cxn ang="0">
                    <a:pos x="12" y="36"/>
                  </a:cxn>
                  <a:cxn ang="0">
                    <a:pos x="18" y="36"/>
                  </a:cxn>
                  <a:cxn ang="0">
                    <a:pos x="18" y="36"/>
                  </a:cxn>
                  <a:cxn ang="0">
                    <a:pos x="26" y="36"/>
                  </a:cxn>
                  <a:cxn ang="0">
                    <a:pos x="32" y="32"/>
                  </a:cxn>
                  <a:cxn ang="0">
                    <a:pos x="32" y="32"/>
                  </a:cxn>
                  <a:cxn ang="0">
                    <a:pos x="36" y="26"/>
                  </a:cxn>
                  <a:cxn ang="0">
                    <a:pos x="36" y="19"/>
                  </a:cxn>
                  <a:cxn ang="0">
                    <a:pos x="36" y="11"/>
                  </a:cxn>
                  <a:cxn ang="0">
                    <a:pos x="32" y="5"/>
                  </a:cxn>
                  <a:cxn ang="0">
                    <a:pos x="32" y="5"/>
                  </a:cxn>
                  <a:cxn ang="0">
                    <a:pos x="26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6">
                    <a:moveTo>
                      <a:pt x="18" y="0"/>
                    </a:moveTo>
                    <a:lnTo>
                      <a:pt x="18" y="0"/>
                    </a:lnTo>
                    <a:lnTo>
                      <a:pt x="12" y="0"/>
                    </a:lnTo>
                    <a:lnTo>
                      <a:pt x="6" y="5"/>
                    </a:lnTo>
                    <a:lnTo>
                      <a:pt x="6" y="5"/>
                    </a:lnTo>
                    <a:lnTo>
                      <a:pt x="2" y="11"/>
                    </a:lnTo>
                    <a:lnTo>
                      <a:pt x="0" y="19"/>
                    </a:lnTo>
                    <a:lnTo>
                      <a:pt x="2" y="26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12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26" y="36"/>
                    </a:lnTo>
                    <a:lnTo>
                      <a:pt x="32" y="32"/>
                    </a:lnTo>
                    <a:lnTo>
                      <a:pt x="32" y="32"/>
                    </a:lnTo>
                    <a:lnTo>
                      <a:pt x="36" y="26"/>
                    </a:lnTo>
                    <a:lnTo>
                      <a:pt x="36" y="19"/>
                    </a:lnTo>
                    <a:lnTo>
                      <a:pt x="36" y="11"/>
                    </a:lnTo>
                    <a:lnTo>
                      <a:pt x="32" y="5"/>
                    </a:lnTo>
                    <a:lnTo>
                      <a:pt x="32" y="5"/>
                    </a:lnTo>
                    <a:lnTo>
                      <a:pt x="26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26" name="Freeform 141"/>
              <p:cNvSpPr>
                <a:spLocks/>
              </p:cNvSpPr>
              <p:nvPr userDrawn="1"/>
            </p:nvSpPr>
            <p:spPr bwMode="auto">
              <a:xfrm>
                <a:off x="3824" y="2747"/>
                <a:ext cx="36" cy="30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1" y="0"/>
                  </a:cxn>
                  <a:cxn ang="0">
                    <a:pos x="5" y="4"/>
                  </a:cxn>
                  <a:cxn ang="0">
                    <a:pos x="5" y="4"/>
                  </a:cxn>
                  <a:cxn ang="0">
                    <a:pos x="0" y="9"/>
                  </a:cxn>
                  <a:cxn ang="0">
                    <a:pos x="0" y="15"/>
                  </a:cxn>
                  <a:cxn ang="0">
                    <a:pos x="0" y="21"/>
                  </a:cxn>
                  <a:cxn ang="0">
                    <a:pos x="5" y="24"/>
                  </a:cxn>
                  <a:cxn ang="0">
                    <a:pos x="5" y="24"/>
                  </a:cxn>
                  <a:cxn ang="0">
                    <a:pos x="11" y="28"/>
                  </a:cxn>
                  <a:cxn ang="0">
                    <a:pos x="18" y="30"/>
                  </a:cxn>
                  <a:cxn ang="0">
                    <a:pos x="18" y="30"/>
                  </a:cxn>
                  <a:cxn ang="0">
                    <a:pos x="25" y="28"/>
                  </a:cxn>
                  <a:cxn ang="0">
                    <a:pos x="29" y="24"/>
                  </a:cxn>
                  <a:cxn ang="0">
                    <a:pos x="29" y="24"/>
                  </a:cxn>
                  <a:cxn ang="0">
                    <a:pos x="34" y="21"/>
                  </a:cxn>
                  <a:cxn ang="0">
                    <a:pos x="36" y="15"/>
                  </a:cxn>
                  <a:cxn ang="0">
                    <a:pos x="34" y="9"/>
                  </a:cxn>
                  <a:cxn ang="0">
                    <a:pos x="29" y="4"/>
                  </a:cxn>
                  <a:cxn ang="0">
                    <a:pos x="29" y="4"/>
                  </a:cxn>
                  <a:cxn ang="0">
                    <a:pos x="25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0">
                    <a:moveTo>
                      <a:pt x="18" y="0"/>
                    </a:moveTo>
                    <a:lnTo>
                      <a:pt x="18" y="0"/>
                    </a:lnTo>
                    <a:lnTo>
                      <a:pt x="11" y="0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0" y="9"/>
                    </a:lnTo>
                    <a:lnTo>
                      <a:pt x="0" y="15"/>
                    </a:lnTo>
                    <a:lnTo>
                      <a:pt x="0" y="21"/>
                    </a:lnTo>
                    <a:lnTo>
                      <a:pt x="5" y="24"/>
                    </a:lnTo>
                    <a:lnTo>
                      <a:pt x="5" y="24"/>
                    </a:lnTo>
                    <a:lnTo>
                      <a:pt x="11" y="28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5" y="28"/>
                    </a:lnTo>
                    <a:lnTo>
                      <a:pt x="29" y="24"/>
                    </a:lnTo>
                    <a:lnTo>
                      <a:pt x="29" y="24"/>
                    </a:lnTo>
                    <a:lnTo>
                      <a:pt x="34" y="21"/>
                    </a:lnTo>
                    <a:lnTo>
                      <a:pt x="36" y="15"/>
                    </a:lnTo>
                    <a:lnTo>
                      <a:pt x="34" y="9"/>
                    </a:lnTo>
                    <a:lnTo>
                      <a:pt x="29" y="4"/>
                    </a:lnTo>
                    <a:lnTo>
                      <a:pt x="29" y="4"/>
                    </a:lnTo>
                    <a:lnTo>
                      <a:pt x="25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27" name="Freeform 142"/>
              <p:cNvSpPr>
                <a:spLocks/>
              </p:cNvSpPr>
              <p:nvPr userDrawn="1"/>
            </p:nvSpPr>
            <p:spPr bwMode="auto">
              <a:xfrm>
                <a:off x="3824" y="2747"/>
                <a:ext cx="36" cy="30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1" y="0"/>
                  </a:cxn>
                  <a:cxn ang="0">
                    <a:pos x="5" y="4"/>
                  </a:cxn>
                  <a:cxn ang="0">
                    <a:pos x="5" y="4"/>
                  </a:cxn>
                  <a:cxn ang="0">
                    <a:pos x="0" y="9"/>
                  </a:cxn>
                  <a:cxn ang="0">
                    <a:pos x="0" y="15"/>
                  </a:cxn>
                  <a:cxn ang="0">
                    <a:pos x="0" y="21"/>
                  </a:cxn>
                  <a:cxn ang="0">
                    <a:pos x="5" y="24"/>
                  </a:cxn>
                  <a:cxn ang="0">
                    <a:pos x="5" y="24"/>
                  </a:cxn>
                  <a:cxn ang="0">
                    <a:pos x="11" y="28"/>
                  </a:cxn>
                  <a:cxn ang="0">
                    <a:pos x="18" y="30"/>
                  </a:cxn>
                  <a:cxn ang="0">
                    <a:pos x="18" y="30"/>
                  </a:cxn>
                  <a:cxn ang="0">
                    <a:pos x="25" y="28"/>
                  </a:cxn>
                  <a:cxn ang="0">
                    <a:pos x="29" y="24"/>
                  </a:cxn>
                  <a:cxn ang="0">
                    <a:pos x="29" y="24"/>
                  </a:cxn>
                  <a:cxn ang="0">
                    <a:pos x="34" y="21"/>
                  </a:cxn>
                  <a:cxn ang="0">
                    <a:pos x="36" y="15"/>
                  </a:cxn>
                  <a:cxn ang="0">
                    <a:pos x="34" y="9"/>
                  </a:cxn>
                  <a:cxn ang="0">
                    <a:pos x="29" y="4"/>
                  </a:cxn>
                  <a:cxn ang="0">
                    <a:pos x="29" y="4"/>
                  </a:cxn>
                  <a:cxn ang="0">
                    <a:pos x="25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0">
                    <a:moveTo>
                      <a:pt x="18" y="0"/>
                    </a:moveTo>
                    <a:lnTo>
                      <a:pt x="18" y="0"/>
                    </a:lnTo>
                    <a:lnTo>
                      <a:pt x="11" y="0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0" y="9"/>
                    </a:lnTo>
                    <a:lnTo>
                      <a:pt x="0" y="15"/>
                    </a:lnTo>
                    <a:lnTo>
                      <a:pt x="0" y="21"/>
                    </a:lnTo>
                    <a:lnTo>
                      <a:pt x="5" y="24"/>
                    </a:lnTo>
                    <a:lnTo>
                      <a:pt x="5" y="24"/>
                    </a:lnTo>
                    <a:lnTo>
                      <a:pt x="11" y="28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5" y="28"/>
                    </a:lnTo>
                    <a:lnTo>
                      <a:pt x="29" y="24"/>
                    </a:lnTo>
                    <a:lnTo>
                      <a:pt x="29" y="24"/>
                    </a:lnTo>
                    <a:lnTo>
                      <a:pt x="34" y="21"/>
                    </a:lnTo>
                    <a:lnTo>
                      <a:pt x="36" y="15"/>
                    </a:lnTo>
                    <a:lnTo>
                      <a:pt x="34" y="9"/>
                    </a:lnTo>
                    <a:lnTo>
                      <a:pt x="29" y="4"/>
                    </a:lnTo>
                    <a:lnTo>
                      <a:pt x="29" y="4"/>
                    </a:lnTo>
                    <a:lnTo>
                      <a:pt x="25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28" name="Freeform 143"/>
              <p:cNvSpPr>
                <a:spLocks/>
              </p:cNvSpPr>
              <p:nvPr userDrawn="1"/>
            </p:nvSpPr>
            <p:spPr bwMode="auto">
              <a:xfrm>
                <a:off x="3926" y="2843"/>
                <a:ext cx="30" cy="30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9" y="0"/>
                  </a:cxn>
                  <a:cxn ang="0">
                    <a:pos x="5" y="5"/>
                  </a:cxn>
                  <a:cxn ang="0">
                    <a:pos x="5" y="5"/>
                  </a:cxn>
                  <a:cxn ang="0">
                    <a:pos x="0" y="9"/>
                  </a:cxn>
                  <a:cxn ang="0">
                    <a:pos x="0" y="15"/>
                  </a:cxn>
                  <a:cxn ang="0">
                    <a:pos x="0" y="22"/>
                  </a:cxn>
                  <a:cxn ang="0">
                    <a:pos x="5" y="26"/>
                  </a:cxn>
                  <a:cxn ang="0">
                    <a:pos x="5" y="26"/>
                  </a:cxn>
                  <a:cxn ang="0">
                    <a:pos x="9" y="30"/>
                  </a:cxn>
                  <a:cxn ang="0">
                    <a:pos x="15" y="30"/>
                  </a:cxn>
                  <a:cxn ang="0">
                    <a:pos x="15" y="30"/>
                  </a:cxn>
                  <a:cxn ang="0">
                    <a:pos x="22" y="30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30" y="22"/>
                  </a:cxn>
                  <a:cxn ang="0">
                    <a:pos x="30" y="15"/>
                  </a:cxn>
                  <a:cxn ang="0">
                    <a:pos x="30" y="9"/>
                  </a:cxn>
                  <a:cxn ang="0">
                    <a:pos x="26" y="5"/>
                  </a:cxn>
                  <a:cxn ang="0">
                    <a:pos x="26" y="5"/>
                  </a:cxn>
                  <a:cxn ang="0">
                    <a:pos x="22" y="0"/>
                  </a:cxn>
                  <a:cxn ang="0">
                    <a:pos x="15" y="0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5" y="0"/>
                    </a:lnTo>
                    <a:lnTo>
                      <a:pt x="9" y="0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0" y="9"/>
                    </a:lnTo>
                    <a:lnTo>
                      <a:pt x="0" y="15"/>
                    </a:lnTo>
                    <a:lnTo>
                      <a:pt x="0" y="22"/>
                    </a:lnTo>
                    <a:lnTo>
                      <a:pt x="5" y="26"/>
                    </a:lnTo>
                    <a:lnTo>
                      <a:pt x="5" y="26"/>
                    </a:lnTo>
                    <a:lnTo>
                      <a:pt x="9" y="30"/>
                    </a:lnTo>
                    <a:lnTo>
                      <a:pt x="15" y="30"/>
                    </a:lnTo>
                    <a:lnTo>
                      <a:pt x="15" y="30"/>
                    </a:lnTo>
                    <a:lnTo>
                      <a:pt x="22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30" y="22"/>
                    </a:lnTo>
                    <a:lnTo>
                      <a:pt x="30" y="15"/>
                    </a:lnTo>
                    <a:lnTo>
                      <a:pt x="30" y="9"/>
                    </a:lnTo>
                    <a:lnTo>
                      <a:pt x="26" y="5"/>
                    </a:lnTo>
                    <a:lnTo>
                      <a:pt x="26" y="5"/>
                    </a:lnTo>
                    <a:lnTo>
                      <a:pt x="22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29" name="Freeform 144"/>
              <p:cNvSpPr>
                <a:spLocks/>
              </p:cNvSpPr>
              <p:nvPr userDrawn="1"/>
            </p:nvSpPr>
            <p:spPr bwMode="auto">
              <a:xfrm>
                <a:off x="3926" y="2843"/>
                <a:ext cx="30" cy="30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9" y="0"/>
                  </a:cxn>
                  <a:cxn ang="0">
                    <a:pos x="5" y="5"/>
                  </a:cxn>
                  <a:cxn ang="0">
                    <a:pos x="5" y="5"/>
                  </a:cxn>
                  <a:cxn ang="0">
                    <a:pos x="0" y="9"/>
                  </a:cxn>
                  <a:cxn ang="0">
                    <a:pos x="0" y="15"/>
                  </a:cxn>
                  <a:cxn ang="0">
                    <a:pos x="0" y="22"/>
                  </a:cxn>
                  <a:cxn ang="0">
                    <a:pos x="5" y="26"/>
                  </a:cxn>
                  <a:cxn ang="0">
                    <a:pos x="5" y="26"/>
                  </a:cxn>
                  <a:cxn ang="0">
                    <a:pos x="9" y="30"/>
                  </a:cxn>
                  <a:cxn ang="0">
                    <a:pos x="15" y="30"/>
                  </a:cxn>
                  <a:cxn ang="0">
                    <a:pos x="15" y="30"/>
                  </a:cxn>
                  <a:cxn ang="0">
                    <a:pos x="22" y="30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30" y="22"/>
                  </a:cxn>
                  <a:cxn ang="0">
                    <a:pos x="30" y="15"/>
                  </a:cxn>
                  <a:cxn ang="0">
                    <a:pos x="30" y="9"/>
                  </a:cxn>
                  <a:cxn ang="0">
                    <a:pos x="26" y="5"/>
                  </a:cxn>
                  <a:cxn ang="0">
                    <a:pos x="26" y="5"/>
                  </a:cxn>
                  <a:cxn ang="0">
                    <a:pos x="22" y="0"/>
                  </a:cxn>
                  <a:cxn ang="0">
                    <a:pos x="15" y="0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5" y="0"/>
                    </a:lnTo>
                    <a:lnTo>
                      <a:pt x="9" y="0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0" y="9"/>
                    </a:lnTo>
                    <a:lnTo>
                      <a:pt x="0" y="15"/>
                    </a:lnTo>
                    <a:lnTo>
                      <a:pt x="0" y="22"/>
                    </a:lnTo>
                    <a:lnTo>
                      <a:pt x="5" y="26"/>
                    </a:lnTo>
                    <a:lnTo>
                      <a:pt x="5" y="26"/>
                    </a:lnTo>
                    <a:lnTo>
                      <a:pt x="9" y="30"/>
                    </a:lnTo>
                    <a:lnTo>
                      <a:pt x="15" y="30"/>
                    </a:lnTo>
                    <a:lnTo>
                      <a:pt x="15" y="30"/>
                    </a:lnTo>
                    <a:lnTo>
                      <a:pt x="22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30" y="22"/>
                    </a:lnTo>
                    <a:lnTo>
                      <a:pt x="30" y="15"/>
                    </a:lnTo>
                    <a:lnTo>
                      <a:pt x="30" y="9"/>
                    </a:lnTo>
                    <a:lnTo>
                      <a:pt x="26" y="5"/>
                    </a:lnTo>
                    <a:lnTo>
                      <a:pt x="26" y="5"/>
                    </a:lnTo>
                    <a:lnTo>
                      <a:pt x="22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30" name="Freeform 145"/>
              <p:cNvSpPr>
                <a:spLocks/>
              </p:cNvSpPr>
              <p:nvPr userDrawn="1"/>
            </p:nvSpPr>
            <p:spPr bwMode="auto">
              <a:xfrm>
                <a:off x="2672" y="2819"/>
                <a:ext cx="78" cy="78"/>
              </a:xfrm>
              <a:custGeom>
                <a:avLst/>
                <a:gdLst/>
                <a:ahLst/>
                <a:cxnLst>
                  <a:cxn ang="0">
                    <a:pos x="39" y="0"/>
                  </a:cxn>
                  <a:cxn ang="0">
                    <a:pos x="39" y="0"/>
                  </a:cxn>
                  <a:cxn ang="0">
                    <a:pos x="31" y="2"/>
                  </a:cxn>
                  <a:cxn ang="0">
                    <a:pos x="25" y="4"/>
                  </a:cxn>
                  <a:cxn ang="0">
                    <a:pos x="19" y="6"/>
                  </a:cxn>
                  <a:cxn ang="0">
                    <a:pos x="12" y="12"/>
                  </a:cxn>
                  <a:cxn ang="0">
                    <a:pos x="12" y="12"/>
                  </a:cxn>
                  <a:cxn ang="0">
                    <a:pos x="8" y="19"/>
                  </a:cxn>
                  <a:cxn ang="0">
                    <a:pos x="4" y="25"/>
                  </a:cxn>
                  <a:cxn ang="0">
                    <a:pos x="2" y="31"/>
                  </a:cxn>
                  <a:cxn ang="0">
                    <a:pos x="0" y="39"/>
                  </a:cxn>
                  <a:cxn ang="0">
                    <a:pos x="2" y="47"/>
                  </a:cxn>
                  <a:cxn ang="0">
                    <a:pos x="4" y="54"/>
                  </a:cxn>
                  <a:cxn ang="0">
                    <a:pos x="8" y="60"/>
                  </a:cxn>
                  <a:cxn ang="0">
                    <a:pos x="12" y="66"/>
                  </a:cxn>
                  <a:cxn ang="0">
                    <a:pos x="12" y="66"/>
                  </a:cxn>
                  <a:cxn ang="0">
                    <a:pos x="19" y="72"/>
                  </a:cxn>
                  <a:cxn ang="0">
                    <a:pos x="25" y="74"/>
                  </a:cxn>
                  <a:cxn ang="0">
                    <a:pos x="33" y="76"/>
                  </a:cxn>
                  <a:cxn ang="0">
                    <a:pos x="39" y="78"/>
                  </a:cxn>
                  <a:cxn ang="0">
                    <a:pos x="39" y="78"/>
                  </a:cxn>
                  <a:cxn ang="0">
                    <a:pos x="47" y="76"/>
                  </a:cxn>
                  <a:cxn ang="0">
                    <a:pos x="54" y="74"/>
                  </a:cxn>
                  <a:cxn ang="0">
                    <a:pos x="60" y="72"/>
                  </a:cxn>
                  <a:cxn ang="0">
                    <a:pos x="66" y="66"/>
                  </a:cxn>
                  <a:cxn ang="0">
                    <a:pos x="66" y="66"/>
                  </a:cxn>
                  <a:cxn ang="0">
                    <a:pos x="72" y="60"/>
                  </a:cxn>
                  <a:cxn ang="0">
                    <a:pos x="74" y="54"/>
                  </a:cxn>
                  <a:cxn ang="0">
                    <a:pos x="76" y="47"/>
                  </a:cxn>
                  <a:cxn ang="0">
                    <a:pos x="78" y="39"/>
                  </a:cxn>
                  <a:cxn ang="0">
                    <a:pos x="76" y="31"/>
                  </a:cxn>
                  <a:cxn ang="0">
                    <a:pos x="74" y="25"/>
                  </a:cxn>
                  <a:cxn ang="0">
                    <a:pos x="72" y="19"/>
                  </a:cxn>
                  <a:cxn ang="0">
                    <a:pos x="66" y="12"/>
                  </a:cxn>
                  <a:cxn ang="0">
                    <a:pos x="66" y="12"/>
                  </a:cxn>
                  <a:cxn ang="0">
                    <a:pos x="60" y="6"/>
                  </a:cxn>
                  <a:cxn ang="0">
                    <a:pos x="54" y="4"/>
                  </a:cxn>
                  <a:cxn ang="0">
                    <a:pos x="47" y="2"/>
                  </a:cxn>
                  <a:cxn ang="0">
                    <a:pos x="39" y="0"/>
                  </a:cxn>
                </a:cxnLst>
                <a:rect l="0" t="0" r="r" b="b"/>
                <a:pathLst>
                  <a:path w="78" h="78">
                    <a:moveTo>
                      <a:pt x="39" y="0"/>
                    </a:moveTo>
                    <a:lnTo>
                      <a:pt x="39" y="0"/>
                    </a:lnTo>
                    <a:lnTo>
                      <a:pt x="31" y="2"/>
                    </a:lnTo>
                    <a:lnTo>
                      <a:pt x="25" y="4"/>
                    </a:lnTo>
                    <a:lnTo>
                      <a:pt x="19" y="6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8" y="19"/>
                    </a:lnTo>
                    <a:lnTo>
                      <a:pt x="4" y="25"/>
                    </a:lnTo>
                    <a:lnTo>
                      <a:pt x="2" y="31"/>
                    </a:lnTo>
                    <a:lnTo>
                      <a:pt x="0" y="39"/>
                    </a:lnTo>
                    <a:lnTo>
                      <a:pt x="2" y="47"/>
                    </a:lnTo>
                    <a:lnTo>
                      <a:pt x="4" y="54"/>
                    </a:lnTo>
                    <a:lnTo>
                      <a:pt x="8" y="60"/>
                    </a:lnTo>
                    <a:lnTo>
                      <a:pt x="12" y="66"/>
                    </a:lnTo>
                    <a:lnTo>
                      <a:pt x="12" y="66"/>
                    </a:lnTo>
                    <a:lnTo>
                      <a:pt x="19" y="72"/>
                    </a:lnTo>
                    <a:lnTo>
                      <a:pt x="25" y="74"/>
                    </a:lnTo>
                    <a:lnTo>
                      <a:pt x="33" y="76"/>
                    </a:lnTo>
                    <a:lnTo>
                      <a:pt x="39" y="78"/>
                    </a:lnTo>
                    <a:lnTo>
                      <a:pt x="39" y="78"/>
                    </a:lnTo>
                    <a:lnTo>
                      <a:pt x="47" y="76"/>
                    </a:lnTo>
                    <a:lnTo>
                      <a:pt x="54" y="74"/>
                    </a:lnTo>
                    <a:lnTo>
                      <a:pt x="60" y="72"/>
                    </a:lnTo>
                    <a:lnTo>
                      <a:pt x="66" y="66"/>
                    </a:lnTo>
                    <a:lnTo>
                      <a:pt x="66" y="66"/>
                    </a:lnTo>
                    <a:lnTo>
                      <a:pt x="72" y="60"/>
                    </a:lnTo>
                    <a:lnTo>
                      <a:pt x="74" y="54"/>
                    </a:lnTo>
                    <a:lnTo>
                      <a:pt x="76" y="47"/>
                    </a:lnTo>
                    <a:lnTo>
                      <a:pt x="78" y="39"/>
                    </a:lnTo>
                    <a:lnTo>
                      <a:pt x="76" y="31"/>
                    </a:lnTo>
                    <a:lnTo>
                      <a:pt x="74" y="25"/>
                    </a:lnTo>
                    <a:lnTo>
                      <a:pt x="72" y="19"/>
                    </a:lnTo>
                    <a:lnTo>
                      <a:pt x="66" y="12"/>
                    </a:lnTo>
                    <a:lnTo>
                      <a:pt x="66" y="12"/>
                    </a:lnTo>
                    <a:lnTo>
                      <a:pt x="60" y="6"/>
                    </a:lnTo>
                    <a:lnTo>
                      <a:pt x="54" y="4"/>
                    </a:lnTo>
                    <a:lnTo>
                      <a:pt x="47" y="2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31" name="Freeform 146"/>
              <p:cNvSpPr>
                <a:spLocks/>
              </p:cNvSpPr>
              <p:nvPr userDrawn="1"/>
            </p:nvSpPr>
            <p:spPr bwMode="auto">
              <a:xfrm>
                <a:off x="2672" y="2819"/>
                <a:ext cx="78" cy="78"/>
              </a:xfrm>
              <a:custGeom>
                <a:avLst/>
                <a:gdLst/>
                <a:ahLst/>
                <a:cxnLst>
                  <a:cxn ang="0">
                    <a:pos x="39" y="0"/>
                  </a:cxn>
                  <a:cxn ang="0">
                    <a:pos x="39" y="0"/>
                  </a:cxn>
                  <a:cxn ang="0">
                    <a:pos x="31" y="2"/>
                  </a:cxn>
                  <a:cxn ang="0">
                    <a:pos x="25" y="4"/>
                  </a:cxn>
                  <a:cxn ang="0">
                    <a:pos x="19" y="6"/>
                  </a:cxn>
                  <a:cxn ang="0">
                    <a:pos x="12" y="12"/>
                  </a:cxn>
                  <a:cxn ang="0">
                    <a:pos x="12" y="12"/>
                  </a:cxn>
                  <a:cxn ang="0">
                    <a:pos x="8" y="19"/>
                  </a:cxn>
                  <a:cxn ang="0">
                    <a:pos x="4" y="25"/>
                  </a:cxn>
                  <a:cxn ang="0">
                    <a:pos x="2" y="31"/>
                  </a:cxn>
                  <a:cxn ang="0">
                    <a:pos x="0" y="39"/>
                  </a:cxn>
                  <a:cxn ang="0">
                    <a:pos x="2" y="47"/>
                  </a:cxn>
                  <a:cxn ang="0">
                    <a:pos x="4" y="54"/>
                  </a:cxn>
                  <a:cxn ang="0">
                    <a:pos x="8" y="60"/>
                  </a:cxn>
                  <a:cxn ang="0">
                    <a:pos x="12" y="66"/>
                  </a:cxn>
                  <a:cxn ang="0">
                    <a:pos x="12" y="66"/>
                  </a:cxn>
                  <a:cxn ang="0">
                    <a:pos x="19" y="72"/>
                  </a:cxn>
                  <a:cxn ang="0">
                    <a:pos x="25" y="74"/>
                  </a:cxn>
                  <a:cxn ang="0">
                    <a:pos x="33" y="76"/>
                  </a:cxn>
                  <a:cxn ang="0">
                    <a:pos x="39" y="78"/>
                  </a:cxn>
                  <a:cxn ang="0">
                    <a:pos x="39" y="78"/>
                  </a:cxn>
                  <a:cxn ang="0">
                    <a:pos x="47" y="76"/>
                  </a:cxn>
                  <a:cxn ang="0">
                    <a:pos x="54" y="74"/>
                  </a:cxn>
                  <a:cxn ang="0">
                    <a:pos x="60" y="72"/>
                  </a:cxn>
                  <a:cxn ang="0">
                    <a:pos x="66" y="66"/>
                  </a:cxn>
                  <a:cxn ang="0">
                    <a:pos x="66" y="66"/>
                  </a:cxn>
                  <a:cxn ang="0">
                    <a:pos x="72" y="60"/>
                  </a:cxn>
                  <a:cxn ang="0">
                    <a:pos x="74" y="54"/>
                  </a:cxn>
                  <a:cxn ang="0">
                    <a:pos x="76" y="47"/>
                  </a:cxn>
                  <a:cxn ang="0">
                    <a:pos x="78" y="39"/>
                  </a:cxn>
                  <a:cxn ang="0">
                    <a:pos x="76" y="31"/>
                  </a:cxn>
                  <a:cxn ang="0">
                    <a:pos x="74" y="25"/>
                  </a:cxn>
                  <a:cxn ang="0">
                    <a:pos x="72" y="19"/>
                  </a:cxn>
                  <a:cxn ang="0">
                    <a:pos x="66" y="12"/>
                  </a:cxn>
                  <a:cxn ang="0">
                    <a:pos x="66" y="12"/>
                  </a:cxn>
                  <a:cxn ang="0">
                    <a:pos x="60" y="6"/>
                  </a:cxn>
                  <a:cxn ang="0">
                    <a:pos x="54" y="4"/>
                  </a:cxn>
                  <a:cxn ang="0">
                    <a:pos x="47" y="2"/>
                  </a:cxn>
                  <a:cxn ang="0">
                    <a:pos x="39" y="0"/>
                  </a:cxn>
                </a:cxnLst>
                <a:rect l="0" t="0" r="r" b="b"/>
                <a:pathLst>
                  <a:path w="78" h="78">
                    <a:moveTo>
                      <a:pt x="39" y="0"/>
                    </a:moveTo>
                    <a:lnTo>
                      <a:pt x="39" y="0"/>
                    </a:lnTo>
                    <a:lnTo>
                      <a:pt x="31" y="2"/>
                    </a:lnTo>
                    <a:lnTo>
                      <a:pt x="25" y="4"/>
                    </a:lnTo>
                    <a:lnTo>
                      <a:pt x="19" y="6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8" y="19"/>
                    </a:lnTo>
                    <a:lnTo>
                      <a:pt x="4" y="25"/>
                    </a:lnTo>
                    <a:lnTo>
                      <a:pt x="2" y="31"/>
                    </a:lnTo>
                    <a:lnTo>
                      <a:pt x="0" y="39"/>
                    </a:lnTo>
                    <a:lnTo>
                      <a:pt x="2" y="47"/>
                    </a:lnTo>
                    <a:lnTo>
                      <a:pt x="4" y="54"/>
                    </a:lnTo>
                    <a:lnTo>
                      <a:pt x="8" y="60"/>
                    </a:lnTo>
                    <a:lnTo>
                      <a:pt x="12" y="66"/>
                    </a:lnTo>
                    <a:lnTo>
                      <a:pt x="12" y="66"/>
                    </a:lnTo>
                    <a:lnTo>
                      <a:pt x="19" y="72"/>
                    </a:lnTo>
                    <a:lnTo>
                      <a:pt x="25" y="74"/>
                    </a:lnTo>
                    <a:lnTo>
                      <a:pt x="33" y="76"/>
                    </a:lnTo>
                    <a:lnTo>
                      <a:pt x="39" y="78"/>
                    </a:lnTo>
                    <a:lnTo>
                      <a:pt x="39" y="78"/>
                    </a:lnTo>
                    <a:lnTo>
                      <a:pt x="47" y="76"/>
                    </a:lnTo>
                    <a:lnTo>
                      <a:pt x="54" y="74"/>
                    </a:lnTo>
                    <a:lnTo>
                      <a:pt x="60" y="72"/>
                    </a:lnTo>
                    <a:lnTo>
                      <a:pt x="66" y="66"/>
                    </a:lnTo>
                    <a:lnTo>
                      <a:pt x="66" y="66"/>
                    </a:lnTo>
                    <a:lnTo>
                      <a:pt x="72" y="60"/>
                    </a:lnTo>
                    <a:lnTo>
                      <a:pt x="74" y="54"/>
                    </a:lnTo>
                    <a:lnTo>
                      <a:pt x="76" y="47"/>
                    </a:lnTo>
                    <a:lnTo>
                      <a:pt x="78" y="39"/>
                    </a:lnTo>
                    <a:lnTo>
                      <a:pt x="76" y="31"/>
                    </a:lnTo>
                    <a:lnTo>
                      <a:pt x="74" y="25"/>
                    </a:lnTo>
                    <a:lnTo>
                      <a:pt x="72" y="19"/>
                    </a:lnTo>
                    <a:lnTo>
                      <a:pt x="66" y="12"/>
                    </a:lnTo>
                    <a:lnTo>
                      <a:pt x="66" y="12"/>
                    </a:lnTo>
                    <a:lnTo>
                      <a:pt x="60" y="6"/>
                    </a:lnTo>
                    <a:lnTo>
                      <a:pt x="54" y="4"/>
                    </a:lnTo>
                    <a:lnTo>
                      <a:pt x="47" y="2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32" name="Freeform 147"/>
              <p:cNvSpPr>
                <a:spLocks/>
              </p:cNvSpPr>
              <p:nvPr userDrawn="1"/>
            </p:nvSpPr>
            <p:spPr bwMode="auto">
              <a:xfrm>
                <a:off x="2600" y="2939"/>
                <a:ext cx="66" cy="66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33" y="0"/>
                  </a:cxn>
                  <a:cxn ang="0">
                    <a:pos x="27" y="2"/>
                  </a:cxn>
                  <a:cxn ang="0">
                    <a:pos x="21" y="4"/>
                  </a:cxn>
                  <a:cxn ang="0">
                    <a:pos x="16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6"/>
                  </a:cxn>
                  <a:cxn ang="0">
                    <a:pos x="2" y="21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2" y="47"/>
                  </a:cxn>
                  <a:cxn ang="0">
                    <a:pos x="6" y="51"/>
                  </a:cxn>
                  <a:cxn ang="0">
                    <a:pos x="10" y="57"/>
                  </a:cxn>
                  <a:cxn ang="0">
                    <a:pos x="10" y="57"/>
                  </a:cxn>
                  <a:cxn ang="0">
                    <a:pos x="16" y="60"/>
                  </a:cxn>
                  <a:cxn ang="0">
                    <a:pos x="21" y="64"/>
                  </a:cxn>
                  <a:cxn ang="0">
                    <a:pos x="27" y="66"/>
                  </a:cxn>
                  <a:cxn ang="0">
                    <a:pos x="33" y="66"/>
                  </a:cxn>
                  <a:cxn ang="0">
                    <a:pos x="33" y="66"/>
                  </a:cxn>
                  <a:cxn ang="0">
                    <a:pos x="39" y="66"/>
                  </a:cxn>
                  <a:cxn ang="0">
                    <a:pos x="45" y="64"/>
                  </a:cxn>
                  <a:cxn ang="0">
                    <a:pos x="51" y="60"/>
                  </a:cxn>
                  <a:cxn ang="0">
                    <a:pos x="57" y="57"/>
                  </a:cxn>
                  <a:cxn ang="0">
                    <a:pos x="57" y="57"/>
                  </a:cxn>
                  <a:cxn ang="0">
                    <a:pos x="60" y="51"/>
                  </a:cxn>
                  <a:cxn ang="0">
                    <a:pos x="64" y="47"/>
                  </a:cxn>
                  <a:cxn ang="0">
                    <a:pos x="64" y="39"/>
                  </a:cxn>
                  <a:cxn ang="0">
                    <a:pos x="66" y="33"/>
                  </a:cxn>
                  <a:cxn ang="0">
                    <a:pos x="64" y="27"/>
                  </a:cxn>
                  <a:cxn ang="0">
                    <a:pos x="64" y="21"/>
                  </a:cxn>
                  <a:cxn ang="0">
                    <a:pos x="60" y="16"/>
                  </a:cxn>
                  <a:cxn ang="0">
                    <a:pos x="57" y="10"/>
                  </a:cxn>
                  <a:cxn ang="0">
                    <a:pos x="57" y="10"/>
                  </a:cxn>
                  <a:cxn ang="0">
                    <a:pos x="51" y="6"/>
                  </a:cxn>
                  <a:cxn ang="0">
                    <a:pos x="45" y="4"/>
                  </a:cxn>
                  <a:cxn ang="0">
                    <a:pos x="39" y="2"/>
                  </a:cxn>
                  <a:cxn ang="0">
                    <a:pos x="33" y="0"/>
                  </a:cxn>
                </a:cxnLst>
                <a:rect l="0" t="0" r="r" b="b"/>
                <a:pathLst>
                  <a:path w="66" h="66">
                    <a:moveTo>
                      <a:pt x="33" y="0"/>
                    </a:moveTo>
                    <a:lnTo>
                      <a:pt x="33" y="0"/>
                    </a:lnTo>
                    <a:lnTo>
                      <a:pt x="27" y="2"/>
                    </a:lnTo>
                    <a:lnTo>
                      <a:pt x="21" y="4"/>
                    </a:lnTo>
                    <a:lnTo>
                      <a:pt x="16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6"/>
                    </a:lnTo>
                    <a:lnTo>
                      <a:pt x="2" y="21"/>
                    </a:lnTo>
                    <a:lnTo>
                      <a:pt x="2" y="27"/>
                    </a:lnTo>
                    <a:lnTo>
                      <a:pt x="0" y="33"/>
                    </a:lnTo>
                    <a:lnTo>
                      <a:pt x="2" y="39"/>
                    </a:lnTo>
                    <a:lnTo>
                      <a:pt x="2" y="47"/>
                    </a:lnTo>
                    <a:lnTo>
                      <a:pt x="6" y="51"/>
                    </a:lnTo>
                    <a:lnTo>
                      <a:pt x="10" y="57"/>
                    </a:lnTo>
                    <a:lnTo>
                      <a:pt x="10" y="57"/>
                    </a:lnTo>
                    <a:lnTo>
                      <a:pt x="16" y="60"/>
                    </a:lnTo>
                    <a:lnTo>
                      <a:pt x="21" y="64"/>
                    </a:lnTo>
                    <a:lnTo>
                      <a:pt x="27" y="66"/>
                    </a:lnTo>
                    <a:lnTo>
                      <a:pt x="33" y="66"/>
                    </a:lnTo>
                    <a:lnTo>
                      <a:pt x="33" y="66"/>
                    </a:lnTo>
                    <a:lnTo>
                      <a:pt x="39" y="66"/>
                    </a:lnTo>
                    <a:lnTo>
                      <a:pt x="45" y="64"/>
                    </a:lnTo>
                    <a:lnTo>
                      <a:pt x="51" y="60"/>
                    </a:lnTo>
                    <a:lnTo>
                      <a:pt x="57" y="57"/>
                    </a:lnTo>
                    <a:lnTo>
                      <a:pt x="57" y="57"/>
                    </a:lnTo>
                    <a:lnTo>
                      <a:pt x="60" y="51"/>
                    </a:lnTo>
                    <a:lnTo>
                      <a:pt x="64" y="47"/>
                    </a:lnTo>
                    <a:lnTo>
                      <a:pt x="64" y="39"/>
                    </a:lnTo>
                    <a:lnTo>
                      <a:pt x="66" y="33"/>
                    </a:lnTo>
                    <a:lnTo>
                      <a:pt x="64" y="27"/>
                    </a:lnTo>
                    <a:lnTo>
                      <a:pt x="64" y="21"/>
                    </a:lnTo>
                    <a:lnTo>
                      <a:pt x="60" y="16"/>
                    </a:lnTo>
                    <a:lnTo>
                      <a:pt x="57" y="10"/>
                    </a:lnTo>
                    <a:lnTo>
                      <a:pt x="57" y="10"/>
                    </a:lnTo>
                    <a:lnTo>
                      <a:pt x="51" y="6"/>
                    </a:lnTo>
                    <a:lnTo>
                      <a:pt x="45" y="4"/>
                    </a:lnTo>
                    <a:lnTo>
                      <a:pt x="39" y="2"/>
                    </a:lnTo>
                    <a:lnTo>
                      <a:pt x="3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33" name="Freeform 148"/>
              <p:cNvSpPr>
                <a:spLocks/>
              </p:cNvSpPr>
              <p:nvPr userDrawn="1"/>
            </p:nvSpPr>
            <p:spPr bwMode="auto">
              <a:xfrm>
                <a:off x="2600" y="2939"/>
                <a:ext cx="66" cy="66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33" y="0"/>
                  </a:cxn>
                  <a:cxn ang="0">
                    <a:pos x="27" y="2"/>
                  </a:cxn>
                  <a:cxn ang="0">
                    <a:pos x="21" y="4"/>
                  </a:cxn>
                  <a:cxn ang="0">
                    <a:pos x="16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6"/>
                  </a:cxn>
                  <a:cxn ang="0">
                    <a:pos x="2" y="21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2" y="47"/>
                  </a:cxn>
                  <a:cxn ang="0">
                    <a:pos x="6" y="51"/>
                  </a:cxn>
                  <a:cxn ang="0">
                    <a:pos x="10" y="57"/>
                  </a:cxn>
                  <a:cxn ang="0">
                    <a:pos x="10" y="57"/>
                  </a:cxn>
                  <a:cxn ang="0">
                    <a:pos x="16" y="60"/>
                  </a:cxn>
                  <a:cxn ang="0">
                    <a:pos x="21" y="64"/>
                  </a:cxn>
                  <a:cxn ang="0">
                    <a:pos x="27" y="66"/>
                  </a:cxn>
                  <a:cxn ang="0">
                    <a:pos x="33" y="66"/>
                  </a:cxn>
                  <a:cxn ang="0">
                    <a:pos x="33" y="66"/>
                  </a:cxn>
                  <a:cxn ang="0">
                    <a:pos x="39" y="66"/>
                  </a:cxn>
                  <a:cxn ang="0">
                    <a:pos x="45" y="64"/>
                  </a:cxn>
                  <a:cxn ang="0">
                    <a:pos x="51" y="60"/>
                  </a:cxn>
                  <a:cxn ang="0">
                    <a:pos x="57" y="57"/>
                  </a:cxn>
                  <a:cxn ang="0">
                    <a:pos x="57" y="57"/>
                  </a:cxn>
                  <a:cxn ang="0">
                    <a:pos x="60" y="51"/>
                  </a:cxn>
                  <a:cxn ang="0">
                    <a:pos x="64" y="47"/>
                  </a:cxn>
                  <a:cxn ang="0">
                    <a:pos x="64" y="39"/>
                  </a:cxn>
                  <a:cxn ang="0">
                    <a:pos x="66" y="33"/>
                  </a:cxn>
                  <a:cxn ang="0">
                    <a:pos x="64" y="27"/>
                  </a:cxn>
                  <a:cxn ang="0">
                    <a:pos x="64" y="21"/>
                  </a:cxn>
                  <a:cxn ang="0">
                    <a:pos x="60" y="16"/>
                  </a:cxn>
                  <a:cxn ang="0">
                    <a:pos x="57" y="10"/>
                  </a:cxn>
                  <a:cxn ang="0">
                    <a:pos x="57" y="10"/>
                  </a:cxn>
                  <a:cxn ang="0">
                    <a:pos x="51" y="6"/>
                  </a:cxn>
                  <a:cxn ang="0">
                    <a:pos x="45" y="4"/>
                  </a:cxn>
                  <a:cxn ang="0">
                    <a:pos x="39" y="2"/>
                  </a:cxn>
                  <a:cxn ang="0">
                    <a:pos x="33" y="0"/>
                  </a:cxn>
                </a:cxnLst>
                <a:rect l="0" t="0" r="r" b="b"/>
                <a:pathLst>
                  <a:path w="66" h="66">
                    <a:moveTo>
                      <a:pt x="33" y="0"/>
                    </a:moveTo>
                    <a:lnTo>
                      <a:pt x="33" y="0"/>
                    </a:lnTo>
                    <a:lnTo>
                      <a:pt x="27" y="2"/>
                    </a:lnTo>
                    <a:lnTo>
                      <a:pt x="21" y="4"/>
                    </a:lnTo>
                    <a:lnTo>
                      <a:pt x="16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6"/>
                    </a:lnTo>
                    <a:lnTo>
                      <a:pt x="2" y="21"/>
                    </a:lnTo>
                    <a:lnTo>
                      <a:pt x="2" y="27"/>
                    </a:lnTo>
                    <a:lnTo>
                      <a:pt x="0" y="33"/>
                    </a:lnTo>
                    <a:lnTo>
                      <a:pt x="2" y="39"/>
                    </a:lnTo>
                    <a:lnTo>
                      <a:pt x="2" y="47"/>
                    </a:lnTo>
                    <a:lnTo>
                      <a:pt x="6" y="51"/>
                    </a:lnTo>
                    <a:lnTo>
                      <a:pt x="10" y="57"/>
                    </a:lnTo>
                    <a:lnTo>
                      <a:pt x="10" y="57"/>
                    </a:lnTo>
                    <a:lnTo>
                      <a:pt x="16" y="60"/>
                    </a:lnTo>
                    <a:lnTo>
                      <a:pt x="21" y="64"/>
                    </a:lnTo>
                    <a:lnTo>
                      <a:pt x="27" y="66"/>
                    </a:lnTo>
                    <a:lnTo>
                      <a:pt x="33" y="66"/>
                    </a:lnTo>
                    <a:lnTo>
                      <a:pt x="33" y="66"/>
                    </a:lnTo>
                    <a:lnTo>
                      <a:pt x="39" y="66"/>
                    </a:lnTo>
                    <a:lnTo>
                      <a:pt x="45" y="64"/>
                    </a:lnTo>
                    <a:lnTo>
                      <a:pt x="51" y="60"/>
                    </a:lnTo>
                    <a:lnTo>
                      <a:pt x="57" y="57"/>
                    </a:lnTo>
                    <a:lnTo>
                      <a:pt x="57" y="57"/>
                    </a:lnTo>
                    <a:lnTo>
                      <a:pt x="60" y="51"/>
                    </a:lnTo>
                    <a:lnTo>
                      <a:pt x="64" y="47"/>
                    </a:lnTo>
                    <a:lnTo>
                      <a:pt x="64" y="39"/>
                    </a:lnTo>
                    <a:lnTo>
                      <a:pt x="66" y="33"/>
                    </a:lnTo>
                    <a:lnTo>
                      <a:pt x="64" y="27"/>
                    </a:lnTo>
                    <a:lnTo>
                      <a:pt x="64" y="21"/>
                    </a:lnTo>
                    <a:lnTo>
                      <a:pt x="60" y="16"/>
                    </a:lnTo>
                    <a:lnTo>
                      <a:pt x="57" y="10"/>
                    </a:lnTo>
                    <a:lnTo>
                      <a:pt x="57" y="10"/>
                    </a:lnTo>
                    <a:lnTo>
                      <a:pt x="51" y="6"/>
                    </a:lnTo>
                    <a:lnTo>
                      <a:pt x="45" y="4"/>
                    </a:lnTo>
                    <a:lnTo>
                      <a:pt x="39" y="2"/>
                    </a:lnTo>
                    <a:lnTo>
                      <a:pt x="3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34" name="Freeform 149"/>
              <p:cNvSpPr>
                <a:spLocks/>
              </p:cNvSpPr>
              <p:nvPr userDrawn="1"/>
            </p:nvSpPr>
            <p:spPr bwMode="auto">
              <a:xfrm>
                <a:off x="2540" y="3071"/>
                <a:ext cx="66" cy="60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0"/>
                  </a:cxn>
                  <a:cxn ang="0">
                    <a:pos x="21" y="4"/>
                  </a:cxn>
                  <a:cxn ang="0">
                    <a:pos x="15" y="6"/>
                  </a:cxn>
                  <a:cxn ang="0">
                    <a:pos x="11" y="10"/>
                  </a:cxn>
                  <a:cxn ang="0">
                    <a:pos x="11" y="10"/>
                  </a:cxn>
                  <a:cxn ang="0">
                    <a:pos x="7" y="14"/>
                  </a:cxn>
                  <a:cxn ang="0">
                    <a:pos x="2" y="20"/>
                  </a:cxn>
                  <a:cxn ang="0">
                    <a:pos x="0" y="31"/>
                  </a:cxn>
                  <a:cxn ang="0">
                    <a:pos x="2" y="41"/>
                  </a:cxn>
                  <a:cxn ang="0">
                    <a:pos x="7" y="47"/>
                  </a:cxn>
                  <a:cxn ang="0">
                    <a:pos x="11" y="51"/>
                  </a:cxn>
                  <a:cxn ang="0">
                    <a:pos x="11" y="51"/>
                  </a:cxn>
                  <a:cxn ang="0">
                    <a:pos x="15" y="54"/>
                  </a:cxn>
                  <a:cxn ang="0">
                    <a:pos x="21" y="58"/>
                  </a:cxn>
                  <a:cxn ang="0">
                    <a:pos x="32" y="60"/>
                  </a:cxn>
                  <a:cxn ang="0">
                    <a:pos x="32" y="60"/>
                  </a:cxn>
                  <a:cxn ang="0">
                    <a:pos x="45" y="58"/>
                  </a:cxn>
                  <a:cxn ang="0">
                    <a:pos x="51" y="54"/>
                  </a:cxn>
                  <a:cxn ang="0">
                    <a:pos x="56" y="51"/>
                  </a:cxn>
                  <a:cxn ang="0">
                    <a:pos x="56" y="51"/>
                  </a:cxn>
                  <a:cxn ang="0">
                    <a:pos x="60" y="47"/>
                  </a:cxn>
                  <a:cxn ang="0">
                    <a:pos x="62" y="41"/>
                  </a:cxn>
                  <a:cxn ang="0">
                    <a:pos x="66" y="31"/>
                  </a:cxn>
                  <a:cxn ang="0">
                    <a:pos x="62" y="20"/>
                  </a:cxn>
                  <a:cxn ang="0">
                    <a:pos x="60" y="14"/>
                  </a:cxn>
                  <a:cxn ang="0">
                    <a:pos x="56" y="10"/>
                  </a:cxn>
                  <a:cxn ang="0">
                    <a:pos x="56" y="10"/>
                  </a:cxn>
                  <a:cxn ang="0">
                    <a:pos x="51" y="6"/>
                  </a:cxn>
                  <a:cxn ang="0">
                    <a:pos x="45" y="4"/>
                  </a:cxn>
                  <a:cxn ang="0">
                    <a:pos x="32" y="0"/>
                  </a:cxn>
                </a:cxnLst>
                <a:rect l="0" t="0" r="r" b="b"/>
                <a:pathLst>
                  <a:path w="66" h="60">
                    <a:moveTo>
                      <a:pt x="32" y="0"/>
                    </a:moveTo>
                    <a:lnTo>
                      <a:pt x="32" y="0"/>
                    </a:lnTo>
                    <a:lnTo>
                      <a:pt x="21" y="4"/>
                    </a:lnTo>
                    <a:lnTo>
                      <a:pt x="15" y="6"/>
                    </a:lnTo>
                    <a:lnTo>
                      <a:pt x="11" y="10"/>
                    </a:lnTo>
                    <a:lnTo>
                      <a:pt x="11" y="10"/>
                    </a:lnTo>
                    <a:lnTo>
                      <a:pt x="7" y="14"/>
                    </a:lnTo>
                    <a:lnTo>
                      <a:pt x="2" y="20"/>
                    </a:lnTo>
                    <a:lnTo>
                      <a:pt x="0" y="31"/>
                    </a:lnTo>
                    <a:lnTo>
                      <a:pt x="2" y="41"/>
                    </a:lnTo>
                    <a:lnTo>
                      <a:pt x="7" y="47"/>
                    </a:lnTo>
                    <a:lnTo>
                      <a:pt x="11" y="51"/>
                    </a:lnTo>
                    <a:lnTo>
                      <a:pt x="11" y="51"/>
                    </a:lnTo>
                    <a:lnTo>
                      <a:pt x="15" y="54"/>
                    </a:lnTo>
                    <a:lnTo>
                      <a:pt x="21" y="58"/>
                    </a:lnTo>
                    <a:lnTo>
                      <a:pt x="32" y="60"/>
                    </a:lnTo>
                    <a:lnTo>
                      <a:pt x="32" y="60"/>
                    </a:lnTo>
                    <a:lnTo>
                      <a:pt x="45" y="58"/>
                    </a:lnTo>
                    <a:lnTo>
                      <a:pt x="51" y="54"/>
                    </a:lnTo>
                    <a:lnTo>
                      <a:pt x="56" y="51"/>
                    </a:lnTo>
                    <a:lnTo>
                      <a:pt x="56" y="51"/>
                    </a:lnTo>
                    <a:lnTo>
                      <a:pt x="60" y="47"/>
                    </a:lnTo>
                    <a:lnTo>
                      <a:pt x="62" y="41"/>
                    </a:lnTo>
                    <a:lnTo>
                      <a:pt x="66" y="31"/>
                    </a:lnTo>
                    <a:lnTo>
                      <a:pt x="62" y="20"/>
                    </a:lnTo>
                    <a:lnTo>
                      <a:pt x="60" y="14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1" y="6"/>
                    </a:lnTo>
                    <a:lnTo>
                      <a:pt x="45" y="4"/>
                    </a:lnTo>
                    <a:lnTo>
                      <a:pt x="3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35" name="Freeform 150"/>
              <p:cNvSpPr>
                <a:spLocks/>
              </p:cNvSpPr>
              <p:nvPr userDrawn="1"/>
            </p:nvSpPr>
            <p:spPr bwMode="auto">
              <a:xfrm>
                <a:off x="2540" y="3071"/>
                <a:ext cx="66" cy="60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0"/>
                  </a:cxn>
                  <a:cxn ang="0">
                    <a:pos x="21" y="4"/>
                  </a:cxn>
                  <a:cxn ang="0">
                    <a:pos x="15" y="6"/>
                  </a:cxn>
                  <a:cxn ang="0">
                    <a:pos x="11" y="10"/>
                  </a:cxn>
                  <a:cxn ang="0">
                    <a:pos x="11" y="10"/>
                  </a:cxn>
                  <a:cxn ang="0">
                    <a:pos x="7" y="14"/>
                  </a:cxn>
                  <a:cxn ang="0">
                    <a:pos x="2" y="20"/>
                  </a:cxn>
                  <a:cxn ang="0">
                    <a:pos x="0" y="31"/>
                  </a:cxn>
                  <a:cxn ang="0">
                    <a:pos x="2" y="41"/>
                  </a:cxn>
                  <a:cxn ang="0">
                    <a:pos x="7" y="47"/>
                  </a:cxn>
                  <a:cxn ang="0">
                    <a:pos x="11" y="51"/>
                  </a:cxn>
                  <a:cxn ang="0">
                    <a:pos x="11" y="51"/>
                  </a:cxn>
                  <a:cxn ang="0">
                    <a:pos x="15" y="54"/>
                  </a:cxn>
                  <a:cxn ang="0">
                    <a:pos x="21" y="58"/>
                  </a:cxn>
                  <a:cxn ang="0">
                    <a:pos x="32" y="60"/>
                  </a:cxn>
                  <a:cxn ang="0">
                    <a:pos x="32" y="60"/>
                  </a:cxn>
                  <a:cxn ang="0">
                    <a:pos x="45" y="58"/>
                  </a:cxn>
                  <a:cxn ang="0">
                    <a:pos x="51" y="54"/>
                  </a:cxn>
                  <a:cxn ang="0">
                    <a:pos x="56" y="51"/>
                  </a:cxn>
                  <a:cxn ang="0">
                    <a:pos x="56" y="51"/>
                  </a:cxn>
                  <a:cxn ang="0">
                    <a:pos x="60" y="47"/>
                  </a:cxn>
                  <a:cxn ang="0">
                    <a:pos x="62" y="41"/>
                  </a:cxn>
                  <a:cxn ang="0">
                    <a:pos x="66" y="31"/>
                  </a:cxn>
                  <a:cxn ang="0">
                    <a:pos x="62" y="20"/>
                  </a:cxn>
                  <a:cxn ang="0">
                    <a:pos x="60" y="14"/>
                  </a:cxn>
                  <a:cxn ang="0">
                    <a:pos x="56" y="10"/>
                  </a:cxn>
                  <a:cxn ang="0">
                    <a:pos x="56" y="10"/>
                  </a:cxn>
                  <a:cxn ang="0">
                    <a:pos x="51" y="6"/>
                  </a:cxn>
                  <a:cxn ang="0">
                    <a:pos x="45" y="4"/>
                  </a:cxn>
                  <a:cxn ang="0">
                    <a:pos x="32" y="0"/>
                  </a:cxn>
                </a:cxnLst>
                <a:rect l="0" t="0" r="r" b="b"/>
                <a:pathLst>
                  <a:path w="66" h="60">
                    <a:moveTo>
                      <a:pt x="32" y="0"/>
                    </a:moveTo>
                    <a:lnTo>
                      <a:pt x="32" y="0"/>
                    </a:lnTo>
                    <a:lnTo>
                      <a:pt x="21" y="4"/>
                    </a:lnTo>
                    <a:lnTo>
                      <a:pt x="15" y="6"/>
                    </a:lnTo>
                    <a:lnTo>
                      <a:pt x="11" y="10"/>
                    </a:lnTo>
                    <a:lnTo>
                      <a:pt x="11" y="10"/>
                    </a:lnTo>
                    <a:lnTo>
                      <a:pt x="7" y="14"/>
                    </a:lnTo>
                    <a:lnTo>
                      <a:pt x="2" y="20"/>
                    </a:lnTo>
                    <a:lnTo>
                      <a:pt x="0" y="31"/>
                    </a:lnTo>
                    <a:lnTo>
                      <a:pt x="2" y="41"/>
                    </a:lnTo>
                    <a:lnTo>
                      <a:pt x="7" y="47"/>
                    </a:lnTo>
                    <a:lnTo>
                      <a:pt x="11" y="51"/>
                    </a:lnTo>
                    <a:lnTo>
                      <a:pt x="11" y="51"/>
                    </a:lnTo>
                    <a:lnTo>
                      <a:pt x="15" y="54"/>
                    </a:lnTo>
                    <a:lnTo>
                      <a:pt x="21" y="58"/>
                    </a:lnTo>
                    <a:lnTo>
                      <a:pt x="32" y="60"/>
                    </a:lnTo>
                    <a:lnTo>
                      <a:pt x="32" y="60"/>
                    </a:lnTo>
                    <a:lnTo>
                      <a:pt x="45" y="58"/>
                    </a:lnTo>
                    <a:lnTo>
                      <a:pt x="51" y="54"/>
                    </a:lnTo>
                    <a:lnTo>
                      <a:pt x="56" y="51"/>
                    </a:lnTo>
                    <a:lnTo>
                      <a:pt x="56" y="51"/>
                    </a:lnTo>
                    <a:lnTo>
                      <a:pt x="60" y="47"/>
                    </a:lnTo>
                    <a:lnTo>
                      <a:pt x="62" y="41"/>
                    </a:lnTo>
                    <a:lnTo>
                      <a:pt x="66" y="31"/>
                    </a:lnTo>
                    <a:lnTo>
                      <a:pt x="62" y="20"/>
                    </a:lnTo>
                    <a:lnTo>
                      <a:pt x="60" y="14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1" y="6"/>
                    </a:lnTo>
                    <a:lnTo>
                      <a:pt x="45" y="4"/>
                    </a:lnTo>
                    <a:lnTo>
                      <a:pt x="3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36" name="Freeform 151"/>
              <p:cNvSpPr>
                <a:spLocks/>
              </p:cNvSpPr>
              <p:nvPr userDrawn="1"/>
            </p:nvSpPr>
            <p:spPr bwMode="auto">
              <a:xfrm>
                <a:off x="2510" y="3209"/>
                <a:ext cx="54" cy="54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6" y="2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2" y="18"/>
                  </a:cxn>
                  <a:cxn ang="0">
                    <a:pos x="0" y="27"/>
                  </a:cxn>
                  <a:cxn ang="0">
                    <a:pos x="2" y="37"/>
                  </a:cxn>
                  <a:cxn ang="0">
                    <a:pos x="8" y="47"/>
                  </a:cxn>
                  <a:cxn ang="0">
                    <a:pos x="8" y="47"/>
                  </a:cxn>
                  <a:cxn ang="0">
                    <a:pos x="16" y="52"/>
                  </a:cxn>
                  <a:cxn ang="0">
                    <a:pos x="26" y="54"/>
                  </a:cxn>
                  <a:cxn ang="0">
                    <a:pos x="26" y="54"/>
                  </a:cxn>
                  <a:cxn ang="0">
                    <a:pos x="38" y="52"/>
                  </a:cxn>
                  <a:cxn ang="0">
                    <a:pos x="46" y="47"/>
                  </a:cxn>
                  <a:cxn ang="0">
                    <a:pos x="46" y="47"/>
                  </a:cxn>
                  <a:cxn ang="0">
                    <a:pos x="52" y="37"/>
                  </a:cxn>
                  <a:cxn ang="0">
                    <a:pos x="54" y="27"/>
                  </a:cxn>
                  <a:cxn ang="0">
                    <a:pos x="52" y="18"/>
                  </a:cxn>
                  <a:cxn ang="0">
                    <a:pos x="46" y="8"/>
                  </a:cxn>
                  <a:cxn ang="0">
                    <a:pos x="46" y="8"/>
                  </a:cxn>
                  <a:cxn ang="0">
                    <a:pos x="38" y="2"/>
                  </a:cxn>
                  <a:cxn ang="0">
                    <a:pos x="26" y="0"/>
                  </a:cxn>
                </a:cxnLst>
                <a:rect l="0" t="0" r="r" b="b"/>
                <a:pathLst>
                  <a:path w="54" h="54">
                    <a:moveTo>
                      <a:pt x="26" y="0"/>
                    </a:moveTo>
                    <a:lnTo>
                      <a:pt x="26" y="0"/>
                    </a:lnTo>
                    <a:lnTo>
                      <a:pt x="16" y="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2" y="18"/>
                    </a:lnTo>
                    <a:lnTo>
                      <a:pt x="0" y="27"/>
                    </a:lnTo>
                    <a:lnTo>
                      <a:pt x="2" y="37"/>
                    </a:lnTo>
                    <a:lnTo>
                      <a:pt x="8" y="47"/>
                    </a:lnTo>
                    <a:lnTo>
                      <a:pt x="8" y="47"/>
                    </a:lnTo>
                    <a:lnTo>
                      <a:pt x="16" y="52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38" y="52"/>
                    </a:lnTo>
                    <a:lnTo>
                      <a:pt x="46" y="47"/>
                    </a:lnTo>
                    <a:lnTo>
                      <a:pt x="46" y="47"/>
                    </a:lnTo>
                    <a:lnTo>
                      <a:pt x="52" y="37"/>
                    </a:lnTo>
                    <a:lnTo>
                      <a:pt x="54" y="27"/>
                    </a:lnTo>
                    <a:lnTo>
                      <a:pt x="52" y="1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38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37" name="Freeform 152"/>
              <p:cNvSpPr>
                <a:spLocks/>
              </p:cNvSpPr>
              <p:nvPr userDrawn="1"/>
            </p:nvSpPr>
            <p:spPr bwMode="auto">
              <a:xfrm>
                <a:off x="2510" y="3209"/>
                <a:ext cx="54" cy="54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6" y="2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2" y="18"/>
                  </a:cxn>
                  <a:cxn ang="0">
                    <a:pos x="0" y="27"/>
                  </a:cxn>
                  <a:cxn ang="0">
                    <a:pos x="2" y="37"/>
                  </a:cxn>
                  <a:cxn ang="0">
                    <a:pos x="8" y="47"/>
                  </a:cxn>
                  <a:cxn ang="0">
                    <a:pos x="8" y="47"/>
                  </a:cxn>
                  <a:cxn ang="0">
                    <a:pos x="16" y="52"/>
                  </a:cxn>
                  <a:cxn ang="0">
                    <a:pos x="26" y="54"/>
                  </a:cxn>
                  <a:cxn ang="0">
                    <a:pos x="26" y="54"/>
                  </a:cxn>
                  <a:cxn ang="0">
                    <a:pos x="38" y="52"/>
                  </a:cxn>
                  <a:cxn ang="0">
                    <a:pos x="46" y="47"/>
                  </a:cxn>
                  <a:cxn ang="0">
                    <a:pos x="46" y="47"/>
                  </a:cxn>
                  <a:cxn ang="0">
                    <a:pos x="52" y="37"/>
                  </a:cxn>
                  <a:cxn ang="0">
                    <a:pos x="54" y="27"/>
                  </a:cxn>
                  <a:cxn ang="0">
                    <a:pos x="52" y="18"/>
                  </a:cxn>
                  <a:cxn ang="0">
                    <a:pos x="46" y="8"/>
                  </a:cxn>
                  <a:cxn ang="0">
                    <a:pos x="46" y="8"/>
                  </a:cxn>
                  <a:cxn ang="0">
                    <a:pos x="38" y="2"/>
                  </a:cxn>
                  <a:cxn ang="0">
                    <a:pos x="26" y="0"/>
                  </a:cxn>
                </a:cxnLst>
                <a:rect l="0" t="0" r="r" b="b"/>
                <a:pathLst>
                  <a:path w="54" h="54">
                    <a:moveTo>
                      <a:pt x="26" y="0"/>
                    </a:moveTo>
                    <a:lnTo>
                      <a:pt x="26" y="0"/>
                    </a:lnTo>
                    <a:lnTo>
                      <a:pt x="16" y="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2" y="18"/>
                    </a:lnTo>
                    <a:lnTo>
                      <a:pt x="0" y="27"/>
                    </a:lnTo>
                    <a:lnTo>
                      <a:pt x="2" y="37"/>
                    </a:lnTo>
                    <a:lnTo>
                      <a:pt x="8" y="47"/>
                    </a:lnTo>
                    <a:lnTo>
                      <a:pt x="8" y="47"/>
                    </a:lnTo>
                    <a:lnTo>
                      <a:pt x="16" y="52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38" y="52"/>
                    </a:lnTo>
                    <a:lnTo>
                      <a:pt x="46" y="47"/>
                    </a:lnTo>
                    <a:lnTo>
                      <a:pt x="46" y="47"/>
                    </a:lnTo>
                    <a:lnTo>
                      <a:pt x="52" y="37"/>
                    </a:lnTo>
                    <a:lnTo>
                      <a:pt x="54" y="27"/>
                    </a:lnTo>
                    <a:lnTo>
                      <a:pt x="52" y="1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38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38" name="Freeform 153"/>
              <p:cNvSpPr>
                <a:spLocks/>
              </p:cNvSpPr>
              <p:nvPr userDrawn="1"/>
            </p:nvSpPr>
            <p:spPr bwMode="auto">
              <a:xfrm>
                <a:off x="2498" y="3347"/>
                <a:ext cx="54" cy="54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2"/>
                  </a:cxn>
                  <a:cxn ang="0">
                    <a:pos x="9" y="9"/>
                  </a:cxn>
                  <a:cxn ang="0">
                    <a:pos x="9" y="9"/>
                  </a:cxn>
                  <a:cxn ang="0">
                    <a:pos x="2" y="18"/>
                  </a:cxn>
                  <a:cxn ang="0">
                    <a:pos x="0" y="28"/>
                  </a:cxn>
                  <a:cxn ang="0">
                    <a:pos x="2" y="37"/>
                  </a:cxn>
                  <a:cxn ang="0">
                    <a:pos x="9" y="45"/>
                  </a:cxn>
                  <a:cxn ang="0">
                    <a:pos x="9" y="45"/>
                  </a:cxn>
                  <a:cxn ang="0">
                    <a:pos x="18" y="52"/>
                  </a:cxn>
                  <a:cxn ang="0">
                    <a:pos x="26" y="54"/>
                  </a:cxn>
                  <a:cxn ang="0">
                    <a:pos x="26" y="54"/>
                  </a:cxn>
                  <a:cxn ang="0">
                    <a:pos x="37" y="52"/>
                  </a:cxn>
                  <a:cxn ang="0">
                    <a:pos x="45" y="45"/>
                  </a:cxn>
                  <a:cxn ang="0">
                    <a:pos x="45" y="45"/>
                  </a:cxn>
                  <a:cxn ang="0">
                    <a:pos x="52" y="37"/>
                  </a:cxn>
                  <a:cxn ang="0">
                    <a:pos x="54" y="28"/>
                  </a:cxn>
                  <a:cxn ang="0">
                    <a:pos x="52" y="18"/>
                  </a:cxn>
                  <a:cxn ang="0">
                    <a:pos x="45" y="9"/>
                  </a:cxn>
                  <a:cxn ang="0">
                    <a:pos x="45" y="9"/>
                  </a:cxn>
                  <a:cxn ang="0">
                    <a:pos x="37" y="2"/>
                  </a:cxn>
                  <a:cxn ang="0">
                    <a:pos x="26" y="0"/>
                  </a:cxn>
                </a:cxnLst>
                <a:rect l="0" t="0" r="r" b="b"/>
                <a:pathLst>
                  <a:path w="54" h="54">
                    <a:moveTo>
                      <a:pt x="26" y="0"/>
                    </a:moveTo>
                    <a:lnTo>
                      <a:pt x="26" y="0"/>
                    </a:lnTo>
                    <a:lnTo>
                      <a:pt x="18" y="2"/>
                    </a:lnTo>
                    <a:lnTo>
                      <a:pt x="9" y="9"/>
                    </a:lnTo>
                    <a:lnTo>
                      <a:pt x="9" y="9"/>
                    </a:lnTo>
                    <a:lnTo>
                      <a:pt x="2" y="18"/>
                    </a:lnTo>
                    <a:lnTo>
                      <a:pt x="0" y="28"/>
                    </a:lnTo>
                    <a:lnTo>
                      <a:pt x="2" y="37"/>
                    </a:lnTo>
                    <a:lnTo>
                      <a:pt x="9" y="45"/>
                    </a:lnTo>
                    <a:lnTo>
                      <a:pt x="9" y="45"/>
                    </a:lnTo>
                    <a:lnTo>
                      <a:pt x="18" y="52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37" y="52"/>
                    </a:lnTo>
                    <a:lnTo>
                      <a:pt x="45" y="45"/>
                    </a:lnTo>
                    <a:lnTo>
                      <a:pt x="45" y="45"/>
                    </a:lnTo>
                    <a:lnTo>
                      <a:pt x="52" y="37"/>
                    </a:lnTo>
                    <a:lnTo>
                      <a:pt x="54" y="28"/>
                    </a:lnTo>
                    <a:lnTo>
                      <a:pt x="52" y="18"/>
                    </a:lnTo>
                    <a:lnTo>
                      <a:pt x="45" y="9"/>
                    </a:lnTo>
                    <a:lnTo>
                      <a:pt x="45" y="9"/>
                    </a:lnTo>
                    <a:lnTo>
                      <a:pt x="37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39" name="Freeform 154"/>
              <p:cNvSpPr>
                <a:spLocks/>
              </p:cNvSpPr>
              <p:nvPr userDrawn="1"/>
            </p:nvSpPr>
            <p:spPr bwMode="auto">
              <a:xfrm>
                <a:off x="2498" y="3347"/>
                <a:ext cx="54" cy="54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2"/>
                  </a:cxn>
                  <a:cxn ang="0">
                    <a:pos x="9" y="9"/>
                  </a:cxn>
                  <a:cxn ang="0">
                    <a:pos x="9" y="9"/>
                  </a:cxn>
                  <a:cxn ang="0">
                    <a:pos x="2" y="18"/>
                  </a:cxn>
                  <a:cxn ang="0">
                    <a:pos x="0" y="28"/>
                  </a:cxn>
                  <a:cxn ang="0">
                    <a:pos x="2" y="37"/>
                  </a:cxn>
                  <a:cxn ang="0">
                    <a:pos x="9" y="45"/>
                  </a:cxn>
                  <a:cxn ang="0">
                    <a:pos x="9" y="45"/>
                  </a:cxn>
                  <a:cxn ang="0">
                    <a:pos x="18" y="52"/>
                  </a:cxn>
                  <a:cxn ang="0">
                    <a:pos x="26" y="54"/>
                  </a:cxn>
                  <a:cxn ang="0">
                    <a:pos x="26" y="54"/>
                  </a:cxn>
                  <a:cxn ang="0">
                    <a:pos x="37" y="52"/>
                  </a:cxn>
                  <a:cxn ang="0">
                    <a:pos x="45" y="45"/>
                  </a:cxn>
                  <a:cxn ang="0">
                    <a:pos x="45" y="45"/>
                  </a:cxn>
                  <a:cxn ang="0">
                    <a:pos x="52" y="37"/>
                  </a:cxn>
                  <a:cxn ang="0">
                    <a:pos x="54" y="28"/>
                  </a:cxn>
                  <a:cxn ang="0">
                    <a:pos x="52" y="18"/>
                  </a:cxn>
                  <a:cxn ang="0">
                    <a:pos x="45" y="9"/>
                  </a:cxn>
                  <a:cxn ang="0">
                    <a:pos x="45" y="9"/>
                  </a:cxn>
                  <a:cxn ang="0">
                    <a:pos x="37" y="2"/>
                  </a:cxn>
                  <a:cxn ang="0">
                    <a:pos x="26" y="0"/>
                  </a:cxn>
                </a:cxnLst>
                <a:rect l="0" t="0" r="r" b="b"/>
                <a:pathLst>
                  <a:path w="54" h="54">
                    <a:moveTo>
                      <a:pt x="26" y="0"/>
                    </a:moveTo>
                    <a:lnTo>
                      <a:pt x="26" y="0"/>
                    </a:lnTo>
                    <a:lnTo>
                      <a:pt x="18" y="2"/>
                    </a:lnTo>
                    <a:lnTo>
                      <a:pt x="9" y="9"/>
                    </a:lnTo>
                    <a:lnTo>
                      <a:pt x="9" y="9"/>
                    </a:lnTo>
                    <a:lnTo>
                      <a:pt x="2" y="18"/>
                    </a:lnTo>
                    <a:lnTo>
                      <a:pt x="0" y="28"/>
                    </a:lnTo>
                    <a:lnTo>
                      <a:pt x="2" y="37"/>
                    </a:lnTo>
                    <a:lnTo>
                      <a:pt x="9" y="45"/>
                    </a:lnTo>
                    <a:lnTo>
                      <a:pt x="9" y="45"/>
                    </a:lnTo>
                    <a:lnTo>
                      <a:pt x="18" y="52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37" y="52"/>
                    </a:lnTo>
                    <a:lnTo>
                      <a:pt x="45" y="45"/>
                    </a:lnTo>
                    <a:lnTo>
                      <a:pt x="45" y="45"/>
                    </a:lnTo>
                    <a:lnTo>
                      <a:pt x="52" y="37"/>
                    </a:lnTo>
                    <a:lnTo>
                      <a:pt x="54" y="28"/>
                    </a:lnTo>
                    <a:lnTo>
                      <a:pt x="52" y="18"/>
                    </a:lnTo>
                    <a:lnTo>
                      <a:pt x="45" y="9"/>
                    </a:lnTo>
                    <a:lnTo>
                      <a:pt x="45" y="9"/>
                    </a:lnTo>
                    <a:lnTo>
                      <a:pt x="37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40" name="Freeform 155"/>
              <p:cNvSpPr>
                <a:spLocks/>
              </p:cNvSpPr>
              <p:nvPr userDrawn="1"/>
            </p:nvSpPr>
            <p:spPr bwMode="auto">
              <a:xfrm>
                <a:off x="2516" y="3491"/>
                <a:ext cx="42" cy="42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1" y="0"/>
                  </a:cxn>
                  <a:cxn ang="0">
                    <a:pos x="14" y="2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2" y="14"/>
                  </a:cxn>
                  <a:cxn ang="0">
                    <a:pos x="0" y="21"/>
                  </a:cxn>
                  <a:cxn ang="0">
                    <a:pos x="2" y="29"/>
                  </a:cxn>
                  <a:cxn ang="0">
                    <a:pos x="8" y="36"/>
                  </a:cxn>
                  <a:cxn ang="0">
                    <a:pos x="8" y="36"/>
                  </a:cxn>
                  <a:cxn ang="0">
                    <a:pos x="14" y="40"/>
                  </a:cxn>
                  <a:cxn ang="0">
                    <a:pos x="21" y="42"/>
                  </a:cxn>
                  <a:cxn ang="0">
                    <a:pos x="21" y="42"/>
                  </a:cxn>
                  <a:cxn ang="0">
                    <a:pos x="31" y="40"/>
                  </a:cxn>
                  <a:cxn ang="0">
                    <a:pos x="36" y="36"/>
                  </a:cxn>
                  <a:cxn ang="0">
                    <a:pos x="36" y="36"/>
                  </a:cxn>
                  <a:cxn ang="0">
                    <a:pos x="42" y="29"/>
                  </a:cxn>
                  <a:cxn ang="0">
                    <a:pos x="42" y="21"/>
                  </a:cxn>
                  <a:cxn ang="0">
                    <a:pos x="42" y="14"/>
                  </a:cxn>
                  <a:cxn ang="0">
                    <a:pos x="36" y="6"/>
                  </a:cxn>
                  <a:cxn ang="0">
                    <a:pos x="36" y="6"/>
                  </a:cxn>
                  <a:cxn ang="0">
                    <a:pos x="31" y="2"/>
                  </a:cxn>
                  <a:cxn ang="0">
                    <a:pos x="21" y="0"/>
                  </a:cxn>
                </a:cxnLst>
                <a:rect l="0" t="0" r="r" b="b"/>
                <a:pathLst>
                  <a:path w="42" h="42">
                    <a:moveTo>
                      <a:pt x="21" y="0"/>
                    </a:moveTo>
                    <a:lnTo>
                      <a:pt x="21" y="0"/>
                    </a:lnTo>
                    <a:lnTo>
                      <a:pt x="14" y="2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2" y="14"/>
                    </a:lnTo>
                    <a:lnTo>
                      <a:pt x="0" y="21"/>
                    </a:lnTo>
                    <a:lnTo>
                      <a:pt x="2" y="29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14" y="40"/>
                    </a:lnTo>
                    <a:lnTo>
                      <a:pt x="21" y="42"/>
                    </a:lnTo>
                    <a:lnTo>
                      <a:pt x="21" y="42"/>
                    </a:lnTo>
                    <a:lnTo>
                      <a:pt x="31" y="40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42" y="29"/>
                    </a:lnTo>
                    <a:lnTo>
                      <a:pt x="42" y="21"/>
                    </a:lnTo>
                    <a:lnTo>
                      <a:pt x="42" y="14"/>
                    </a:lnTo>
                    <a:lnTo>
                      <a:pt x="36" y="6"/>
                    </a:lnTo>
                    <a:lnTo>
                      <a:pt x="36" y="6"/>
                    </a:lnTo>
                    <a:lnTo>
                      <a:pt x="31" y="2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41" name="Freeform 156"/>
              <p:cNvSpPr>
                <a:spLocks/>
              </p:cNvSpPr>
              <p:nvPr userDrawn="1"/>
            </p:nvSpPr>
            <p:spPr bwMode="auto">
              <a:xfrm>
                <a:off x="2516" y="3491"/>
                <a:ext cx="42" cy="42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1" y="0"/>
                  </a:cxn>
                  <a:cxn ang="0">
                    <a:pos x="14" y="2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2" y="14"/>
                  </a:cxn>
                  <a:cxn ang="0">
                    <a:pos x="0" y="21"/>
                  </a:cxn>
                  <a:cxn ang="0">
                    <a:pos x="2" y="29"/>
                  </a:cxn>
                  <a:cxn ang="0">
                    <a:pos x="8" y="36"/>
                  </a:cxn>
                  <a:cxn ang="0">
                    <a:pos x="8" y="36"/>
                  </a:cxn>
                  <a:cxn ang="0">
                    <a:pos x="14" y="40"/>
                  </a:cxn>
                  <a:cxn ang="0">
                    <a:pos x="21" y="42"/>
                  </a:cxn>
                  <a:cxn ang="0">
                    <a:pos x="21" y="42"/>
                  </a:cxn>
                  <a:cxn ang="0">
                    <a:pos x="31" y="40"/>
                  </a:cxn>
                  <a:cxn ang="0">
                    <a:pos x="36" y="36"/>
                  </a:cxn>
                  <a:cxn ang="0">
                    <a:pos x="36" y="36"/>
                  </a:cxn>
                  <a:cxn ang="0">
                    <a:pos x="42" y="29"/>
                  </a:cxn>
                  <a:cxn ang="0">
                    <a:pos x="42" y="21"/>
                  </a:cxn>
                  <a:cxn ang="0">
                    <a:pos x="42" y="14"/>
                  </a:cxn>
                  <a:cxn ang="0">
                    <a:pos x="36" y="6"/>
                  </a:cxn>
                  <a:cxn ang="0">
                    <a:pos x="36" y="6"/>
                  </a:cxn>
                  <a:cxn ang="0">
                    <a:pos x="31" y="2"/>
                  </a:cxn>
                  <a:cxn ang="0">
                    <a:pos x="21" y="0"/>
                  </a:cxn>
                </a:cxnLst>
                <a:rect l="0" t="0" r="r" b="b"/>
                <a:pathLst>
                  <a:path w="42" h="42">
                    <a:moveTo>
                      <a:pt x="21" y="0"/>
                    </a:moveTo>
                    <a:lnTo>
                      <a:pt x="21" y="0"/>
                    </a:lnTo>
                    <a:lnTo>
                      <a:pt x="14" y="2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2" y="14"/>
                    </a:lnTo>
                    <a:lnTo>
                      <a:pt x="0" y="21"/>
                    </a:lnTo>
                    <a:lnTo>
                      <a:pt x="2" y="29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14" y="40"/>
                    </a:lnTo>
                    <a:lnTo>
                      <a:pt x="21" y="42"/>
                    </a:lnTo>
                    <a:lnTo>
                      <a:pt x="21" y="42"/>
                    </a:lnTo>
                    <a:lnTo>
                      <a:pt x="31" y="40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42" y="29"/>
                    </a:lnTo>
                    <a:lnTo>
                      <a:pt x="42" y="21"/>
                    </a:lnTo>
                    <a:lnTo>
                      <a:pt x="42" y="14"/>
                    </a:lnTo>
                    <a:lnTo>
                      <a:pt x="36" y="6"/>
                    </a:lnTo>
                    <a:lnTo>
                      <a:pt x="36" y="6"/>
                    </a:lnTo>
                    <a:lnTo>
                      <a:pt x="31" y="2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42" name="Freeform 157"/>
              <p:cNvSpPr>
                <a:spLocks/>
              </p:cNvSpPr>
              <p:nvPr userDrawn="1"/>
            </p:nvSpPr>
            <p:spPr bwMode="auto">
              <a:xfrm>
                <a:off x="2552" y="3629"/>
                <a:ext cx="42" cy="42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0"/>
                  </a:cxn>
                  <a:cxn ang="0">
                    <a:pos x="5" y="6"/>
                  </a:cxn>
                  <a:cxn ang="0">
                    <a:pos x="5" y="6"/>
                  </a:cxn>
                  <a:cxn ang="0">
                    <a:pos x="0" y="13"/>
                  </a:cxn>
                  <a:cxn ang="0">
                    <a:pos x="0" y="21"/>
                  </a:cxn>
                  <a:cxn ang="0">
                    <a:pos x="0" y="27"/>
                  </a:cxn>
                  <a:cxn ang="0">
                    <a:pos x="5" y="36"/>
                  </a:cxn>
                  <a:cxn ang="0">
                    <a:pos x="5" y="36"/>
                  </a:cxn>
                  <a:cxn ang="0">
                    <a:pos x="14" y="40"/>
                  </a:cxn>
                  <a:cxn ang="0">
                    <a:pos x="20" y="42"/>
                  </a:cxn>
                  <a:cxn ang="0">
                    <a:pos x="20" y="42"/>
                  </a:cxn>
                  <a:cxn ang="0">
                    <a:pos x="29" y="40"/>
                  </a:cxn>
                  <a:cxn ang="0">
                    <a:pos x="36" y="36"/>
                  </a:cxn>
                  <a:cxn ang="0">
                    <a:pos x="36" y="36"/>
                  </a:cxn>
                  <a:cxn ang="0">
                    <a:pos x="42" y="27"/>
                  </a:cxn>
                  <a:cxn ang="0">
                    <a:pos x="42" y="21"/>
                  </a:cxn>
                  <a:cxn ang="0">
                    <a:pos x="42" y="13"/>
                  </a:cxn>
                  <a:cxn ang="0">
                    <a:pos x="36" y="6"/>
                  </a:cxn>
                  <a:cxn ang="0">
                    <a:pos x="36" y="6"/>
                  </a:cxn>
                  <a:cxn ang="0">
                    <a:pos x="29" y="0"/>
                  </a:cxn>
                  <a:cxn ang="0">
                    <a:pos x="20" y="0"/>
                  </a:cxn>
                </a:cxnLst>
                <a:rect l="0" t="0" r="r" b="b"/>
                <a:pathLst>
                  <a:path w="42" h="42">
                    <a:moveTo>
                      <a:pt x="20" y="0"/>
                    </a:moveTo>
                    <a:lnTo>
                      <a:pt x="20" y="0"/>
                    </a:lnTo>
                    <a:lnTo>
                      <a:pt x="14" y="0"/>
                    </a:lnTo>
                    <a:lnTo>
                      <a:pt x="5" y="6"/>
                    </a:lnTo>
                    <a:lnTo>
                      <a:pt x="5" y="6"/>
                    </a:lnTo>
                    <a:lnTo>
                      <a:pt x="0" y="13"/>
                    </a:lnTo>
                    <a:lnTo>
                      <a:pt x="0" y="21"/>
                    </a:lnTo>
                    <a:lnTo>
                      <a:pt x="0" y="27"/>
                    </a:lnTo>
                    <a:lnTo>
                      <a:pt x="5" y="36"/>
                    </a:lnTo>
                    <a:lnTo>
                      <a:pt x="5" y="36"/>
                    </a:lnTo>
                    <a:lnTo>
                      <a:pt x="14" y="40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9" y="40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42" y="27"/>
                    </a:lnTo>
                    <a:lnTo>
                      <a:pt x="42" y="21"/>
                    </a:lnTo>
                    <a:lnTo>
                      <a:pt x="42" y="13"/>
                    </a:lnTo>
                    <a:lnTo>
                      <a:pt x="36" y="6"/>
                    </a:lnTo>
                    <a:lnTo>
                      <a:pt x="36" y="6"/>
                    </a:lnTo>
                    <a:lnTo>
                      <a:pt x="29" y="0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43" name="Freeform 158"/>
              <p:cNvSpPr>
                <a:spLocks/>
              </p:cNvSpPr>
              <p:nvPr userDrawn="1"/>
            </p:nvSpPr>
            <p:spPr bwMode="auto">
              <a:xfrm>
                <a:off x="2552" y="3629"/>
                <a:ext cx="42" cy="42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0"/>
                  </a:cxn>
                  <a:cxn ang="0">
                    <a:pos x="5" y="6"/>
                  </a:cxn>
                  <a:cxn ang="0">
                    <a:pos x="5" y="6"/>
                  </a:cxn>
                  <a:cxn ang="0">
                    <a:pos x="0" y="13"/>
                  </a:cxn>
                  <a:cxn ang="0">
                    <a:pos x="0" y="21"/>
                  </a:cxn>
                  <a:cxn ang="0">
                    <a:pos x="0" y="27"/>
                  </a:cxn>
                  <a:cxn ang="0">
                    <a:pos x="5" y="36"/>
                  </a:cxn>
                  <a:cxn ang="0">
                    <a:pos x="5" y="36"/>
                  </a:cxn>
                  <a:cxn ang="0">
                    <a:pos x="14" y="40"/>
                  </a:cxn>
                  <a:cxn ang="0">
                    <a:pos x="20" y="42"/>
                  </a:cxn>
                  <a:cxn ang="0">
                    <a:pos x="20" y="42"/>
                  </a:cxn>
                  <a:cxn ang="0">
                    <a:pos x="29" y="40"/>
                  </a:cxn>
                  <a:cxn ang="0">
                    <a:pos x="36" y="36"/>
                  </a:cxn>
                  <a:cxn ang="0">
                    <a:pos x="36" y="36"/>
                  </a:cxn>
                  <a:cxn ang="0">
                    <a:pos x="42" y="27"/>
                  </a:cxn>
                  <a:cxn ang="0">
                    <a:pos x="42" y="21"/>
                  </a:cxn>
                  <a:cxn ang="0">
                    <a:pos x="42" y="13"/>
                  </a:cxn>
                  <a:cxn ang="0">
                    <a:pos x="36" y="6"/>
                  </a:cxn>
                  <a:cxn ang="0">
                    <a:pos x="36" y="6"/>
                  </a:cxn>
                  <a:cxn ang="0">
                    <a:pos x="29" y="0"/>
                  </a:cxn>
                  <a:cxn ang="0">
                    <a:pos x="20" y="0"/>
                  </a:cxn>
                </a:cxnLst>
                <a:rect l="0" t="0" r="r" b="b"/>
                <a:pathLst>
                  <a:path w="42" h="42">
                    <a:moveTo>
                      <a:pt x="20" y="0"/>
                    </a:moveTo>
                    <a:lnTo>
                      <a:pt x="20" y="0"/>
                    </a:lnTo>
                    <a:lnTo>
                      <a:pt x="14" y="0"/>
                    </a:lnTo>
                    <a:lnTo>
                      <a:pt x="5" y="6"/>
                    </a:lnTo>
                    <a:lnTo>
                      <a:pt x="5" y="6"/>
                    </a:lnTo>
                    <a:lnTo>
                      <a:pt x="0" y="13"/>
                    </a:lnTo>
                    <a:lnTo>
                      <a:pt x="0" y="21"/>
                    </a:lnTo>
                    <a:lnTo>
                      <a:pt x="0" y="27"/>
                    </a:lnTo>
                    <a:lnTo>
                      <a:pt x="5" y="36"/>
                    </a:lnTo>
                    <a:lnTo>
                      <a:pt x="5" y="36"/>
                    </a:lnTo>
                    <a:lnTo>
                      <a:pt x="14" y="40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9" y="40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42" y="27"/>
                    </a:lnTo>
                    <a:lnTo>
                      <a:pt x="42" y="21"/>
                    </a:lnTo>
                    <a:lnTo>
                      <a:pt x="42" y="13"/>
                    </a:lnTo>
                    <a:lnTo>
                      <a:pt x="36" y="6"/>
                    </a:lnTo>
                    <a:lnTo>
                      <a:pt x="36" y="6"/>
                    </a:lnTo>
                    <a:lnTo>
                      <a:pt x="29" y="0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44" name="Freeform 159"/>
              <p:cNvSpPr>
                <a:spLocks/>
              </p:cNvSpPr>
              <p:nvPr userDrawn="1"/>
            </p:nvSpPr>
            <p:spPr bwMode="auto">
              <a:xfrm>
                <a:off x="2612" y="3755"/>
                <a:ext cx="36" cy="36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2" y="12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6" y="30"/>
                  </a:cxn>
                  <a:cxn ang="0">
                    <a:pos x="6" y="30"/>
                  </a:cxn>
                  <a:cxn ang="0">
                    <a:pos x="12" y="34"/>
                  </a:cxn>
                  <a:cxn ang="0">
                    <a:pos x="18" y="36"/>
                  </a:cxn>
                  <a:cxn ang="0">
                    <a:pos x="18" y="36"/>
                  </a:cxn>
                  <a:cxn ang="0">
                    <a:pos x="24" y="34"/>
                  </a:cxn>
                  <a:cxn ang="0">
                    <a:pos x="30" y="30"/>
                  </a:cxn>
                  <a:cxn ang="0">
                    <a:pos x="30" y="30"/>
                  </a:cxn>
                  <a:cxn ang="0">
                    <a:pos x="34" y="24"/>
                  </a:cxn>
                  <a:cxn ang="0">
                    <a:pos x="36" y="18"/>
                  </a:cxn>
                  <a:cxn ang="0">
                    <a:pos x="34" y="12"/>
                  </a:cxn>
                  <a:cxn ang="0">
                    <a:pos x="30" y="6"/>
                  </a:cxn>
                  <a:cxn ang="0">
                    <a:pos x="30" y="6"/>
                  </a:cxn>
                  <a:cxn ang="0">
                    <a:pos x="24" y="2"/>
                  </a:cxn>
                  <a:cxn ang="0">
                    <a:pos x="18" y="0"/>
                  </a:cxn>
                </a:cxnLst>
                <a:rect l="0" t="0" r="r" b="b"/>
                <a:pathLst>
                  <a:path w="36" h="36">
                    <a:moveTo>
                      <a:pt x="18" y="0"/>
                    </a:moveTo>
                    <a:lnTo>
                      <a:pt x="18" y="0"/>
                    </a:lnTo>
                    <a:lnTo>
                      <a:pt x="12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2" y="12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12" y="34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24" y="34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4" y="24"/>
                    </a:lnTo>
                    <a:lnTo>
                      <a:pt x="36" y="18"/>
                    </a:lnTo>
                    <a:lnTo>
                      <a:pt x="34" y="12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24" y="2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45" name="Freeform 160"/>
              <p:cNvSpPr>
                <a:spLocks/>
              </p:cNvSpPr>
              <p:nvPr userDrawn="1"/>
            </p:nvSpPr>
            <p:spPr bwMode="auto">
              <a:xfrm>
                <a:off x="2612" y="3755"/>
                <a:ext cx="36" cy="36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2" y="12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6" y="30"/>
                  </a:cxn>
                  <a:cxn ang="0">
                    <a:pos x="6" y="30"/>
                  </a:cxn>
                  <a:cxn ang="0">
                    <a:pos x="12" y="34"/>
                  </a:cxn>
                  <a:cxn ang="0">
                    <a:pos x="18" y="36"/>
                  </a:cxn>
                  <a:cxn ang="0">
                    <a:pos x="18" y="36"/>
                  </a:cxn>
                  <a:cxn ang="0">
                    <a:pos x="24" y="34"/>
                  </a:cxn>
                  <a:cxn ang="0">
                    <a:pos x="30" y="30"/>
                  </a:cxn>
                  <a:cxn ang="0">
                    <a:pos x="30" y="30"/>
                  </a:cxn>
                  <a:cxn ang="0">
                    <a:pos x="34" y="24"/>
                  </a:cxn>
                  <a:cxn ang="0">
                    <a:pos x="36" y="18"/>
                  </a:cxn>
                  <a:cxn ang="0">
                    <a:pos x="34" y="12"/>
                  </a:cxn>
                  <a:cxn ang="0">
                    <a:pos x="30" y="6"/>
                  </a:cxn>
                  <a:cxn ang="0">
                    <a:pos x="30" y="6"/>
                  </a:cxn>
                  <a:cxn ang="0">
                    <a:pos x="24" y="2"/>
                  </a:cxn>
                  <a:cxn ang="0">
                    <a:pos x="18" y="0"/>
                  </a:cxn>
                </a:cxnLst>
                <a:rect l="0" t="0" r="r" b="b"/>
                <a:pathLst>
                  <a:path w="36" h="36">
                    <a:moveTo>
                      <a:pt x="18" y="0"/>
                    </a:moveTo>
                    <a:lnTo>
                      <a:pt x="18" y="0"/>
                    </a:lnTo>
                    <a:lnTo>
                      <a:pt x="12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2" y="12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12" y="34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24" y="34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4" y="24"/>
                    </a:lnTo>
                    <a:lnTo>
                      <a:pt x="36" y="18"/>
                    </a:lnTo>
                    <a:lnTo>
                      <a:pt x="34" y="12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24" y="2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46" name="Freeform 161"/>
              <p:cNvSpPr>
                <a:spLocks/>
              </p:cNvSpPr>
              <p:nvPr userDrawn="1"/>
            </p:nvSpPr>
            <p:spPr bwMode="auto">
              <a:xfrm>
                <a:off x="2696" y="3875"/>
                <a:ext cx="30" cy="30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9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9"/>
                  </a:cxn>
                  <a:cxn ang="0">
                    <a:pos x="0" y="15"/>
                  </a:cxn>
                  <a:cxn ang="0">
                    <a:pos x="2" y="21"/>
                  </a:cxn>
                  <a:cxn ang="0">
                    <a:pos x="4" y="26"/>
                  </a:cxn>
                  <a:cxn ang="0">
                    <a:pos x="4" y="26"/>
                  </a:cxn>
                  <a:cxn ang="0">
                    <a:pos x="9" y="30"/>
                  </a:cxn>
                  <a:cxn ang="0">
                    <a:pos x="15" y="30"/>
                  </a:cxn>
                  <a:cxn ang="0">
                    <a:pos x="15" y="30"/>
                  </a:cxn>
                  <a:cxn ang="0">
                    <a:pos x="21" y="30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28" y="21"/>
                  </a:cxn>
                  <a:cxn ang="0">
                    <a:pos x="30" y="15"/>
                  </a:cxn>
                  <a:cxn ang="0">
                    <a:pos x="28" y="9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1" y="2"/>
                  </a:cxn>
                  <a:cxn ang="0">
                    <a:pos x="15" y="0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5" y="0"/>
                    </a:lnTo>
                    <a:lnTo>
                      <a:pt x="9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9"/>
                    </a:lnTo>
                    <a:lnTo>
                      <a:pt x="0" y="15"/>
                    </a:lnTo>
                    <a:lnTo>
                      <a:pt x="2" y="21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9" y="30"/>
                    </a:lnTo>
                    <a:lnTo>
                      <a:pt x="15" y="30"/>
                    </a:lnTo>
                    <a:lnTo>
                      <a:pt x="15" y="30"/>
                    </a:lnTo>
                    <a:lnTo>
                      <a:pt x="21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8" y="21"/>
                    </a:lnTo>
                    <a:lnTo>
                      <a:pt x="30" y="15"/>
                    </a:lnTo>
                    <a:lnTo>
                      <a:pt x="28" y="9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1" y="2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47" name="Freeform 162"/>
              <p:cNvSpPr>
                <a:spLocks/>
              </p:cNvSpPr>
              <p:nvPr userDrawn="1"/>
            </p:nvSpPr>
            <p:spPr bwMode="auto">
              <a:xfrm>
                <a:off x="2696" y="3875"/>
                <a:ext cx="30" cy="30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9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9"/>
                  </a:cxn>
                  <a:cxn ang="0">
                    <a:pos x="0" y="15"/>
                  </a:cxn>
                  <a:cxn ang="0">
                    <a:pos x="2" y="21"/>
                  </a:cxn>
                  <a:cxn ang="0">
                    <a:pos x="4" y="26"/>
                  </a:cxn>
                  <a:cxn ang="0">
                    <a:pos x="4" y="26"/>
                  </a:cxn>
                  <a:cxn ang="0">
                    <a:pos x="9" y="30"/>
                  </a:cxn>
                  <a:cxn ang="0">
                    <a:pos x="15" y="30"/>
                  </a:cxn>
                  <a:cxn ang="0">
                    <a:pos x="15" y="30"/>
                  </a:cxn>
                  <a:cxn ang="0">
                    <a:pos x="21" y="30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28" y="21"/>
                  </a:cxn>
                  <a:cxn ang="0">
                    <a:pos x="30" y="15"/>
                  </a:cxn>
                  <a:cxn ang="0">
                    <a:pos x="28" y="9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1" y="2"/>
                  </a:cxn>
                  <a:cxn ang="0">
                    <a:pos x="15" y="0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5" y="0"/>
                    </a:lnTo>
                    <a:lnTo>
                      <a:pt x="9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9"/>
                    </a:lnTo>
                    <a:lnTo>
                      <a:pt x="0" y="15"/>
                    </a:lnTo>
                    <a:lnTo>
                      <a:pt x="2" y="21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9" y="30"/>
                    </a:lnTo>
                    <a:lnTo>
                      <a:pt x="15" y="30"/>
                    </a:lnTo>
                    <a:lnTo>
                      <a:pt x="15" y="30"/>
                    </a:lnTo>
                    <a:lnTo>
                      <a:pt x="21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8" y="21"/>
                    </a:lnTo>
                    <a:lnTo>
                      <a:pt x="30" y="15"/>
                    </a:lnTo>
                    <a:lnTo>
                      <a:pt x="28" y="9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1" y="2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48" name="Freeform 163"/>
              <p:cNvSpPr>
                <a:spLocks/>
              </p:cNvSpPr>
              <p:nvPr userDrawn="1"/>
            </p:nvSpPr>
            <p:spPr bwMode="auto">
              <a:xfrm>
                <a:off x="2798" y="3971"/>
                <a:ext cx="30" cy="3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4" y="26"/>
                  </a:cxn>
                  <a:cxn ang="0">
                    <a:pos x="4" y="26"/>
                  </a:cxn>
                  <a:cxn ang="0">
                    <a:pos x="10" y="28"/>
                  </a:cxn>
                  <a:cxn ang="0">
                    <a:pos x="14" y="30"/>
                  </a:cxn>
                  <a:cxn ang="0">
                    <a:pos x="14" y="30"/>
                  </a:cxn>
                  <a:cxn ang="0">
                    <a:pos x="20" y="28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28" y="20"/>
                  </a:cxn>
                  <a:cxn ang="0">
                    <a:pos x="30" y="16"/>
                  </a:cxn>
                  <a:cxn ang="0">
                    <a:pos x="28" y="10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0" y="2"/>
                  </a:cxn>
                  <a:cxn ang="0">
                    <a:pos x="14" y="0"/>
                  </a:cxn>
                </a:cxnLst>
                <a:rect l="0" t="0" r="r" b="b"/>
                <a:pathLst>
                  <a:path w="30" h="30">
                    <a:moveTo>
                      <a:pt x="14" y="0"/>
                    </a:moveTo>
                    <a:lnTo>
                      <a:pt x="14" y="0"/>
                    </a:lnTo>
                    <a:lnTo>
                      <a:pt x="10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10" y="28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20" y="28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8" y="20"/>
                    </a:lnTo>
                    <a:lnTo>
                      <a:pt x="30" y="16"/>
                    </a:lnTo>
                    <a:lnTo>
                      <a:pt x="28" y="1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0" y="2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49" name="Freeform 164"/>
              <p:cNvSpPr>
                <a:spLocks/>
              </p:cNvSpPr>
              <p:nvPr userDrawn="1"/>
            </p:nvSpPr>
            <p:spPr bwMode="auto">
              <a:xfrm>
                <a:off x="2798" y="3971"/>
                <a:ext cx="30" cy="3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4" y="26"/>
                  </a:cxn>
                  <a:cxn ang="0">
                    <a:pos x="4" y="26"/>
                  </a:cxn>
                  <a:cxn ang="0">
                    <a:pos x="10" y="28"/>
                  </a:cxn>
                  <a:cxn ang="0">
                    <a:pos x="14" y="30"/>
                  </a:cxn>
                  <a:cxn ang="0">
                    <a:pos x="14" y="30"/>
                  </a:cxn>
                  <a:cxn ang="0">
                    <a:pos x="20" y="28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28" y="20"/>
                  </a:cxn>
                  <a:cxn ang="0">
                    <a:pos x="30" y="16"/>
                  </a:cxn>
                  <a:cxn ang="0">
                    <a:pos x="28" y="10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0" y="2"/>
                  </a:cxn>
                  <a:cxn ang="0">
                    <a:pos x="14" y="0"/>
                  </a:cxn>
                </a:cxnLst>
                <a:rect l="0" t="0" r="r" b="b"/>
                <a:pathLst>
                  <a:path w="30" h="30">
                    <a:moveTo>
                      <a:pt x="14" y="0"/>
                    </a:moveTo>
                    <a:lnTo>
                      <a:pt x="14" y="0"/>
                    </a:lnTo>
                    <a:lnTo>
                      <a:pt x="10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10" y="28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20" y="28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8" y="20"/>
                    </a:lnTo>
                    <a:lnTo>
                      <a:pt x="30" y="16"/>
                    </a:lnTo>
                    <a:lnTo>
                      <a:pt x="28" y="1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0" y="2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50" name="Freeform 165"/>
              <p:cNvSpPr>
                <a:spLocks/>
              </p:cNvSpPr>
              <p:nvPr userDrawn="1"/>
            </p:nvSpPr>
            <p:spPr bwMode="auto">
              <a:xfrm>
                <a:off x="2654" y="3107"/>
                <a:ext cx="66" cy="66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33" y="0"/>
                  </a:cxn>
                  <a:cxn ang="0">
                    <a:pos x="23" y="2"/>
                  </a:cxn>
                  <a:cxn ang="0">
                    <a:pos x="12" y="6"/>
                  </a:cxn>
                  <a:cxn ang="0">
                    <a:pos x="6" y="15"/>
                  </a:cxn>
                  <a:cxn ang="0">
                    <a:pos x="2" y="25"/>
                  </a:cxn>
                  <a:cxn ang="0">
                    <a:pos x="2" y="25"/>
                  </a:cxn>
                  <a:cxn ang="0">
                    <a:pos x="0" y="31"/>
                  </a:cxn>
                  <a:cxn ang="0">
                    <a:pos x="0" y="37"/>
                  </a:cxn>
                  <a:cxn ang="0">
                    <a:pos x="4" y="50"/>
                  </a:cxn>
                  <a:cxn ang="0">
                    <a:pos x="12" y="60"/>
                  </a:cxn>
                  <a:cxn ang="0">
                    <a:pos x="19" y="62"/>
                  </a:cxn>
                  <a:cxn ang="0">
                    <a:pos x="25" y="64"/>
                  </a:cxn>
                  <a:cxn ang="0">
                    <a:pos x="25" y="64"/>
                  </a:cxn>
                  <a:cxn ang="0">
                    <a:pos x="33" y="66"/>
                  </a:cxn>
                  <a:cxn ang="0">
                    <a:pos x="33" y="66"/>
                  </a:cxn>
                  <a:cxn ang="0">
                    <a:pos x="44" y="64"/>
                  </a:cxn>
                  <a:cxn ang="0">
                    <a:pos x="54" y="60"/>
                  </a:cxn>
                  <a:cxn ang="0">
                    <a:pos x="60" y="52"/>
                  </a:cxn>
                  <a:cxn ang="0">
                    <a:pos x="64" y="41"/>
                  </a:cxn>
                  <a:cxn ang="0">
                    <a:pos x="64" y="41"/>
                  </a:cxn>
                  <a:cxn ang="0">
                    <a:pos x="66" y="35"/>
                  </a:cxn>
                  <a:cxn ang="0">
                    <a:pos x="66" y="29"/>
                  </a:cxn>
                  <a:cxn ang="0">
                    <a:pos x="62" y="17"/>
                  </a:cxn>
                  <a:cxn ang="0">
                    <a:pos x="54" y="8"/>
                  </a:cxn>
                  <a:cxn ang="0">
                    <a:pos x="48" y="4"/>
                  </a:cxn>
                  <a:cxn ang="0">
                    <a:pos x="41" y="2"/>
                  </a:cxn>
                  <a:cxn ang="0">
                    <a:pos x="41" y="2"/>
                  </a:cxn>
                  <a:cxn ang="0">
                    <a:pos x="33" y="0"/>
                  </a:cxn>
                </a:cxnLst>
                <a:rect l="0" t="0" r="r" b="b"/>
                <a:pathLst>
                  <a:path w="66" h="66">
                    <a:moveTo>
                      <a:pt x="33" y="0"/>
                    </a:moveTo>
                    <a:lnTo>
                      <a:pt x="33" y="0"/>
                    </a:lnTo>
                    <a:lnTo>
                      <a:pt x="23" y="2"/>
                    </a:lnTo>
                    <a:lnTo>
                      <a:pt x="12" y="6"/>
                    </a:lnTo>
                    <a:lnTo>
                      <a:pt x="6" y="15"/>
                    </a:lnTo>
                    <a:lnTo>
                      <a:pt x="2" y="25"/>
                    </a:lnTo>
                    <a:lnTo>
                      <a:pt x="2" y="25"/>
                    </a:lnTo>
                    <a:lnTo>
                      <a:pt x="0" y="31"/>
                    </a:lnTo>
                    <a:lnTo>
                      <a:pt x="0" y="37"/>
                    </a:lnTo>
                    <a:lnTo>
                      <a:pt x="4" y="50"/>
                    </a:lnTo>
                    <a:lnTo>
                      <a:pt x="12" y="60"/>
                    </a:lnTo>
                    <a:lnTo>
                      <a:pt x="19" y="62"/>
                    </a:lnTo>
                    <a:lnTo>
                      <a:pt x="25" y="64"/>
                    </a:lnTo>
                    <a:lnTo>
                      <a:pt x="25" y="64"/>
                    </a:lnTo>
                    <a:lnTo>
                      <a:pt x="33" y="66"/>
                    </a:lnTo>
                    <a:lnTo>
                      <a:pt x="33" y="66"/>
                    </a:lnTo>
                    <a:lnTo>
                      <a:pt x="44" y="64"/>
                    </a:lnTo>
                    <a:lnTo>
                      <a:pt x="54" y="60"/>
                    </a:lnTo>
                    <a:lnTo>
                      <a:pt x="60" y="52"/>
                    </a:lnTo>
                    <a:lnTo>
                      <a:pt x="64" y="41"/>
                    </a:lnTo>
                    <a:lnTo>
                      <a:pt x="64" y="41"/>
                    </a:lnTo>
                    <a:lnTo>
                      <a:pt x="66" y="35"/>
                    </a:lnTo>
                    <a:lnTo>
                      <a:pt x="66" y="29"/>
                    </a:lnTo>
                    <a:lnTo>
                      <a:pt x="62" y="17"/>
                    </a:lnTo>
                    <a:lnTo>
                      <a:pt x="54" y="8"/>
                    </a:lnTo>
                    <a:lnTo>
                      <a:pt x="48" y="4"/>
                    </a:lnTo>
                    <a:lnTo>
                      <a:pt x="41" y="2"/>
                    </a:lnTo>
                    <a:lnTo>
                      <a:pt x="41" y="2"/>
                    </a:lnTo>
                    <a:lnTo>
                      <a:pt x="3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51" name="Freeform 166"/>
              <p:cNvSpPr>
                <a:spLocks/>
              </p:cNvSpPr>
              <p:nvPr userDrawn="1"/>
            </p:nvSpPr>
            <p:spPr bwMode="auto">
              <a:xfrm>
                <a:off x="2654" y="3107"/>
                <a:ext cx="66" cy="66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33" y="0"/>
                  </a:cxn>
                  <a:cxn ang="0">
                    <a:pos x="23" y="2"/>
                  </a:cxn>
                  <a:cxn ang="0">
                    <a:pos x="12" y="6"/>
                  </a:cxn>
                  <a:cxn ang="0">
                    <a:pos x="6" y="15"/>
                  </a:cxn>
                  <a:cxn ang="0">
                    <a:pos x="2" y="25"/>
                  </a:cxn>
                  <a:cxn ang="0">
                    <a:pos x="2" y="25"/>
                  </a:cxn>
                  <a:cxn ang="0">
                    <a:pos x="0" y="31"/>
                  </a:cxn>
                  <a:cxn ang="0">
                    <a:pos x="0" y="37"/>
                  </a:cxn>
                  <a:cxn ang="0">
                    <a:pos x="4" y="50"/>
                  </a:cxn>
                  <a:cxn ang="0">
                    <a:pos x="12" y="60"/>
                  </a:cxn>
                  <a:cxn ang="0">
                    <a:pos x="19" y="62"/>
                  </a:cxn>
                  <a:cxn ang="0">
                    <a:pos x="25" y="64"/>
                  </a:cxn>
                  <a:cxn ang="0">
                    <a:pos x="25" y="64"/>
                  </a:cxn>
                  <a:cxn ang="0">
                    <a:pos x="33" y="66"/>
                  </a:cxn>
                  <a:cxn ang="0">
                    <a:pos x="33" y="66"/>
                  </a:cxn>
                  <a:cxn ang="0">
                    <a:pos x="44" y="64"/>
                  </a:cxn>
                  <a:cxn ang="0">
                    <a:pos x="54" y="60"/>
                  </a:cxn>
                  <a:cxn ang="0">
                    <a:pos x="60" y="52"/>
                  </a:cxn>
                  <a:cxn ang="0">
                    <a:pos x="64" y="41"/>
                  </a:cxn>
                  <a:cxn ang="0">
                    <a:pos x="64" y="41"/>
                  </a:cxn>
                  <a:cxn ang="0">
                    <a:pos x="66" y="35"/>
                  </a:cxn>
                  <a:cxn ang="0">
                    <a:pos x="66" y="29"/>
                  </a:cxn>
                  <a:cxn ang="0">
                    <a:pos x="62" y="17"/>
                  </a:cxn>
                  <a:cxn ang="0">
                    <a:pos x="54" y="8"/>
                  </a:cxn>
                  <a:cxn ang="0">
                    <a:pos x="48" y="4"/>
                  </a:cxn>
                  <a:cxn ang="0">
                    <a:pos x="41" y="2"/>
                  </a:cxn>
                  <a:cxn ang="0">
                    <a:pos x="41" y="2"/>
                  </a:cxn>
                  <a:cxn ang="0">
                    <a:pos x="33" y="0"/>
                  </a:cxn>
                </a:cxnLst>
                <a:rect l="0" t="0" r="r" b="b"/>
                <a:pathLst>
                  <a:path w="66" h="66">
                    <a:moveTo>
                      <a:pt x="33" y="0"/>
                    </a:moveTo>
                    <a:lnTo>
                      <a:pt x="33" y="0"/>
                    </a:lnTo>
                    <a:lnTo>
                      <a:pt x="23" y="2"/>
                    </a:lnTo>
                    <a:lnTo>
                      <a:pt x="12" y="6"/>
                    </a:lnTo>
                    <a:lnTo>
                      <a:pt x="6" y="15"/>
                    </a:lnTo>
                    <a:lnTo>
                      <a:pt x="2" y="25"/>
                    </a:lnTo>
                    <a:lnTo>
                      <a:pt x="2" y="25"/>
                    </a:lnTo>
                    <a:lnTo>
                      <a:pt x="0" y="31"/>
                    </a:lnTo>
                    <a:lnTo>
                      <a:pt x="0" y="37"/>
                    </a:lnTo>
                    <a:lnTo>
                      <a:pt x="4" y="50"/>
                    </a:lnTo>
                    <a:lnTo>
                      <a:pt x="12" y="60"/>
                    </a:lnTo>
                    <a:lnTo>
                      <a:pt x="19" y="62"/>
                    </a:lnTo>
                    <a:lnTo>
                      <a:pt x="25" y="64"/>
                    </a:lnTo>
                    <a:lnTo>
                      <a:pt x="25" y="64"/>
                    </a:lnTo>
                    <a:lnTo>
                      <a:pt x="33" y="66"/>
                    </a:lnTo>
                    <a:lnTo>
                      <a:pt x="33" y="66"/>
                    </a:lnTo>
                    <a:lnTo>
                      <a:pt x="44" y="64"/>
                    </a:lnTo>
                    <a:lnTo>
                      <a:pt x="54" y="60"/>
                    </a:lnTo>
                    <a:lnTo>
                      <a:pt x="60" y="52"/>
                    </a:lnTo>
                    <a:lnTo>
                      <a:pt x="64" y="41"/>
                    </a:lnTo>
                    <a:lnTo>
                      <a:pt x="64" y="41"/>
                    </a:lnTo>
                    <a:lnTo>
                      <a:pt x="66" y="35"/>
                    </a:lnTo>
                    <a:lnTo>
                      <a:pt x="66" y="29"/>
                    </a:lnTo>
                    <a:lnTo>
                      <a:pt x="62" y="17"/>
                    </a:lnTo>
                    <a:lnTo>
                      <a:pt x="54" y="8"/>
                    </a:lnTo>
                    <a:lnTo>
                      <a:pt x="48" y="4"/>
                    </a:lnTo>
                    <a:lnTo>
                      <a:pt x="41" y="2"/>
                    </a:lnTo>
                    <a:lnTo>
                      <a:pt x="41" y="2"/>
                    </a:lnTo>
                    <a:lnTo>
                      <a:pt x="3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52" name="Freeform 167"/>
              <p:cNvSpPr>
                <a:spLocks/>
              </p:cNvSpPr>
              <p:nvPr userDrawn="1"/>
            </p:nvSpPr>
            <p:spPr bwMode="auto">
              <a:xfrm>
                <a:off x="2708" y="3005"/>
                <a:ext cx="54" cy="60"/>
              </a:xfrm>
              <a:custGeom>
                <a:avLst/>
                <a:gdLst/>
                <a:ahLst/>
                <a:cxnLst>
                  <a:cxn ang="0">
                    <a:pos x="27" y="0"/>
                  </a:cxn>
                  <a:cxn ang="0">
                    <a:pos x="27" y="0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4" y="13"/>
                  </a:cxn>
                  <a:cxn ang="0">
                    <a:pos x="0" y="23"/>
                  </a:cxn>
                  <a:cxn ang="0">
                    <a:pos x="0" y="23"/>
                  </a:cxn>
                  <a:cxn ang="0">
                    <a:pos x="0" y="33"/>
                  </a:cxn>
                  <a:cxn ang="0">
                    <a:pos x="4" y="44"/>
                  </a:cxn>
                  <a:cxn ang="0">
                    <a:pos x="10" y="54"/>
                  </a:cxn>
                  <a:cxn ang="0">
                    <a:pos x="20" y="58"/>
                  </a:cxn>
                  <a:cxn ang="0">
                    <a:pos x="20" y="58"/>
                  </a:cxn>
                  <a:cxn ang="0">
                    <a:pos x="27" y="60"/>
                  </a:cxn>
                  <a:cxn ang="0">
                    <a:pos x="27" y="60"/>
                  </a:cxn>
                  <a:cxn ang="0">
                    <a:pos x="37" y="58"/>
                  </a:cxn>
                  <a:cxn ang="0">
                    <a:pos x="45" y="54"/>
                  </a:cxn>
                  <a:cxn ang="0">
                    <a:pos x="50" y="46"/>
                  </a:cxn>
                  <a:cxn ang="0">
                    <a:pos x="54" y="38"/>
                  </a:cxn>
                  <a:cxn ang="0">
                    <a:pos x="54" y="38"/>
                  </a:cxn>
                  <a:cxn ang="0">
                    <a:pos x="54" y="25"/>
                  </a:cxn>
                  <a:cxn ang="0">
                    <a:pos x="50" y="15"/>
                  </a:cxn>
                  <a:cxn ang="0">
                    <a:pos x="45" y="6"/>
                  </a:cxn>
                  <a:cxn ang="0">
                    <a:pos x="35" y="2"/>
                  </a:cxn>
                  <a:cxn ang="0">
                    <a:pos x="35" y="2"/>
                  </a:cxn>
                  <a:cxn ang="0">
                    <a:pos x="27" y="0"/>
                  </a:cxn>
                </a:cxnLst>
                <a:rect l="0" t="0" r="r" b="b"/>
                <a:pathLst>
                  <a:path w="54" h="60">
                    <a:moveTo>
                      <a:pt x="27" y="0"/>
                    </a:moveTo>
                    <a:lnTo>
                      <a:pt x="27" y="0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4" y="13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0" y="33"/>
                    </a:lnTo>
                    <a:lnTo>
                      <a:pt x="4" y="44"/>
                    </a:lnTo>
                    <a:lnTo>
                      <a:pt x="10" y="54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27" y="60"/>
                    </a:lnTo>
                    <a:lnTo>
                      <a:pt x="27" y="60"/>
                    </a:lnTo>
                    <a:lnTo>
                      <a:pt x="37" y="58"/>
                    </a:lnTo>
                    <a:lnTo>
                      <a:pt x="45" y="54"/>
                    </a:lnTo>
                    <a:lnTo>
                      <a:pt x="50" y="46"/>
                    </a:lnTo>
                    <a:lnTo>
                      <a:pt x="54" y="38"/>
                    </a:lnTo>
                    <a:lnTo>
                      <a:pt x="54" y="38"/>
                    </a:lnTo>
                    <a:lnTo>
                      <a:pt x="54" y="25"/>
                    </a:lnTo>
                    <a:lnTo>
                      <a:pt x="50" y="15"/>
                    </a:lnTo>
                    <a:lnTo>
                      <a:pt x="45" y="6"/>
                    </a:lnTo>
                    <a:lnTo>
                      <a:pt x="35" y="2"/>
                    </a:lnTo>
                    <a:lnTo>
                      <a:pt x="35" y="2"/>
                    </a:lnTo>
                    <a:lnTo>
                      <a:pt x="2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53" name="Freeform 168"/>
              <p:cNvSpPr>
                <a:spLocks/>
              </p:cNvSpPr>
              <p:nvPr userDrawn="1"/>
            </p:nvSpPr>
            <p:spPr bwMode="auto">
              <a:xfrm>
                <a:off x="2708" y="3005"/>
                <a:ext cx="54" cy="60"/>
              </a:xfrm>
              <a:custGeom>
                <a:avLst/>
                <a:gdLst/>
                <a:ahLst/>
                <a:cxnLst>
                  <a:cxn ang="0">
                    <a:pos x="27" y="0"/>
                  </a:cxn>
                  <a:cxn ang="0">
                    <a:pos x="27" y="0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4" y="13"/>
                  </a:cxn>
                  <a:cxn ang="0">
                    <a:pos x="0" y="23"/>
                  </a:cxn>
                  <a:cxn ang="0">
                    <a:pos x="0" y="23"/>
                  </a:cxn>
                  <a:cxn ang="0">
                    <a:pos x="0" y="33"/>
                  </a:cxn>
                  <a:cxn ang="0">
                    <a:pos x="4" y="44"/>
                  </a:cxn>
                  <a:cxn ang="0">
                    <a:pos x="10" y="54"/>
                  </a:cxn>
                  <a:cxn ang="0">
                    <a:pos x="20" y="58"/>
                  </a:cxn>
                  <a:cxn ang="0">
                    <a:pos x="20" y="58"/>
                  </a:cxn>
                  <a:cxn ang="0">
                    <a:pos x="27" y="60"/>
                  </a:cxn>
                  <a:cxn ang="0">
                    <a:pos x="27" y="60"/>
                  </a:cxn>
                  <a:cxn ang="0">
                    <a:pos x="37" y="58"/>
                  </a:cxn>
                  <a:cxn ang="0">
                    <a:pos x="45" y="54"/>
                  </a:cxn>
                  <a:cxn ang="0">
                    <a:pos x="50" y="46"/>
                  </a:cxn>
                  <a:cxn ang="0">
                    <a:pos x="54" y="38"/>
                  </a:cxn>
                  <a:cxn ang="0">
                    <a:pos x="54" y="38"/>
                  </a:cxn>
                  <a:cxn ang="0">
                    <a:pos x="54" y="25"/>
                  </a:cxn>
                  <a:cxn ang="0">
                    <a:pos x="50" y="15"/>
                  </a:cxn>
                  <a:cxn ang="0">
                    <a:pos x="45" y="6"/>
                  </a:cxn>
                  <a:cxn ang="0">
                    <a:pos x="35" y="2"/>
                  </a:cxn>
                  <a:cxn ang="0">
                    <a:pos x="35" y="2"/>
                  </a:cxn>
                  <a:cxn ang="0">
                    <a:pos x="27" y="0"/>
                  </a:cxn>
                </a:cxnLst>
                <a:rect l="0" t="0" r="r" b="b"/>
                <a:pathLst>
                  <a:path w="54" h="60">
                    <a:moveTo>
                      <a:pt x="27" y="0"/>
                    </a:moveTo>
                    <a:lnTo>
                      <a:pt x="27" y="0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4" y="13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0" y="33"/>
                    </a:lnTo>
                    <a:lnTo>
                      <a:pt x="4" y="44"/>
                    </a:lnTo>
                    <a:lnTo>
                      <a:pt x="10" y="54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27" y="60"/>
                    </a:lnTo>
                    <a:lnTo>
                      <a:pt x="27" y="60"/>
                    </a:lnTo>
                    <a:lnTo>
                      <a:pt x="37" y="58"/>
                    </a:lnTo>
                    <a:lnTo>
                      <a:pt x="45" y="54"/>
                    </a:lnTo>
                    <a:lnTo>
                      <a:pt x="50" y="46"/>
                    </a:lnTo>
                    <a:lnTo>
                      <a:pt x="54" y="38"/>
                    </a:lnTo>
                    <a:lnTo>
                      <a:pt x="54" y="38"/>
                    </a:lnTo>
                    <a:lnTo>
                      <a:pt x="54" y="25"/>
                    </a:lnTo>
                    <a:lnTo>
                      <a:pt x="50" y="15"/>
                    </a:lnTo>
                    <a:lnTo>
                      <a:pt x="45" y="6"/>
                    </a:lnTo>
                    <a:lnTo>
                      <a:pt x="35" y="2"/>
                    </a:lnTo>
                    <a:lnTo>
                      <a:pt x="35" y="2"/>
                    </a:lnTo>
                    <a:lnTo>
                      <a:pt x="2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54" name="Freeform 169"/>
              <p:cNvSpPr>
                <a:spLocks/>
              </p:cNvSpPr>
              <p:nvPr userDrawn="1"/>
            </p:nvSpPr>
            <p:spPr bwMode="auto">
              <a:xfrm>
                <a:off x="2780" y="2909"/>
                <a:ext cx="48" cy="54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7" y="2"/>
                  </a:cxn>
                  <a:cxn ang="0">
                    <a:pos x="9" y="5"/>
                  </a:cxn>
                  <a:cxn ang="0">
                    <a:pos x="6" y="11"/>
                  </a:cxn>
                  <a:cxn ang="0">
                    <a:pos x="2" y="20"/>
                  </a:cxn>
                  <a:cxn ang="0">
                    <a:pos x="2" y="20"/>
                  </a:cxn>
                  <a:cxn ang="0">
                    <a:pos x="0" y="30"/>
                  </a:cxn>
                  <a:cxn ang="0">
                    <a:pos x="4" y="41"/>
                  </a:cxn>
                  <a:cxn ang="0">
                    <a:pos x="9" y="50"/>
                  </a:cxn>
                  <a:cxn ang="0">
                    <a:pos x="19" y="54"/>
                  </a:cxn>
                  <a:cxn ang="0">
                    <a:pos x="19" y="54"/>
                  </a:cxn>
                  <a:cxn ang="0">
                    <a:pos x="24" y="54"/>
                  </a:cxn>
                  <a:cxn ang="0">
                    <a:pos x="24" y="54"/>
                  </a:cxn>
                  <a:cxn ang="0">
                    <a:pos x="32" y="54"/>
                  </a:cxn>
                  <a:cxn ang="0">
                    <a:pos x="39" y="50"/>
                  </a:cxn>
                  <a:cxn ang="0">
                    <a:pos x="45" y="44"/>
                  </a:cxn>
                  <a:cxn ang="0">
                    <a:pos x="47" y="35"/>
                  </a:cxn>
                  <a:cxn ang="0">
                    <a:pos x="47" y="35"/>
                  </a:cxn>
                  <a:cxn ang="0">
                    <a:pos x="48" y="24"/>
                  </a:cxn>
                  <a:cxn ang="0">
                    <a:pos x="45" y="13"/>
                  </a:cxn>
                  <a:cxn ang="0">
                    <a:pos x="39" y="7"/>
                  </a:cxn>
                  <a:cxn ang="0">
                    <a:pos x="30" y="0"/>
                  </a:cxn>
                  <a:cxn ang="0">
                    <a:pos x="30" y="0"/>
                  </a:cxn>
                  <a:cxn ang="0">
                    <a:pos x="24" y="0"/>
                  </a:cxn>
                </a:cxnLst>
                <a:rect l="0" t="0" r="r" b="b"/>
                <a:pathLst>
                  <a:path w="48" h="54">
                    <a:moveTo>
                      <a:pt x="24" y="0"/>
                    </a:moveTo>
                    <a:lnTo>
                      <a:pt x="24" y="0"/>
                    </a:lnTo>
                    <a:lnTo>
                      <a:pt x="17" y="2"/>
                    </a:lnTo>
                    <a:lnTo>
                      <a:pt x="9" y="5"/>
                    </a:lnTo>
                    <a:lnTo>
                      <a:pt x="6" y="11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0" y="30"/>
                    </a:lnTo>
                    <a:lnTo>
                      <a:pt x="4" y="41"/>
                    </a:lnTo>
                    <a:lnTo>
                      <a:pt x="9" y="50"/>
                    </a:lnTo>
                    <a:lnTo>
                      <a:pt x="19" y="54"/>
                    </a:lnTo>
                    <a:lnTo>
                      <a:pt x="19" y="54"/>
                    </a:lnTo>
                    <a:lnTo>
                      <a:pt x="24" y="54"/>
                    </a:lnTo>
                    <a:lnTo>
                      <a:pt x="24" y="54"/>
                    </a:lnTo>
                    <a:lnTo>
                      <a:pt x="32" y="54"/>
                    </a:lnTo>
                    <a:lnTo>
                      <a:pt x="39" y="50"/>
                    </a:lnTo>
                    <a:lnTo>
                      <a:pt x="45" y="44"/>
                    </a:lnTo>
                    <a:lnTo>
                      <a:pt x="47" y="35"/>
                    </a:lnTo>
                    <a:lnTo>
                      <a:pt x="47" y="35"/>
                    </a:lnTo>
                    <a:lnTo>
                      <a:pt x="48" y="24"/>
                    </a:lnTo>
                    <a:lnTo>
                      <a:pt x="45" y="13"/>
                    </a:lnTo>
                    <a:lnTo>
                      <a:pt x="39" y="7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55" name="Freeform 170"/>
              <p:cNvSpPr>
                <a:spLocks/>
              </p:cNvSpPr>
              <p:nvPr userDrawn="1"/>
            </p:nvSpPr>
            <p:spPr bwMode="auto">
              <a:xfrm>
                <a:off x="2780" y="2909"/>
                <a:ext cx="48" cy="54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7" y="2"/>
                  </a:cxn>
                  <a:cxn ang="0">
                    <a:pos x="9" y="5"/>
                  </a:cxn>
                  <a:cxn ang="0">
                    <a:pos x="6" y="11"/>
                  </a:cxn>
                  <a:cxn ang="0">
                    <a:pos x="2" y="20"/>
                  </a:cxn>
                  <a:cxn ang="0">
                    <a:pos x="2" y="20"/>
                  </a:cxn>
                  <a:cxn ang="0">
                    <a:pos x="0" y="30"/>
                  </a:cxn>
                  <a:cxn ang="0">
                    <a:pos x="4" y="41"/>
                  </a:cxn>
                  <a:cxn ang="0">
                    <a:pos x="9" y="50"/>
                  </a:cxn>
                  <a:cxn ang="0">
                    <a:pos x="19" y="54"/>
                  </a:cxn>
                  <a:cxn ang="0">
                    <a:pos x="19" y="54"/>
                  </a:cxn>
                  <a:cxn ang="0">
                    <a:pos x="24" y="54"/>
                  </a:cxn>
                  <a:cxn ang="0">
                    <a:pos x="24" y="54"/>
                  </a:cxn>
                  <a:cxn ang="0">
                    <a:pos x="32" y="54"/>
                  </a:cxn>
                  <a:cxn ang="0">
                    <a:pos x="39" y="50"/>
                  </a:cxn>
                  <a:cxn ang="0">
                    <a:pos x="45" y="44"/>
                  </a:cxn>
                  <a:cxn ang="0">
                    <a:pos x="47" y="35"/>
                  </a:cxn>
                  <a:cxn ang="0">
                    <a:pos x="47" y="35"/>
                  </a:cxn>
                  <a:cxn ang="0">
                    <a:pos x="48" y="24"/>
                  </a:cxn>
                  <a:cxn ang="0">
                    <a:pos x="45" y="13"/>
                  </a:cxn>
                  <a:cxn ang="0">
                    <a:pos x="39" y="7"/>
                  </a:cxn>
                  <a:cxn ang="0">
                    <a:pos x="30" y="0"/>
                  </a:cxn>
                  <a:cxn ang="0">
                    <a:pos x="30" y="0"/>
                  </a:cxn>
                  <a:cxn ang="0">
                    <a:pos x="24" y="0"/>
                  </a:cxn>
                </a:cxnLst>
                <a:rect l="0" t="0" r="r" b="b"/>
                <a:pathLst>
                  <a:path w="48" h="54">
                    <a:moveTo>
                      <a:pt x="24" y="0"/>
                    </a:moveTo>
                    <a:lnTo>
                      <a:pt x="24" y="0"/>
                    </a:lnTo>
                    <a:lnTo>
                      <a:pt x="17" y="2"/>
                    </a:lnTo>
                    <a:lnTo>
                      <a:pt x="9" y="5"/>
                    </a:lnTo>
                    <a:lnTo>
                      <a:pt x="6" y="11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0" y="30"/>
                    </a:lnTo>
                    <a:lnTo>
                      <a:pt x="4" y="41"/>
                    </a:lnTo>
                    <a:lnTo>
                      <a:pt x="9" y="50"/>
                    </a:lnTo>
                    <a:lnTo>
                      <a:pt x="19" y="54"/>
                    </a:lnTo>
                    <a:lnTo>
                      <a:pt x="19" y="54"/>
                    </a:lnTo>
                    <a:lnTo>
                      <a:pt x="24" y="54"/>
                    </a:lnTo>
                    <a:lnTo>
                      <a:pt x="24" y="54"/>
                    </a:lnTo>
                    <a:lnTo>
                      <a:pt x="32" y="54"/>
                    </a:lnTo>
                    <a:lnTo>
                      <a:pt x="39" y="50"/>
                    </a:lnTo>
                    <a:lnTo>
                      <a:pt x="45" y="44"/>
                    </a:lnTo>
                    <a:lnTo>
                      <a:pt x="47" y="35"/>
                    </a:lnTo>
                    <a:lnTo>
                      <a:pt x="47" y="35"/>
                    </a:lnTo>
                    <a:lnTo>
                      <a:pt x="48" y="24"/>
                    </a:lnTo>
                    <a:lnTo>
                      <a:pt x="45" y="13"/>
                    </a:lnTo>
                    <a:lnTo>
                      <a:pt x="39" y="7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56" name="Freeform 171"/>
              <p:cNvSpPr>
                <a:spLocks/>
              </p:cNvSpPr>
              <p:nvPr userDrawn="1"/>
            </p:nvSpPr>
            <p:spPr bwMode="auto">
              <a:xfrm>
                <a:off x="2864" y="2831"/>
                <a:ext cx="48" cy="42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5" y="2"/>
                  </a:cxn>
                  <a:cxn ang="0">
                    <a:pos x="9" y="4"/>
                  </a:cxn>
                  <a:cxn ang="0">
                    <a:pos x="5" y="9"/>
                  </a:cxn>
                  <a:cxn ang="0">
                    <a:pos x="0" y="17"/>
                  </a:cxn>
                  <a:cxn ang="0">
                    <a:pos x="0" y="17"/>
                  </a:cxn>
                  <a:cxn ang="0">
                    <a:pos x="0" y="24"/>
                  </a:cxn>
                  <a:cxn ang="0">
                    <a:pos x="2" y="31"/>
                  </a:cxn>
                  <a:cxn ang="0">
                    <a:pos x="9" y="39"/>
                  </a:cxn>
                  <a:cxn ang="0">
                    <a:pos x="18" y="42"/>
                  </a:cxn>
                  <a:cxn ang="0">
                    <a:pos x="18" y="42"/>
                  </a:cxn>
                  <a:cxn ang="0">
                    <a:pos x="24" y="42"/>
                  </a:cxn>
                  <a:cxn ang="0">
                    <a:pos x="24" y="42"/>
                  </a:cxn>
                  <a:cxn ang="0">
                    <a:pos x="33" y="42"/>
                  </a:cxn>
                  <a:cxn ang="0">
                    <a:pos x="39" y="39"/>
                  </a:cxn>
                  <a:cxn ang="0">
                    <a:pos x="46" y="33"/>
                  </a:cxn>
                  <a:cxn ang="0">
                    <a:pos x="48" y="28"/>
                  </a:cxn>
                  <a:cxn ang="0">
                    <a:pos x="48" y="28"/>
                  </a:cxn>
                  <a:cxn ang="0">
                    <a:pos x="48" y="18"/>
                  </a:cxn>
                  <a:cxn ang="0">
                    <a:pos x="46" y="11"/>
                  </a:cxn>
                  <a:cxn ang="0">
                    <a:pos x="39" y="6"/>
                  </a:cxn>
                  <a:cxn ang="0">
                    <a:pos x="31" y="2"/>
                  </a:cxn>
                  <a:cxn ang="0">
                    <a:pos x="31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42">
                    <a:moveTo>
                      <a:pt x="24" y="0"/>
                    </a:moveTo>
                    <a:lnTo>
                      <a:pt x="24" y="0"/>
                    </a:lnTo>
                    <a:lnTo>
                      <a:pt x="15" y="2"/>
                    </a:lnTo>
                    <a:lnTo>
                      <a:pt x="9" y="4"/>
                    </a:lnTo>
                    <a:lnTo>
                      <a:pt x="5" y="9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0" y="24"/>
                    </a:lnTo>
                    <a:lnTo>
                      <a:pt x="2" y="31"/>
                    </a:lnTo>
                    <a:lnTo>
                      <a:pt x="9" y="39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33" y="42"/>
                    </a:lnTo>
                    <a:lnTo>
                      <a:pt x="39" y="39"/>
                    </a:lnTo>
                    <a:lnTo>
                      <a:pt x="46" y="33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8" y="18"/>
                    </a:lnTo>
                    <a:lnTo>
                      <a:pt x="46" y="11"/>
                    </a:lnTo>
                    <a:lnTo>
                      <a:pt x="39" y="6"/>
                    </a:lnTo>
                    <a:lnTo>
                      <a:pt x="31" y="2"/>
                    </a:lnTo>
                    <a:lnTo>
                      <a:pt x="31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57" name="Freeform 172"/>
              <p:cNvSpPr>
                <a:spLocks/>
              </p:cNvSpPr>
              <p:nvPr userDrawn="1"/>
            </p:nvSpPr>
            <p:spPr bwMode="auto">
              <a:xfrm>
                <a:off x="2864" y="2831"/>
                <a:ext cx="48" cy="42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5" y="2"/>
                  </a:cxn>
                  <a:cxn ang="0">
                    <a:pos x="9" y="4"/>
                  </a:cxn>
                  <a:cxn ang="0">
                    <a:pos x="5" y="9"/>
                  </a:cxn>
                  <a:cxn ang="0">
                    <a:pos x="0" y="17"/>
                  </a:cxn>
                  <a:cxn ang="0">
                    <a:pos x="0" y="17"/>
                  </a:cxn>
                  <a:cxn ang="0">
                    <a:pos x="0" y="24"/>
                  </a:cxn>
                  <a:cxn ang="0">
                    <a:pos x="2" y="31"/>
                  </a:cxn>
                  <a:cxn ang="0">
                    <a:pos x="9" y="39"/>
                  </a:cxn>
                  <a:cxn ang="0">
                    <a:pos x="18" y="42"/>
                  </a:cxn>
                  <a:cxn ang="0">
                    <a:pos x="18" y="42"/>
                  </a:cxn>
                  <a:cxn ang="0">
                    <a:pos x="24" y="42"/>
                  </a:cxn>
                  <a:cxn ang="0">
                    <a:pos x="24" y="42"/>
                  </a:cxn>
                  <a:cxn ang="0">
                    <a:pos x="33" y="42"/>
                  </a:cxn>
                  <a:cxn ang="0">
                    <a:pos x="39" y="39"/>
                  </a:cxn>
                  <a:cxn ang="0">
                    <a:pos x="46" y="33"/>
                  </a:cxn>
                  <a:cxn ang="0">
                    <a:pos x="48" y="28"/>
                  </a:cxn>
                  <a:cxn ang="0">
                    <a:pos x="48" y="28"/>
                  </a:cxn>
                  <a:cxn ang="0">
                    <a:pos x="48" y="18"/>
                  </a:cxn>
                  <a:cxn ang="0">
                    <a:pos x="46" y="11"/>
                  </a:cxn>
                  <a:cxn ang="0">
                    <a:pos x="39" y="6"/>
                  </a:cxn>
                  <a:cxn ang="0">
                    <a:pos x="31" y="2"/>
                  </a:cxn>
                  <a:cxn ang="0">
                    <a:pos x="31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42">
                    <a:moveTo>
                      <a:pt x="24" y="0"/>
                    </a:moveTo>
                    <a:lnTo>
                      <a:pt x="24" y="0"/>
                    </a:lnTo>
                    <a:lnTo>
                      <a:pt x="15" y="2"/>
                    </a:lnTo>
                    <a:lnTo>
                      <a:pt x="9" y="4"/>
                    </a:lnTo>
                    <a:lnTo>
                      <a:pt x="5" y="9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0" y="24"/>
                    </a:lnTo>
                    <a:lnTo>
                      <a:pt x="2" y="31"/>
                    </a:lnTo>
                    <a:lnTo>
                      <a:pt x="9" y="39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33" y="42"/>
                    </a:lnTo>
                    <a:lnTo>
                      <a:pt x="39" y="39"/>
                    </a:lnTo>
                    <a:lnTo>
                      <a:pt x="46" y="33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8" y="18"/>
                    </a:lnTo>
                    <a:lnTo>
                      <a:pt x="46" y="11"/>
                    </a:lnTo>
                    <a:lnTo>
                      <a:pt x="39" y="6"/>
                    </a:lnTo>
                    <a:lnTo>
                      <a:pt x="31" y="2"/>
                    </a:lnTo>
                    <a:lnTo>
                      <a:pt x="31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58" name="Freeform 173"/>
              <p:cNvSpPr>
                <a:spLocks/>
              </p:cNvSpPr>
              <p:nvPr userDrawn="1"/>
            </p:nvSpPr>
            <p:spPr bwMode="auto">
              <a:xfrm>
                <a:off x="2966" y="2765"/>
                <a:ext cx="42" cy="42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4" y="2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0" y="24"/>
                  </a:cxn>
                  <a:cxn ang="0">
                    <a:pos x="4" y="32"/>
                  </a:cxn>
                  <a:cxn ang="0">
                    <a:pos x="8" y="38"/>
                  </a:cxn>
                  <a:cxn ang="0">
                    <a:pos x="16" y="42"/>
                  </a:cxn>
                  <a:cxn ang="0">
                    <a:pos x="16" y="42"/>
                  </a:cxn>
                  <a:cxn ang="0">
                    <a:pos x="22" y="42"/>
                  </a:cxn>
                  <a:cxn ang="0">
                    <a:pos x="22" y="42"/>
                  </a:cxn>
                  <a:cxn ang="0">
                    <a:pos x="28" y="40"/>
                  </a:cxn>
                  <a:cxn ang="0">
                    <a:pos x="34" y="38"/>
                  </a:cxn>
                  <a:cxn ang="0">
                    <a:pos x="38" y="32"/>
                  </a:cxn>
                  <a:cxn ang="0">
                    <a:pos x="42" y="26"/>
                  </a:cxn>
                  <a:cxn ang="0">
                    <a:pos x="42" y="26"/>
                  </a:cxn>
                  <a:cxn ang="0">
                    <a:pos x="42" y="18"/>
                  </a:cxn>
                  <a:cxn ang="0">
                    <a:pos x="40" y="10"/>
                  </a:cxn>
                  <a:cxn ang="0">
                    <a:pos x="34" y="4"/>
                  </a:cxn>
                  <a:cxn ang="0">
                    <a:pos x="26" y="2"/>
                  </a:cxn>
                  <a:cxn ang="0">
                    <a:pos x="26" y="2"/>
                  </a:cxn>
                  <a:cxn ang="0">
                    <a:pos x="22" y="0"/>
                  </a:cxn>
                </a:cxnLst>
                <a:rect l="0" t="0" r="r" b="b"/>
                <a:pathLst>
                  <a:path w="42" h="42">
                    <a:moveTo>
                      <a:pt x="22" y="0"/>
                    </a:moveTo>
                    <a:lnTo>
                      <a:pt x="22" y="0"/>
                    </a:lnTo>
                    <a:lnTo>
                      <a:pt x="14" y="2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0" y="24"/>
                    </a:lnTo>
                    <a:lnTo>
                      <a:pt x="4" y="32"/>
                    </a:lnTo>
                    <a:lnTo>
                      <a:pt x="8" y="38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8" y="40"/>
                    </a:lnTo>
                    <a:lnTo>
                      <a:pt x="34" y="38"/>
                    </a:lnTo>
                    <a:lnTo>
                      <a:pt x="38" y="32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18"/>
                    </a:lnTo>
                    <a:lnTo>
                      <a:pt x="40" y="10"/>
                    </a:lnTo>
                    <a:lnTo>
                      <a:pt x="34" y="4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59" name="Freeform 174"/>
              <p:cNvSpPr>
                <a:spLocks/>
              </p:cNvSpPr>
              <p:nvPr userDrawn="1"/>
            </p:nvSpPr>
            <p:spPr bwMode="auto">
              <a:xfrm>
                <a:off x="2966" y="2765"/>
                <a:ext cx="42" cy="42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4" y="2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0" y="24"/>
                  </a:cxn>
                  <a:cxn ang="0">
                    <a:pos x="4" y="32"/>
                  </a:cxn>
                  <a:cxn ang="0">
                    <a:pos x="8" y="38"/>
                  </a:cxn>
                  <a:cxn ang="0">
                    <a:pos x="16" y="42"/>
                  </a:cxn>
                  <a:cxn ang="0">
                    <a:pos x="16" y="42"/>
                  </a:cxn>
                  <a:cxn ang="0">
                    <a:pos x="22" y="42"/>
                  </a:cxn>
                  <a:cxn ang="0">
                    <a:pos x="22" y="42"/>
                  </a:cxn>
                  <a:cxn ang="0">
                    <a:pos x="28" y="40"/>
                  </a:cxn>
                  <a:cxn ang="0">
                    <a:pos x="34" y="38"/>
                  </a:cxn>
                  <a:cxn ang="0">
                    <a:pos x="38" y="32"/>
                  </a:cxn>
                  <a:cxn ang="0">
                    <a:pos x="42" y="26"/>
                  </a:cxn>
                  <a:cxn ang="0">
                    <a:pos x="42" y="26"/>
                  </a:cxn>
                  <a:cxn ang="0">
                    <a:pos x="42" y="18"/>
                  </a:cxn>
                  <a:cxn ang="0">
                    <a:pos x="40" y="10"/>
                  </a:cxn>
                  <a:cxn ang="0">
                    <a:pos x="34" y="4"/>
                  </a:cxn>
                  <a:cxn ang="0">
                    <a:pos x="26" y="2"/>
                  </a:cxn>
                  <a:cxn ang="0">
                    <a:pos x="26" y="2"/>
                  </a:cxn>
                  <a:cxn ang="0">
                    <a:pos x="22" y="0"/>
                  </a:cxn>
                </a:cxnLst>
                <a:rect l="0" t="0" r="r" b="b"/>
                <a:pathLst>
                  <a:path w="42" h="42">
                    <a:moveTo>
                      <a:pt x="22" y="0"/>
                    </a:moveTo>
                    <a:lnTo>
                      <a:pt x="22" y="0"/>
                    </a:lnTo>
                    <a:lnTo>
                      <a:pt x="14" y="2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0" y="24"/>
                    </a:lnTo>
                    <a:lnTo>
                      <a:pt x="4" y="32"/>
                    </a:lnTo>
                    <a:lnTo>
                      <a:pt x="8" y="38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8" y="40"/>
                    </a:lnTo>
                    <a:lnTo>
                      <a:pt x="34" y="38"/>
                    </a:lnTo>
                    <a:lnTo>
                      <a:pt x="38" y="32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18"/>
                    </a:lnTo>
                    <a:lnTo>
                      <a:pt x="40" y="10"/>
                    </a:lnTo>
                    <a:lnTo>
                      <a:pt x="34" y="4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60" name="Freeform 175"/>
              <p:cNvSpPr>
                <a:spLocks/>
              </p:cNvSpPr>
              <p:nvPr userDrawn="1"/>
            </p:nvSpPr>
            <p:spPr bwMode="auto">
              <a:xfrm>
                <a:off x="3074" y="2717"/>
                <a:ext cx="36" cy="36"/>
              </a:xfrm>
              <a:custGeom>
                <a:avLst/>
                <a:gdLst/>
                <a:ahLst/>
                <a:cxnLst>
                  <a:cxn ang="0">
                    <a:pos x="19" y="0"/>
                  </a:cxn>
                  <a:cxn ang="0">
                    <a:pos x="19" y="0"/>
                  </a:cxn>
                  <a:cxn ang="0">
                    <a:pos x="14" y="2"/>
                  </a:cxn>
                  <a:cxn ang="0">
                    <a:pos x="8" y="4"/>
                  </a:cxn>
                  <a:cxn ang="0">
                    <a:pos x="4" y="8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21"/>
                  </a:cxn>
                  <a:cxn ang="0">
                    <a:pos x="2" y="27"/>
                  </a:cxn>
                  <a:cxn ang="0">
                    <a:pos x="8" y="32"/>
                  </a:cxn>
                  <a:cxn ang="0">
                    <a:pos x="14" y="36"/>
                  </a:cxn>
                  <a:cxn ang="0">
                    <a:pos x="14" y="36"/>
                  </a:cxn>
                  <a:cxn ang="0">
                    <a:pos x="19" y="36"/>
                  </a:cxn>
                  <a:cxn ang="0">
                    <a:pos x="19" y="36"/>
                  </a:cxn>
                  <a:cxn ang="0">
                    <a:pos x="25" y="34"/>
                  </a:cxn>
                  <a:cxn ang="0">
                    <a:pos x="29" y="32"/>
                  </a:cxn>
                  <a:cxn ang="0">
                    <a:pos x="32" y="29"/>
                  </a:cxn>
                  <a:cxn ang="0">
                    <a:pos x="36" y="23"/>
                  </a:cxn>
                  <a:cxn ang="0">
                    <a:pos x="36" y="23"/>
                  </a:cxn>
                  <a:cxn ang="0">
                    <a:pos x="36" y="15"/>
                  </a:cxn>
                  <a:cxn ang="0">
                    <a:pos x="34" y="10"/>
                  </a:cxn>
                  <a:cxn ang="0">
                    <a:pos x="29" y="4"/>
                  </a:cxn>
                  <a:cxn ang="0">
                    <a:pos x="23" y="2"/>
                  </a:cxn>
                  <a:cxn ang="0">
                    <a:pos x="23" y="2"/>
                  </a:cxn>
                  <a:cxn ang="0">
                    <a:pos x="19" y="0"/>
                  </a:cxn>
                </a:cxnLst>
                <a:rect l="0" t="0" r="r" b="b"/>
                <a:pathLst>
                  <a:path w="36" h="36">
                    <a:moveTo>
                      <a:pt x="19" y="0"/>
                    </a:moveTo>
                    <a:lnTo>
                      <a:pt x="19" y="0"/>
                    </a:lnTo>
                    <a:lnTo>
                      <a:pt x="14" y="2"/>
                    </a:lnTo>
                    <a:lnTo>
                      <a:pt x="8" y="4"/>
                    </a:lnTo>
                    <a:lnTo>
                      <a:pt x="4" y="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21"/>
                    </a:lnTo>
                    <a:lnTo>
                      <a:pt x="2" y="27"/>
                    </a:lnTo>
                    <a:lnTo>
                      <a:pt x="8" y="32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9" y="36"/>
                    </a:lnTo>
                    <a:lnTo>
                      <a:pt x="19" y="36"/>
                    </a:lnTo>
                    <a:lnTo>
                      <a:pt x="25" y="34"/>
                    </a:lnTo>
                    <a:lnTo>
                      <a:pt x="29" y="32"/>
                    </a:lnTo>
                    <a:lnTo>
                      <a:pt x="32" y="29"/>
                    </a:lnTo>
                    <a:lnTo>
                      <a:pt x="36" y="23"/>
                    </a:lnTo>
                    <a:lnTo>
                      <a:pt x="36" y="23"/>
                    </a:lnTo>
                    <a:lnTo>
                      <a:pt x="36" y="15"/>
                    </a:lnTo>
                    <a:lnTo>
                      <a:pt x="34" y="10"/>
                    </a:lnTo>
                    <a:lnTo>
                      <a:pt x="29" y="4"/>
                    </a:lnTo>
                    <a:lnTo>
                      <a:pt x="23" y="2"/>
                    </a:lnTo>
                    <a:lnTo>
                      <a:pt x="23" y="2"/>
                    </a:lnTo>
                    <a:lnTo>
                      <a:pt x="1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61" name="Freeform 176"/>
              <p:cNvSpPr>
                <a:spLocks/>
              </p:cNvSpPr>
              <p:nvPr userDrawn="1"/>
            </p:nvSpPr>
            <p:spPr bwMode="auto">
              <a:xfrm>
                <a:off x="3074" y="2717"/>
                <a:ext cx="36" cy="36"/>
              </a:xfrm>
              <a:custGeom>
                <a:avLst/>
                <a:gdLst/>
                <a:ahLst/>
                <a:cxnLst>
                  <a:cxn ang="0">
                    <a:pos x="19" y="0"/>
                  </a:cxn>
                  <a:cxn ang="0">
                    <a:pos x="19" y="0"/>
                  </a:cxn>
                  <a:cxn ang="0">
                    <a:pos x="14" y="2"/>
                  </a:cxn>
                  <a:cxn ang="0">
                    <a:pos x="8" y="4"/>
                  </a:cxn>
                  <a:cxn ang="0">
                    <a:pos x="4" y="8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21"/>
                  </a:cxn>
                  <a:cxn ang="0">
                    <a:pos x="2" y="27"/>
                  </a:cxn>
                  <a:cxn ang="0">
                    <a:pos x="8" y="32"/>
                  </a:cxn>
                  <a:cxn ang="0">
                    <a:pos x="14" y="36"/>
                  </a:cxn>
                  <a:cxn ang="0">
                    <a:pos x="14" y="36"/>
                  </a:cxn>
                  <a:cxn ang="0">
                    <a:pos x="19" y="36"/>
                  </a:cxn>
                  <a:cxn ang="0">
                    <a:pos x="19" y="36"/>
                  </a:cxn>
                  <a:cxn ang="0">
                    <a:pos x="25" y="34"/>
                  </a:cxn>
                  <a:cxn ang="0">
                    <a:pos x="29" y="32"/>
                  </a:cxn>
                  <a:cxn ang="0">
                    <a:pos x="32" y="29"/>
                  </a:cxn>
                  <a:cxn ang="0">
                    <a:pos x="36" y="23"/>
                  </a:cxn>
                  <a:cxn ang="0">
                    <a:pos x="36" y="23"/>
                  </a:cxn>
                  <a:cxn ang="0">
                    <a:pos x="36" y="15"/>
                  </a:cxn>
                  <a:cxn ang="0">
                    <a:pos x="34" y="10"/>
                  </a:cxn>
                  <a:cxn ang="0">
                    <a:pos x="29" y="4"/>
                  </a:cxn>
                  <a:cxn ang="0">
                    <a:pos x="23" y="2"/>
                  </a:cxn>
                  <a:cxn ang="0">
                    <a:pos x="23" y="2"/>
                  </a:cxn>
                  <a:cxn ang="0">
                    <a:pos x="19" y="0"/>
                  </a:cxn>
                </a:cxnLst>
                <a:rect l="0" t="0" r="r" b="b"/>
                <a:pathLst>
                  <a:path w="36" h="36">
                    <a:moveTo>
                      <a:pt x="19" y="0"/>
                    </a:moveTo>
                    <a:lnTo>
                      <a:pt x="19" y="0"/>
                    </a:lnTo>
                    <a:lnTo>
                      <a:pt x="14" y="2"/>
                    </a:lnTo>
                    <a:lnTo>
                      <a:pt x="8" y="4"/>
                    </a:lnTo>
                    <a:lnTo>
                      <a:pt x="4" y="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21"/>
                    </a:lnTo>
                    <a:lnTo>
                      <a:pt x="2" y="27"/>
                    </a:lnTo>
                    <a:lnTo>
                      <a:pt x="8" y="32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9" y="36"/>
                    </a:lnTo>
                    <a:lnTo>
                      <a:pt x="19" y="36"/>
                    </a:lnTo>
                    <a:lnTo>
                      <a:pt x="25" y="34"/>
                    </a:lnTo>
                    <a:lnTo>
                      <a:pt x="29" y="32"/>
                    </a:lnTo>
                    <a:lnTo>
                      <a:pt x="32" y="29"/>
                    </a:lnTo>
                    <a:lnTo>
                      <a:pt x="36" y="23"/>
                    </a:lnTo>
                    <a:lnTo>
                      <a:pt x="36" y="23"/>
                    </a:lnTo>
                    <a:lnTo>
                      <a:pt x="36" y="15"/>
                    </a:lnTo>
                    <a:lnTo>
                      <a:pt x="34" y="10"/>
                    </a:lnTo>
                    <a:lnTo>
                      <a:pt x="29" y="4"/>
                    </a:lnTo>
                    <a:lnTo>
                      <a:pt x="23" y="2"/>
                    </a:lnTo>
                    <a:lnTo>
                      <a:pt x="23" y="2"/>
                    </a:lnTo>
                    <a:lnTo>
                      <a:pt x="1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62" name="Freeform 177"/>
              <p:cNvSpPr>
                <a:spLocks/>
              </p:cNvSpPr>
              <p:nvPr userDrawn="1"/>
            </p:nvSpPr>
            <p:spPr bwMode="auto">
              <a:xfrm>
                <a:off x="3194" y="2687"/>
                <a:ext cx="30" cy="36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9" y="0"/>
                  </a:cxn>
                  <a:cxn ang="0">
                    <a:pos x="6" y="2"/>
                  </a:cxn>
                  <a:cxn ang="0">
                    <a:pos x="2" y="6"/>
                  </a:cxn>
                  <a:cxn ang="0">
                    <a:pos x="0" y="13"/>
                  </a:cxn>
                  <a:cxn ang="0">
                    <a:pos x="0" y="13"/>
                  </a:cxn>
                  <a:cxn ang="0">
                    <a:pos x="0" y="19"/>
                  </a:cxn>
                  <a:cxn ang="0">
                    <a:pos x="2" y="26"/>
                  </a:cxn>
                  <a:cxn ang="0">
                    <a:pos x="6" y="32"/>
                  </a:cxn>
                  <a:cxn ang="0">
                    <a:pos x="11" y="34"/>
                  </a:cxn>
                  <a:cxn ang="0">
                    <a:pos x="11" y="34"/>
                  </a:cxn>
                  <a:cxn ang="0">
                    <a:pos x="15" y="36"/>
                  </a:cxn>
                  <a:cxn ang="0">
                    <a:pos x="15" y="36"/>
                  </a:cxn>
                  <a:cxn ang="0">
                    <a:pos x="21" y="34"/>
                  </a:cxn>
                  <a:cxn ang="0">
                    <a:pos x="24" y="32"/>
                  </a:cxn>
                  <a:cxn ang="0">
                    <a:pos x="28" y="28"/>
                  </a:cxn>
                  <a:cxn ang="0">
                    <a:pos x="30" y="21"/>
                  </a:cxn>
                  <a:cxn ang="0">
                    <a:pos x="30" y="21"/>
                  </a:cxn>
                  <a:cxn ang="0">
                    <a:pos x="30" y="15"/>
                  </a:cxn>
                  <a:cxn ang="0">
                    <a:pos x="28" y="9"/>
                  </a:cxn>
                  <a:cxn ang="0">
                    <a:pos x="24" y="5"/>
                  </a:cxn>
                  <a:cxn ang="0">
                    <a:pos x="19" y="0"/>
                  </a:cxn>
                  <a:cxn ang="0">
                    <a:pos x="19" y="0"/>
                  </a:cxn>
                  <a:cxn ang="0">
                    <a:pos x="15" y="0"/>
                  </a:cxn>
                </a:cxnLst>
                <a:rect l="0" t="0" r="r" b="b"/>
                <a:pathLst>
                  <a:path w="30" h="36">
                    <a:moveTo>
                      <a:pt x="15" y="0"/>
                    </a:moveTo>
                    <a:lnTo>
                      <a:pt x="15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2" y="6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9"/>
                    </a:lnTo>
                    <a:lnTo>
                      <a:pt x="2" y="26"/>
                    </a:lnTo>
                    <a:lnTo>
                      <a:pt x="6" y="32"/>
                    </a:lnTo>
                    <a:lnTo>
                      <a:pt x="11" y="34"/>
                    </a:lnTo>
                    <a:lnTo>
                      <a:pt x="11" y="34"/>
                    </a:lnTo>
                    <a:lnTo>
                      <a:pt x="15" y="36"/>
                    </a:lnTo>
                    <a:lnTo>
                      <a:pt x="15" y="36"/>
                    </a:lnTo>
                    <a:lnTo>
                      <a:pt x="21" y="34"/>
                    </a:lnTo>
                    <a:lnTo>
                      <a:pt x="24" y="32"/>
                    </a:lnTo>
                    <a:lnTo>
                      <a:pt x="28" y="28"/>
                    </a:lnTo>
                    <a:lnTo>
                      <a:pt x="30" y="21"/>
                    </a:lnTo>
                    <a:lnTo>
                      <a:pt x="30" y="21"/>
                    </a:lnTo>
                    <a:lnTo>
                      <a:pt x="30" y="15"/>
                    </a:lnTo>
                    <a:lnTo>
                      <a:pt x="28" y="9"/>
                    </a:lnTo>
                    <a:lnTo>
                      <a:pt x="24" y="5"/>
                    </a:lnTo>
                    <a:lnTo>
                      <a:pt x="19" y="0"/>
                    </a:lnTo>
                    <a:lnTo>
                      <a:pt x="19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63" name="Freeform 178"/>
              <p:cNvSpPr>
                <a:spLocks/>
              </p:cNvSpPr>
              <p:nvPr userDrawn="1"/>
            </p:nvSpPr>
            <p:spPr bwMode="auto">
              <a:xfrm>
                <a:off x="3194" y="2687"/>
                <a:ext cx="30" cy="36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9" y="0"/>
                  </a:cxn>
                  <a:cxn ang="0">
                    <a:pos x="6" y="2"/>
                  </a:cxn>
                  <a:cxn ang="0">
                    <a:pos x="2" y="6"/>
                  </a:cxn>
                  <a:cxn ang="0">
                    <a:pos x="0" y="13"/>
                  </a:cxn>
                  <a:cxn ang="0">
                    <a:pos x="0" y="13"/>
                  </a:cxn>
                  <a:cxn ang="0">
                    <a:pos x="0" y="19"/>
                  </a:cxn>
                  <a:cxn ang="0">
                    <a:pos x="2" y="26"/>
                  </a:cxn>
                  <a:cxn ang="0">
                    <a:pos x="6" y="32"/>
                  </a:cxn>
                  <a:cxn ang="0">
                    <a:pos x="11" y="34"/>
                  </a:cxn>
                  <a:cxn ang="0">
                    <a:pos x="11" y="34"/>
                  </a:cxn>
                  <a:cxn ang="0">
                    <a:pos x="15" y="36"/>
                  </a:cxn>
                  <a:cxn ang="0">
                    <a:pos x="15" y="36"/>
                  </a:cxn>
                  <a:cxn ang="0">
                    <a:pos x="21" y="34"/>
                  </a:cxn>
                  <a:cxn ang="0">
                    <a:pos x="24" y="32"/>
                  </a:cxn>
                  <a:cxn ang="0">
                    <a:pos x="28" y="28"/>
                  </a:cxn>
                  <a:cxn ang="0">
                    <a:pos x="30" y="21"/>
                  </a:cxn>
                  <a:cxn ang="0">
                    <a:pos x="30" y="21"/>
                  </a:cxn>
                  <a:cxn ang="0">
                    <a:pos x="30" y="15"/>
                  </a:cxn>
                  <a:cxn ang="0">
                    <a:pos x="28" y="9"/>
                  </a:cxn>
                  <a:cxn ang="0">
                    <a:pos x="24" y="5"/>
                  </a:cxn>
                  <a:cxn ang="0">
                    <a:pos x="19" y="0"/>
                  </a:cxn>
                  <a:cxn ang="0">
                    <a:pos x="19" y="0"/>
                  </a:cxn>
                  <a:cxn ang="0">
                    <a:pos x="15" y="0"/>
                  </a:cxn>
                </a:cxnLst>
                <a:rect l="0" t="0" r="r" b="b"/>
                <a:pathLst>
                  <a:path w="30" h="36">
                    <a:moveTo>
                      <a:pt x="15" y="0"/>
                    </a:moveTo>
                    <a:lnTo>
                      <a:pt x="15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2" y="6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9"/>
                    </a:lnTo>
                    <a:lnTo>
                      <a:pt x="2" y="26"/>
                    </a:lnTo>
                    <a:lnTo>
                      <a:pt x="6" y="32"/>
                    </a:lnTo>
                    <a:lnTo>
                      <a:pt x="11" y="34"/>
                    </a:lnTo>
                    <a:lnTo>
                      <a:pt x="11" y="34"/>
                    </a:lnTo>
                    <a:lnTo>
                      <a:pt x="15" y="36"/>
                    </a:lnTo>
                    <a:lnTo>
                      <a:pt x="15" y="36"/>
                    </a:lnTo>
                    <a:lnTo>
                      <a:pt x="21" y="34"/>
                    </a:lnTo>
                    <a:lnTo>
                      <a:pt x="24" y="32"/>
                    </a:lnTo>
                    <a:lnTo>
                      <a:pt x="28" y="28"/>
                    </a:lnTo>
                    <a:lnTo>
                      <a:pt x="30" y="21"/>
                    </a:lnTo>
                    <a:lnTo>
                      <a:pt x="30" y="21"/>
                    </a:lnTo>
                    <a:lnTo>
                      <a:pt x="30" y="15"/>
                    </a:lnTo>
                    <a:lnTo>
                      <a:pt x="28" y="9"/>
                    </a:lnTo>
                    <a:lnTo>
                      <a:pt x="24" y="5"/>
                    </a:lnTo>
                    <a:lnTo>
                      <a:pt x="19" y="0"/>
                    </a:lnTo>
                    <a:lnTo>
                      <a:pt x="19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64" name="Freeform 179"/>
              <p:cNvSpPr>
                <a:spLocks/>
              </p:cNvSpPr>
              <p:nvPr userDrawn="1"/>
            </p:nvSpPr>
            <p:spPr bwMode="auto">
              <a:xfrm>
                <a:off x="3308" y="2675"/>
                <a:ext cx="30" cy="36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2"/>
                  </a:cxn>
                  <a:cxn ang="0">
                    <a:pos x="6" y="5"/>
                  </a:cxn>
                  <a:cxn ang="0">
                    <a:pos x="4" y="9"/>
                  </a:cxn>
                  <a:cxn ang="0">
                    <a:pos x="2" y="14"/>
                  </a:cxn>
                  <a:cxn ang="0">
                    <a:pos x="2" y="14"/>
                  </a:cxn>
                  <a:cxn ang="0">
                    <a:pos x="0" y="20"/>
                  </a:cxn>
                  <a:cxn ang="0">
                    <a:pos x="2" y="27"/>
                  </a:cxn>
                  <a:cxn ang="0">
                    <a:pos x="6" y="32"/>
                  </a:cxn>
                  <a:cxn ang="0">
                    <a:pos x="12" y="34"/>
                  </a:cxn>
                  <a:cxn ang="0">
                    <a:pos x="12" y="34"/>
                  </a:cxn>
                  <a:cxn ang="0">
                    <a:pos x="16" y="36"/>
                  </a:cxn>
                  <a:cxn ang="0">
                    <a:pos x="16" y="36"/>
                  </a:cxn>
                  <a:cxn ang="0">
                    <a:pos x="20" y="34"/>
                  </a:cxn>
                  <a:cxn ang="0">
                    <a:pos x="26" y="32"/>
                  </a:cxn>
                  <a:cxn ang="0">
                    <a:pos x="28" y="27"/>
                  </a:cxn>
                  <a:cxn ang="0">
                    <a:pos x="30" y="23"/>
                  </a:cxn>
                  <a:cxn ang="0">
                    <a:pos x="30" y="23"/>
                  </a:cxn>
                  <a:cxn ang="0">
                    <a:pos x="30" y="16"/>
                  </a:cxn>
                  <a:cxn ang="0">
                    <a:pos x="30" y="9"/>
                  </a:cxn>
                  <a:cxn ang="0">
                    <a:pos x="26" y="5"/>
                  </a:cxn>
                  <a:cxn ang="0">
                    <a:pos x="20" y="2"/>
                  </a:cxn>
                  <a:cxn ang="0">
                    <a:pos x="20" y="2"/>
                  </a:cxn>
                  <a:cxn ang="0">
                    <a:pos x="16" y="0"/>
                  </a:cxn>
                </a:cxnLst>
                <a:rect l="0" t="0" r="r" b="b"/>
                <a:pathLst>
                  <a:path w="30" h="36">
                    <a:moveTo>
                      <a:pt x="16" y="0"/>
                    </a:moveTo>
                    <a:lnTo>
                      <a:pt x="16" y="0"/>
                    </a:lnTo>
                    <a:lnTo>
                      <a:pt x="12" y="2"/>
                    </a:lnTo>
                    <a:lnTo>
                      <a:pt x="6" y="5"/>
                    </a:lnTo>
                    <a:lnTo>
                      <a:pt x="4" y="9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0" y="20"/>
                    </a:lnTo>
                    <a:lnTo>
                      <a:pt x="2" y="27"/>
                    </a:lnTo>
                    <a:lnTo>
                      <a:pt x="6" y="32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20" y="34"/>
                    </a:lnTo>
                    <a:lnTo>
                      <a:pt x="26" y="32"/>
                    </a:lnTo>
                    <a:lnTo>
                      <a:pt x="28" y="27"/>
                    </a:lnTo>
                    <a:lnTo>
                      <a:pt x="30" y="23"/>
                    </a:lnTo>
                    <a:lnTo>
                      <a:pt x="30" y="23"/>
                    </a:lnTo>
                    <a:lnTo>
                      <a:pt x="30" y="16"/>
                    </a:lnTo>
                    <a:lnTo>
                      <a:pt x="30" y="9"/>
                    </a:lnTo>
                    <a:lnTo>
                      <a:pt x="26" y="5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65" name="Freeform 180"/>
              <p:cNvSpPr>
                <a:spLocks/>
              </p:cNvSpPr>
              <p:nvPr userDrawn="1"/>
            </p:nvSpPr>
            <p:spPr bwMode="auto">
              <a:xfrm>
                <a:off x="3308" y="2675"/>
                <a:ext cx="30" cy="36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2"/>
                  </a:cxn>
                  <a:cxn ang="0">
                    <a:pos x="6" y="5"/>
                  </a:cxn>
                  <a:cxn ang="0">
                    <a:pos x="4" y="9"/>
                  </a:cxn>
                  <a:cxn ang="0">
                    <a:pos x="2" y="14"/>
                  </a:cxn>
                  <a:cxn ang="0">
                    <a:pos x="2" y="14"/>
                  </a:cxn>
                  <a:cxn ang="0">
                    <a:pos x="0" y="20"/>
                  </a:cxn>
                  <a:cxn ang="0">
                    <a:pos x="2" y="27"/>
                  </a:cxn>
                  <a:cxn ang="0">
                    <a:pos x="6" y="32"/>
                  </a:cxn>
                  <a:cxn ang="0">
                    <a:pos x="12" y="34"/>
                  </a:cxn>
                  <a:cxn ang="0">
                    <a:pos x="12" y="34"/>
                  </a:cxn>
                  <a:cxn ang="0">
                    <a:pos x="16" y="36"/>
                  </a:cxn>
                  <a:cxn ang="0">
                    <a:pos x="16" y="36"/>
                  </a:cxn>
                  <a:cxn ang="0">
                    <a:pos x="20" y="34"/>
                  </a:cxn>
                  <a:cxn ang="0">
                    <a:pos x="26" y="32"/>
                  </a:cxn>
                  <a:cxn ang="0">
                    <a:pos x="28" y="27"/>
                  </a:cxn>
                  <a:cxn ang="0">
                    <a:pos x="30" y="23"/>
                  </a:cxn>
                  <a:cxn ang="0">
                    <a:pos x="30" y="23"/>
                  </a:cxn>
                  <a:cxn ang="0">
                    <a:pos x="30" y="16"/>
                  </a:cxn>
                  <a:cxn ang="0">
                    <a:pos x="30" y="9"/>
                  </a:cxn>
                  <a:cxn ang="0">
                    <a:pos x="26" y="5"/>
                  </a:cxn>
                  <a:cxn ang="0">
                    <a:pos x="20" y="2"/>
                  </a:cxn>
                  <a:cxn ang="0">
                    <a:pos x="20" y="2"/>
                  </a:cxn>
                  <a:cxn ang="0">
                    <a:pos x="16" y="0"/>
                  </a:cxn>
                </a:cxnLst>
                <a:rect l="0" t="0" r="r" b="b"/>
                <a:pathLst>
                  <a:path w="30" h="36">
                    <a:moveTo>
                      <a:pt x="16" y="0"/>
                    </a:moveTo>
                    <a:lnTo>
                      <a:pt x="16" y="0"/>
                    </a:lnTo>
                    <a:lnTo>
                      <a:pt x="12" y="2"/>
                    </a:lnTo>
                    <a:lnTo>
                      <a:pt x="6" y="5"/>
                    </a:lnTo>
                    <a:lnTo>
                      <a:pt x="4" y="9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0" y="20"/>
                    </a:lnTo>
                    <a:lnTo>
                      <a:pt x="2" y="27"/>
                    </a:lnTo>
                    <a:lnTo>
                      <a:pt x="6" y="32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20" y="34"/>
                    </a:lnTo>
                    <a:lnTo>
                      <a:pt x="26" y="32"/>
                    </a:lnTo>
                    <a:lnTo>
                      <a:pt x="28" y="27"/>
                    </a:lnTo>
                    <a:lnTo>
                      <a:pt x="30" y="23"/>
                    </a:lnTo>
                    <a:lnTo>
                      <a:pt x="30" y="23"/>
                    </a:lnTo>
                    <a:lnTo>
                      <a:pt x="30" y="16"/>
                    </a:lnTo>
                    <a:lnTo>
                      <a:pt x="30" y="9"/>
                    </a:lnTo>
                    <a:lnTo>
                      <a:pt x="26" y="5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66" name="Freeform 181"/>
              <p:cNvSpPr>
                <a:spLocks/>
              </p:cNvSpPr>
              <p:nvPr userDrawn="1"/>
            </p:nvSpPr>
            <p:spPr bwMode="auto">
              <a:xfrm>
                <a:off x="3428" y="2687"/>
                <a:ext cx="30" cy="30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11" y="2"/>
                  </a:cxn>
                  <a:cxn ang="0">
                    <a:pos x="7" y="5"/>
                  </a:cxn>
                  <a:cxn ang="0">
                    <a:pos x="5" y="7"/>
                  </a:cxn>
                  <a:cxn ang="0">
                    <a:pos x="2" y="11"/>
                  </a:cxn>
                  <a:cxn ang="0">
                    <a:pos x="2" y="11"/>
                  </a:cxn>
                  <a:cxn ang="0">
                    <a:pos x="0" y="17"/>
                  </a:cxn>
                  <a:cxn ang="0">
                    <a:pos x="2" y="24"/>
                  </a:cxn>
                  <a:cxn ang="0">
                    <a:pos x="7" y="28"/>
                  </a:cxn>
                  <a:cxn ang="0">
                    <a:pos x="11" y="30"/>
                  </a:cxn>
                  <a:cxn ang="0">
                    <a:pos x="11" y="30"/>
                  </a:cxn>
                  <a:cxn ang="0">
                    <a:pos x="15" y="30"/>
                  </a:cxn>
                  <a:cxn ang="0">
                    <a:pos x="15" y="30"/>
                  </a:cxn>
                  <a:cxn ang="0">
                    <a:pos x="20" y="30"/>
                  </a:cxn>
                  <a:cxn ang="0">
                    <a:pos x="24" y="28"/>
                  </a:cxn>
                  <a:cxn ang="0">
                    <a:pos x="28" y="24"/>
                  </a:cxn>
                  <a:cxn ang="0">
                    <a:pos x="30" y="20"/>
                  </a:cxn>
                  <a:cxn ang="0">
                    <a:pos x="30" y="20"/>
                  </a:cxn>
                  <a:cxn ang="0">
                    <a:pos x="30" y="13"/>
                  </a:cxn>
                  <a:cxn ang="0">
                    <a:pos x="28" y="9"/>
                  </a:cxn>
                  <a:cxn ang="0">
                    <a:pos x="24" y="5"/>
                  </a:cxn>
                  <a:cxn ang="0">
                    <a:pos x="20" y="2"/>
                  </a:cxn>
                  <a:cxn ang="0">
                    <a:pos x="20" y="2"/>
                  </a:cxn>
                  <a:cxn ang="0">
                    <a:pos x="15" y="0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5" y="0"/>
                    </a:lnTo>
                    <a:lnTo>
                      <a:pt x="11" y="2"/>
                    </a:lnTo>
                    <a:lnTo>
                      <a:pt x="7" y="5"/>
                    </a:lnTo>
                    <a:lnTo>
                      <a:pt x="5" y="7"/>
                    </a:lnTo>
                    <a:lnTo>
                      <a:pt x="2" y="11"/>
                    </a:lnTo>
                    <a:lnTo>
                      <a:pt x="2" y="11"/>
                    </a:lnTo>
                    <a:lnTo>
                      <a:pt x="0" y="17"/>
                    </a:lnTo>
                    <a:lnTo>
                      <a:pt x="2" y="24"/>
                    </a:lnTo>
                    <a:lnTo>
                      <a:pt x="7" y="28"/>
                    </a:lnTo>
                    <a:lnTo>
                      <a:pt x="11" y="30"/>
                    </a:lnTo>
                    <a:lnTo>
                      <a:pt x="11" y="30"/>
                    </a:lnTo>
                    <a:lnTo>
                      <a:pt x="15" y="30"/>
                    </a:lnTo>
                    <a:lnTo>
                      <a:pt x="15" y="30"/>
                    </a:lnTo>
                    <a:lnTo>
                      <a:pt x="20" y="30"/>
                    </a:lnTo>
                    <a:lnTo>
                      <a:pt x="24" y="28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13"/>
                    </a:lnTo>
                    <a:lnTo>
                      <a:pt x="28" y="9"/>
                    </a:lnTo>
                    <a:lnTo>
                      <a:pt x="24" y="5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67" name="Freeform 182"/>
              <p:cNvSpPr>
                <a:spLocks/>
              </p:cNvSpPr>
              <p:nvPr userDrawn="1"/>
            </p:nvSpPr>
            <p:spPr bwMode="auto">
              <a:xfrm>
                <a:off x="3428" y="2687"/>
                <a:ext cx="30" cy="30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11" y="2"/>
                  </a:cxn>
                  <a:cxn ang="0">
                    <a:pos x="7" y="5"/>
                  </a:cxn>
                  <a:cxn ang="0">
                    <a:pos x="5" y="7"/>
                  </a:cxn>
                  <a:cxn ang="0">
                    <a:pos x="2" y="11"/>
                  </a:cxn>
                  <a:cxn ang="0">
                    <a:pos x="2" y="11"/>
                  </a:cxn>
                  <a:cxn ang="0">
                    <a:pos x="0" y="17"/>
                  </a:cxn>
                  <a:cxn ang="0">
                    <a:pos x="2" y="24"/>
                  </a:cxn>
                  <a:cxn ang="0">
                    <a:pos x="7" y="28"/>
                  </a:cxn>
                  <a:cxn ang="0">
                    <a:pos x="11" y="30"/>
                  </a:cxn>
                  <a:cxn ang="0">
                    <a:pos x="11" y="30"/>
                  </a:cxn>
                  <a:cxn ang="0">
                    <a:pos x="15" y="30"/>
                  </a:cxn>
                  <a:cxn ang="0">
                    <a:pos x="15" y="30"/>
                  </a:cxn>
                  <a:cxn ang="0">
                    <a:pos x="20" y="30"/>
                  </a:cxn>
                  <a:cxn ang="0">
                    <a:pos x="24" y="28"/>
                  </a:cxn>
                  <a:cxn ang="0">
                    <a:pos x="28" y="24"/>
                  </a:cxn>
                  <a:cxn ang="0">
                    <a:pos x="30" y="20"/>
                  </a:cxn>
                  <a:cxn ang="0">
                    <a:pos x="30" y="20"/>
                  </a:cxn>
                  <a:cxn ang="0">
                    <a:pos x="30" y="13"/>
                  </a:cxn>
                  <a:cxn ang="0">
                    <a:pos x="28" y="9"/>
                  </a:cxn>
                  <a:cxn ang="0">
                    <a:pos x="24" y="5"/>
                  </a:cxn>
                  <a:cxn ang="0">
                    <a:pos x="20" y="2"/>
                  </a:cxn>
                  <a:cxn ang="0">
                    <a:pos x="20" y="2"/>
                  </a:cxn>
                  <a:cxn ang="0">
                    <a:pos x="15" y="0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5" y="0"/>
                    </a:lnTo>
                    <a:lnTo>
                      <a:pt x="11" y="2"/>
                    </a:lnTo>
                    <a:lnTo>
                      <a:pt x="7" y="5"/>
                    </a:lnTo>
                    <a:lnTo>
                      <a:pt x="5" y="7"/>
                    </a:lnTo>
                    <a:lnTo>
                      <a:pt x="2" y="11"/>
                    </a:lnTo>
                    <a:lnTo>
                      <a:pt x="2" y="11"/>
                    </a:lnTo>
                    <a:lnTo>
                      <a:pt x="0" y="17"/>
                    </a:lnTo>
                    <a:lnTo>
                      <a:pt x="2" y="24"/>
                    </a:lnTo>
                    <a:lnTo>
                      <a:pt x="7" y="28"/>
                    </a:lnTo>
                    <a:lnTo>
                      <a:pt x="11" y="30"/>
                    </a:lnTo>
                    <a:lnTo>
                      <a:pt x="11" y="30"/>
                    </a:lnTo>
                    <a:lnTo>
                      <a:pt x="15" y="30"/>
                    </a:lnTo>
                    <a:lnTo>
                      <a:pt x="15" y="30"/>
                    </a:lnTo>
                    <a:lnTo>
                      <a:pt x="20" y="30"/>
                    </a:lnTo>
                    <a:lnTo>
                      <a:pt x="24" y="28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13"/>
                    </a:lnTo>
                    <a:lnTo>
                      <a:pt x="28" y="9"/>
                    </a:lnTo>
                    <a:lnTo>
                      <a:pt x="24" y="5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68" name="Freeform 183"/>
              <p:cNvSpPr>
                <a:spLocks/>
              </p:cNvSpPr>
              <p:nvPr userDrawn="1"/>
            </p:nvSpPr>
            <p:spPr bwMode="auto">
              <a:xfrm>
                <a:off x="3548" y="2723"/>
                <a:ext cx="24" cy="24"/>
              </a:xfrm>
              <a:custGeom>
                <a:avLst/>
                <a:gdLst/>
                <a:ahLst/>
                <a:cxnLst>
                  <a:cxn ang="0">
                    <a:pos x="11" y="0"/>
                  </a:cxn>
                  <a:cxn ang="0">
                    <a:pos x="11" y="0"/>
                  </a:cxn>
                  <a:cxn ang="0">
                    <a:pos x="9" y="2"/>
                  </a:cxn>
                  <a:cxn ang="0">
                    <a:pos x="6" y="4"/>
                  </a:cxn>
                  <a:cxn ang="0">
                    <a:pos x="2" y="6"/>
                  </a:cxn>
                  <a:cxn ang="0">
                    <a:pos x="2" y="9"/>
                  </a:cxn>
                  <a:cxn ang="0">
                    <a:pos x="2" y="9"/>
                  </a:cxn>
                  <a:cxn ang="0">
                    <a:pos x="0" y="13"/>
                  </a:cxn>
                  <a:cxn ang="0">
                    <a:pos x="2" y="19"/>
                  </a:cxn>
                  <a:cxn ang="0">
                    <a:pos x="6" y="21"/>
                  </a:cxn>
                  <a:cxn ang="0">
                    <a:pos x="9" y="23"/>
                  </a:cxn>
                  <a:cxn ang="0">
                    <a:pos x="9" y="23"/>
                  </a:cxn>
                  <a:cxn ang="0">
                    <a:pos x="11" y="24"/>
                  </a:cxn>
                  <a:cxn ang="0">
                    <a:pos x="11" y="24"/>
                  </a:cxn>
                  <a:cxn ang="0">
                    <a:pos x="15" y="23"/>
                  </a:cxn>
                  <a:cxn ang="0">
                    <a:pos x="19" y="21"/>
                  </a:cxn>
                  <a:cxn ang="0">
                    <a:pos x="23" y="19"/>
                  </a:cxn>
                  <a:cxn ang="0">
                    <a:pos x="23" y="15"/>
                  </a:cxn>
                  <a:cxn ang="0">
                    <a:pos x="23" y="15"/>
                  </a:cxn>
                  <a:cxn ang="0">
                    <a:pos x="24" y="11"/>
                  </a:cxn>
                  <a:cxn ang="0">
                    <a:pos x="23" y="6"/>
                  </a:cxn>
                  <a:cxn ang="0">
                    <a:pos x="19" y="4"/>
                  </a:cxn>
                  <a:cxn ang="0">
                    <a:pos x="15" y="2"/>
                  </a:cxn>
                  <a:cxn ang="0">
                    <a:pos x="15" y="2"/>
                  </a:cxn>
                  <a:cxn ang="0">
                    <a:pos x="11" y="0"/>
                  </a:cxn>
                </a:cxnLst>
                <a:rect l="0" t="0" r="r" b="b"/>
                <a:pathLst>
                  <a:path w="24" h="24">
                    <a:moveTo>
                      <a:pt x="11" y="0"/>
                    </a:moveTo>
                    <a:lnTo>
                      <a:pt x="11" y="0"/>
                    </a:lnTo>
                    <a:lnTo>
                      <a:pt x="9" y="2"/>
                    </a:lnTo>
                    <a:lnTo>
                      <a:pt x="6" y="4"/>
                    </a:lnTo>
                    <a:lnTo>
                      <a:pt x="2" y="6"/>
                    </a:lnTo>
                    <a:lnTo>
                      <a:pt x="2" y="9"/>
                    </a:lnTo>
                    <a:lnTo>
                      <a:pt x="2" y="9"/>
                    </a:lnTo>
                    <a:lnTo>
                      <a:pt x="0" y="13"/>
                    </a:lnTo>
                    <a:lnTo>
                      <a:pt x="2" y="19"/>
                    </a:lnTo>
                    <a:lnTo>
                      <a:pt x="6" y="21"/>
                    </a:lnTo>
                    <a:lnTo>
                      <a:pt x="9" y="23"/>
                    </a:lnTo>
                    <a:lnTo>
                      <a:pt x="9" y="23"/>
                    </a:lnTo>
                    <a:lnTo>
                      <a:pt x="11" y="24"/>
                    </a:lnTo>
                    <a:lnTo>
                      <a:pt x="11" y="24"/>
                    </a:lnTo>
                    <a:lnTo>
                      <a:pt x="15" y="23"/>
                    </a:lnTo>
                    <a:lnTo>
                      <a:pt x="19" y="21"/>
                    </a:lnTo>
                    <a:lnTo>
                      <a:pt x="23" y="19"/>
                    </a:lnTo>
                    <a:lnTo>
                      <a:pt x="23" y="15"/>
                    </a:lnTo>
                    <a:lnTo>
                      <a:pt x="23" y="15"/>
                    </a:lnTo>
                    <a:lnTo>
                      <a:pt x="24" y="11"/>
                    </a:lnTo>
                    <a:lnTo>
                      <a:pt x="23" y="6"/>
                    </a:lnTo>
                    <a:lnTo>
                      <a:pt x="19" y="4"/>
                    </a:lnTo>
                    <a:lnTo>
                      <a:pt x="15" y="2"/>
                    </a:lnTo>
                    <a:lnTo>
                      <a:pt x="15" y="2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69" name="Freeform 184"/>
              <p:cNvSpPr>
                <a:spLocks/>
              </p:cNvSpPr>
              <p:nvPr userDrawn="1"/>
            </p:nvSpPr>
            <p:spPr bwMode="auto">
              <a:xfrm>
                <a:off x="3548" y="2723"/>
                <a:ext cx="24" cy="24"/>
              </a:xfrm>
              <a:custGeom>
                <a:avLst/>
                <a:gdLst/>
                <a:ahLst/>
                <a:cxnLst>
                  <a:cxn ang="0">
                    <a:pos x="11" y="0"/>
                  </a:cxn>
                  <a:cxn ang="0">
                    <a:pos x="11" y="0"/>
                  </a:cxn>
                  <a:cxn ang="0">
                    <a:pos x="9" y="2"/>
                  </a:cxn>
                  <a:cxn ang="0">
                    <a:pos x="6" y="4"/>
                  </a:cxn>
                  <a:cxn ang="0">
                    <a:pos x="2" y="6"/>
                  </a:cxn>
                  <a:cxn ang="0">
                    <a:pos x="2" y="9"/>
                  </a:cxn>
                  <a:cxn ang="0">
                    <a:pos x="2" y="9"/>
                  </a:cxn>
                  <a:cxn ang="0">
                    <a:pos x="0" y="13"/>
                  </a:cxn>
                  <a:cxn ang="0">
                    <a:pos x="2" y="19"/>
                  </a:cxn>
                  <a:cxn ang="0">
                    <a:pos x="6" y="21"/>
                  </a:cxn>
                  <a:cxn ang="0">
                    <a:pos x="9" y="23"/>
                  </a:cxn>
                  <a:cxn ang="0">
                    <a:pos x="9" y="23"/>
                  </a:cxn>
                  <a:cxn ang="0">
                    <a:pos x="11" y="24"/>
                  </a:cxn>
                  <a:cxn ang="0">
                    <a:pos x="11" y="24"/>
                  </a:cxn>
                  <a:cxn ang="0">
                    <a:pos x="15" y="23"/>
                  </a:cxn>
                  <a:cxn ang="0">
                    <a:pos x="19" y="21"/>
                  </a:cxn>
                  <a:cxn ang="0">
                    <a:pos x="23" y="19"/>
                  </a:cxn>
                  <a:cxn ang="0">
                    <a:pos x="23" y="15"/>
                  </a:cxn>
                  <a:cxn ang="0">
                    <a:pos x="23" y="15"/>
                  </a:cxn>
                  <a:cxn ang="0">
                    <a:pos x="24" y="11"/>
                  </a:cxn>
                  <a:cxn ang="0">
                    <a:pos x="23" y="6"/>
                  </a:cxn>
                  <a:cxn ang="0">
                    <a:pos x="19" y="4"/>
                  </a:cxn>
                  <a:cxn ang="0">
                    <a:pos x="15" y="2"/>
                  </a:cxn>
                  <a:cxn ang="0">
                    <a:pos x="15" y="2"/>
                  </a:cxn>
                  <a:cxn ang="0">
                    <a:pos x="11" y="0"/>
                  </a:cxn>
                </a:cxnLst>
                <a:rect l="0" t="0" r="r" b="b"/>
                <a:pathLst>
                  <a:path w="24" h="24">
                    <a:moveTo>
                      <a:pt x="11" y="0"/>
                    </a:moveTo>
                    <a:lnTo>
                      <a:pt x="11" y="0"/>
                    </a:lnTo>
                    <a:lnTo>
                      <a:pt x="9" y="2"/>
                    </a:lnTo>
                    <a:lnTo>
                      <a:pt x="6" y="4"/>
                    </a:lnTo>
                    <a:lnTo>
                      <a:pt x="2" y="6"/>
                    </a:lnTo>
                    <a:lnTo>
                      <a:pt x="2" y="9"/>
                    </a:lnTo>
                    <a:lnTo>
                      <a:pt x="2" y="9"/>
                    </a:lnTo>
                    <a:lnTo>
                      <a:pt x="0" y="13"/>
                    </a:lnTo>
                    <a:lnTo>
                      <a:pt x="2" y="19"/>
                    </a:lnTo>
                    <a:lnTo>
                      <a:pt x="6" y="21"/>
                    </a:lnTo>
                    <a:lnTo>
                      <a:pt x="9" y="23"/>
                    </a:lnTo>
                    <a:lnTo>
                      <a:pt x="9" y="23"/>
                    </a:lnTo>
                    <a:lnTo>
                      <a:pt x="11" y="24"/>
                    </a:lnTo>
                    <a:lnTo>
                      <a:pt x="11" y="24"/>
                    </a:lnTo>
                    <a:lnTo>
                      <a:pt x="15" y="23"/>
                    </a:lnTo>
                    <a:lnTo>
                      <a:pt x="19" y="21"/>
                    </a:lnTo>
                    <a:lnTo>
                      <a:pt x="23" y="19"/>
                    </a:lnTo>
                    <a:lnTo>
                      <a:pt x="23" y="15"/>
                    </a:lnTo>
                    <a:lnTo>
                      <a:pt x="23" y="15"/>
                    </a:lnTo>
                    <a:lnTo>
                      <a:pt x="24" y="11"/>
                    </a:lnTo>
                    <a:lnTo>
                      <a:pt x="23" y="6"/>
                    </a:lnTo>
                    <a:lnTo>
                      <a:pt x="19" y="4"/>
                    </a:lnTo>
                    <a:lnTo>
                      <a:pt x="15" y="2"/>
                    </a:lnTo>
                    <a:lnTo>
                      <a:pt x="15" y="2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70" name="Freeform 185"/>
              <p:cNvSpPr>
                <a:spLocks/>
              </p:cNvSpPr>
              <p:nvPr userDrawn="1"/>
            </p:nvSpPr>
            <p:spPr bwMode="auto">
              <a:xfrm>
                <a:off x="2624" y="3227"/>
                <a:ext cx="60" cy="60"/>
              </a:xfrm>
              <a:custGeom>
                <a:avLst/>
                <a:gdLst/>
                <a:ahLst/>
                <a:cxnLst>
                  <a:cxn ang="0">
                    <a:pos x="31" y="0"/>
                  </a:cxn>
                  <a:cxn ang="0">
                    <a:pos x="31" y="0"/>
                  </a:cxn>
                  <a:cxn ang="0">
                    <a:pos x="21" y="0"/>
                  </a:cxn>
                  <a:cxn ang="0">
                    <a:pos x="12" y="6"/>
                  </a:cxn>
                  <a:cxn ang="0">
                    <a:pos x="6" y="14"/>
                  </a:cxn>
                  <a:cxn ang="0">
                    <a:pos x="0" y="21"/>
                  </a:cxn>
                  <a:cxn ang="0">
                    <a:pos x="0" y="21"/>
                  </a:cxn>
                  <a:cxn ang="0">
                    <a:pos x="0" y="29"/>
                  </a:cxn>
                  <a:cxn ang="0">
                    <a:pos x="0" y="35"/>
                  </a:cxn>
                  <a:cxn ang="0">
                    <a:pos x="4" y="45"/>
                  </a:cxn>
                  <a:cxn ang="0">
                    <a:pos x="12" y="54"/>
                  </a:cxn>
                  <a:cxn ang="0">
                    <a:pos x="16" y="58"/>
                  </a:cxn>
                  <a:cxn ang="0">
                    <a:pos x="21" y="60"/>
                  </a:cxn>
                  <a:cxn ang="0">
                    <a:pos x="21" y="60"/>
                  </a:cxn>
                  <a:cxn ang="0">
                    <a:pos x="31" y="60"/>
                  </a:cxn>
                  <a:cxn ang="0">
                    <a:pos x="31" y="60"/>
                  </a:cxn>
                  <a:cxn ang="0">
                    <a:pos x="41" y="58"/>
                  </a:cxn>
                  <a:cxn ang="0">
                    <a:pos x="49" y="54"/>
                  </a:cxn>
                  <a:cxn ang="0">
                    <a:pos x="56" y="47"/>
                  </a:cxn>
                  <a:cxn ang="0">
                    <a:pos x="60" y="39"/>
                  </a:cxn>
                  <a:cxn ang="0">
                    <a:pos x="60" y="39"/>
                  </a:cxn>
                  <a:cxn ang="0">
                    <a:pos x="60" y="31"/>
                  </a:cxn>
                  <a:cxn ang="0">
                    <a:pos x="60" y="26"/>
                  </a:cxn>
                  <a:cxn ang="0">
                    <a:pos x="56" y="16"/>
                  </a:cxn>
                  <a:cxn ang="0">
                    <a:pos x="49" y="6"/>
                  </a:cxn>
                  <a:cxn ang="0">
                    <a:pos x="45" y="2"/>
                  </a:cxn>
                  <a:cxn ang="0">
                    <a:pos x="39" y="0"/>
                  </a:cxn>
                  <a:cxn ang="0">
                    <a:pos x="39" y="0"/>
                  </a:cxn>
                  <a:cxn ang="0">
                    <a:pos x="31" y="0"/>
                  </a:cxn>
                </a:cxnLst>
                <a:rect l="0" t="0" r="r" b="b"/>
                <a:pathLst>
                  <a:path w="60" h="60">
                    <a:moveTo>
                      <a:pt x="31" y="0"/>
                    </a:moveTo>
                    <a:lnTo>
                      <a:pt x="31" y="0"/>
                    </a:lnTo>
                    <a:lnTo>
                      <a:pt x="21" y="0"/>
                    </a:lnTo>
                    <a:lnTo>
                      <a:pt x="12" y="6"/>
                    </a:lnTo>
                    <a:lnTo>
                      <a:pt x="6" y="14"/>
                    </a:lnTo>
                    <a:lnTo>
                      <a:pt x="0" y="21"/>
                    </a:lnTo>
                    <a:lnTo>
                      <a:pt x="0" y="21"/>
                    </a:lnTo>
                    <a:lnTo>
                      <a:pt x="0" y="29"/>
                    </a:lnTo>
                    <a:lnTo>
                      <a:pt x="0" y="35"/>
                    </a:lnTo>
                    <a:lnTo>
                      <a:pt x="4" y="45"/>
                    </a:lnTo>
                    <a:lnTo>
                      <a:pt x="12" y="54"/>
                    </a:lnTo>
                    <a:lnTo>
                      <a:pt x="16" y="58"/>
                    </a:lnTo>
                    <a:lnTo>
                      <a:pt x="21" y="60"/>
                    </a:lnTo>
                    <a:lnTo>
                      <a:pt x="21" y="60"/>
                    </a:lnTo>
                    <a:lnTo>
                      <a:pt x="31" y="60"/>
                    </a:lnTo>
                    <a:lnTo>
                      <a:pt x="31" y="60"/>
                    </a:lnTo>
                    <a:lnTo>
                      <a:pt x="41" y="58"/>
                    </a:lnTo>
                    <a:lnTo>
                      <a:pt x="49" y="54"/>
                    </a:lnTo>
                    <a:lnTo>
                      <a:pt x="56" y="47"/>
                    </a:lnTo>
                    <a:lnTo>
                      <a:pt x="60" y="39"/>
                    </a:lnTo>
                    <a:lnTo>
                      <a:pt x="60" y="39"/>
                    </a:lnTo>
                    <a:lnTo>
                      <a:pt x="60" y="31"/>
                    </a:lnTo>
                    <a:lnTo>
                      <a:pt x="60" y="26"/>
                    </a:lnTo>
                    <a:lnTo>
                      <a:pt x="56" y="16"/>
                    </a:lnTo>
                    <a:lnTo>
                      <a:pt x="49" y="6"/>
                    </a:lnTo>
                    <a:lnTo>
                      <a:pt x="45" y="2"/>
                    </a:lnTo>
                    <a:lnTo>
                      <a:pt x="39" y="0"/>
                    </a:lnTo>
                    <a:lnTo>
                      <a:pt x="39" y="0"/>
                    </a:lnTo>
                    <a:lnTo>
                      <a:pt x="3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71" name="Freeform 186"/>
              <p:cNvSpPr>
                <a:spLocks/>
              </p:cNvSpPr>
              <p:nvPr userDrawn="1"/>
            </p:nvSpPr>
            <p:spPr bwMode="auto">
              <a:xfrm>
                <a:off x="2624" y="3227"/>
                <a:ext cx="60" cy="60"/>
              </a:xfrm>
              <a:custGeom>
                <a:avLst/>
                <a:gdLst/>
                <a:ahLst/>
                <a:cxnLst>
                  <a:cxn ang="0">
                    <a:pos x="31" y="0"/>
                  </a:cxn>
                  <a:cxn ang="0">
                    <a:pos x="31" y="0"/>
                  </a:cxn>
                  <a:cxn ang="0">
                    <a:pos x="21" y="0"/>
                  </a:cxn>
                  <a:cxn ang="0">
                    <a:pos x="12" y="6"/>
                  </a:cxn>
                  <a:cxn ang="0">
                    <a:pos x="6" y="14"/>
                  </a:cxn>
                  <a:cxn ang="0">
                    <a:pos x="0" y="21"/>
                  </a:cxn>
                  <a:cxn ang="0">
                    <a:pos x="0" y="21"/>
                  </a:cxn>
                  <a:cxn ang="0">
                    <a:pos x="0" y="29"/>
                  </a:cxn>
                  <a:cxn ang="0">
                    <a:pos x="0" y="35"/>
                  </a:cxn>
                  <a:cxn ang="0">
                    <a:pos x="4" y="45"/>
                  </a:cxn>
                  <a:cxn ang="0">
                    <a:pos x="12" y="54"/>
                  </a:cxn>
                  <a:cxn ang="0">
                    <a:pos x="16" y="58"/>
                  </a:cxn>
                  <a:cxn ang="0">
                    <a:pos x="21" y="60"/>
                  </a:cxn>
                  <a:cxn ang="0">
                    <a:pos x="21" y="60"/>
                  </a:cxn>
                  <a:cxn ang="0">
                    <a:pos x="31" y="60"/>
                  </a:cxn>
                  <a:cxn ang="0">
                    <a:pos x="31" y="60"/>
                  </a:cxn>
                  <a:cxn ang="0">
                    <a:pos x="41" y="58"/>
                  </a:cxn>
                  <a:cxn ang="0">
                    <a:pos x="49" y="54"/>
                  </a:cxn>
                  <a:cxn ang="0">
                    <a:pos x="56" y="47"/>
                  </a:cxn>
                  <a:cxn ang="0">
                    <a:pos x="60" y="39"/>
                  </a:cxn>
                  <a:cxn ang="0">
                    <a:pos x="60" y="39"/>
                  </a:cxn>
                  <a:cxn ang="0">
                    <a:pos x="60" y="31"/>
                  </a:cxn>
                  <a:cxn ang="0">
                    <a:pos x="60" y="26"/>
                  </a:cxn>
                  <a:cxn ang="0">
                    <a:pos x="56" y="16"/>
                  </a:cxn>
                  <a:cxn ang="0">
                    <a:pos x="49" y="6"/>
                  </a:cxn>
                  <a:cxn ang="0">
                    <a:pos x="45" y="2"/>
                  </a:cxn>
                  <a:cxn ang="0">
                    <a:pos x="39" y="0"/>
                  </a:cxn>
                  <a:cxn ang="0">
                    <a:pos x="39" y="0"/>
                  </a:cxn>
                  <a:cxn ang="0">
                    <a:pos x="31" y="0"/>
                  </a:cxn>
                </a:cxnLst>
                <a:rect l="0" t="0" r="r" b="b"/>
                <a:pathLst>
                  <a:path w="60" h="60">
                    <a:moveTo>
                      <a:pt x="31" y="0"/>
                    </a:moveTo>
                    <a:lnTo>
                      <a:pt x="31" y="0"/>
                    </a:lnTo>
                    <a:lnTo>
                      <a:pt x="21" y="0"/>
                    </a:lnTo>
                    <a:lnTo>
                      <a:pt x="12" y="6"/>
                    </a:lnTo>
                    <a:lnTo>
                      <a:pt x="6" y="14"/>
                    </a:lnTo>
                    <a:lnTo>
                      <a:pt x="0" y="21"/>
                    </a:lnTo>
                    <a:lnTo>
                      <a:pt x="0" y="21"/>
                    </a:lnTo>
                    <a:lnTo>
                      <a:pt x="0" y="29"/>
                    </a:lnTo>
                    <a:lnTo>
                      <a:pt x="0" y="35"/>
                    </a:lnTo>
                    <a:lnTo>
                      <a:pt x="4" y="45"/>
                    </a:lnTo>
                    <a:lnTo>
                      <a:pt x="12" y="54"/>
                    </a:lnTo>
                    <a:lnTo>
                      <a:pt x="16" y="58"/>
                    </a:lnTo>
                    <a:lnTo>
                      <a:pt x="21" y="60"/>
                    </a:lnTo>
                    <a:lnTo>
                      <a:pt x="21" y="60"/>
                    </a:lnTo>
                    <a:lnTo>
                      <a:pt x="31" y="60"/>
                    </a:lnTo>
                    <a:lnTo>
                      <a:pt x="31" y="60"/>
                    </a:lnTo>
                    <a:lnTo>
                      <a:pt x="41" y="58"/>
                    </a:lnTo>
                    <a:lnTo>
                      <a:pt x="49" y="54"/>
                    </a:lnTo>
                    <a:lnTo>
                      <a:pt x="56" y="47"/>
                    </a:lnTo>
                    <a:lnTo>
                      <a:pt x="60" y="39"/>
                    </a:lnTo>
                    <a:lnTo>
                      <a:pt x="60" y="39"/>
                    </a:lnTo>
                    <a:lnTo>
                      <a:pt x="60" y="31"/>
                    </a:lnTo>
                    <a:lnTo>
                      <a:pt x="60" y="26"/>
                    </a:lnTo>
                    <a:lnTo>
                      <a:pt x="56" y="16"/>
                    </a:lnTo>
                    <a:lnTo>
                      <a:pt x="49" y="6"/>
                    </a:lnTo>
                    <a:lnTo>
                      <a:pt x="45" y="2"/>
                    </a:lnTo>
                    <a:lnTo>
                      <a:pt x="39" y="0"/>
                    </a:lnTo>
                    <a:lnTo>
                      <a:pt x="39" y="0"/>
                    </a:lnTo>
                    <a:lnTo>
                      <a:pt x="3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72" name="Freeform 187"/>
              <p:cNvSpPr>
                <a:spLocks/>
              </p:cNvSpPr>
              <p:nvPr userDrawn="1"/>
            </p:nvSpPr>
            <p:spPr bwMode="auto">
              <a:xfrm>
                <a:off x="2618" y="3347"/>
                <a:ext cx="54" cy="54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9" y="2"/>
                  </a:cxn>
                  <a:cxn ang="0">
                    <a:pos x="11" y="6"/>
                  </a:cxn>
                  <a:cxn ang="0">
                    <a:pos x="6" y="13"/>
                  </a:cxn>
                  <a:cxn ang="0">
                    <a:pos x="2" y="21"/>
                  </a:cxn>
                  <a:cxn ang="0">
                    <a:pos x="2" y="21"/>
                  </a:cxn>
                  <a:cxn ang="0">
                    <a:pos x="0" y="32"/>
                  </a:cxn>
                  <a:cxn ang="0">
                    <a:pos x="4" y="41"/>
                  </a:cxn>
                  <a:cxn ang="0">
                    <a:pos x="11" y="49"/>
                  </a:cxn>
                  <a:cxn ang="0">
                    <a:pos x="21" y="53"/>
                  </a:cxn>
                  <a:cxn ang="0">
                    <a:pos x="21" y="53"/>
                  </a:cxn>
                  <a:cxn ang="0">
                    <a:pos x="26" y="54"/>
                  </a:cxn>
                  <a:cxn ang="0">
                    <a:pos x="26" y="54"/>
                  </a:cxn>
                  <a:cxn ang="0">
                    <a:pos x="36" y="53"/>
                  </a:cxn>
                  <a:cxn ang="0">
                    <a:pos x="43" y="49"/>
                  </a:cxn>
                  <a:cxn ang="0">
                    <a:pos x="49" y="43"/>
                  </a:cxn>
                  <a:cxn ang="0">
                    <a:pos x="53" y="34"/>
                  </a:cxn>
                  <a:cxn ang="0">
                    <a:pos x="53" y="34"/>
                  </a:cxn>
                  <a:cxn ang="0">
                    <a:pos x="54" y="24"/>
                  </a:cxn>
                  <a:cxn ang="0">
                    <a:pos x="51" y="13"/>
                  </a:cxn>
                  <a:cxn ang="0">
                    <a:pos x="43" y="6"/>
                  </a:cxn>
                  <a:cxn ang="0">
                    <a:pos x="34" y="2"/>
                  </a:cxn>
                  <a:cxn ang="0">
                    <a:pos x="34" y="2"/>
                  </a:cxn>
                  <a:cxn ang="0">
                    <a:pos x="26" y="0"/>
                  </a:cxn>
                </a:cxnLst>
                <a:rect l="0" t="0" r="r" b="b"/>
                <a:pathLst>
                  <a:path w="54" h="54">
                    <a:moveTo>
                      <a:pt x="26" y="0"/>
                    </a:moveTo>
                    <a:lnTo>
                      <a:pt x="26" y="0"/>
                    </a:lnTo>
                    <a:lnTo>
                      <a:pt x="19" y="2"/>
                    </a:lnTo>
                    <a:lnTo>
                      <a:pt x="11" y="6"/>
                    </a:lnTo>
                    <a:lnTo>
                      <a:pt x="6" y="13"/>
                    </a:lnTo>
                    <a:lnTo>
                      <a:pt x="2" y="21"/>
                    </a:lnTo>
                    <a:lnTo>
                      <a:pt x="2" y="21"/>
                    </a:lnTo>
                    <a:lnTo>
                      <a:pt x="0" y="32"/>
                    </a:lnTo>
                    <a:lnTo>
                      <a:pt x="4" y="41"/>
                    </a:lnTo>
                    <a:lnTo>
                      <a:pt x="11" y="49"/>
                    </a:lnTo>
                    <a:lnTo>
                      <a:pt x="21" y="53"/>
                    </a:lnTo>
                    <a:lnTo>
                      <a:pt x="21" y="53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36" y="53"/>
                    </a:lnTo>
                    <a:lnTo>
                      <a:pt x="43" y="49"/>
                    </a:lnTo>
                    <a:lnTo>
                      <a:pt x="49" y="43"/>
                    </a:lnTo>
                    <a:lnTo>
                      <a:pt x="53" y="34"/>
                    </a:lnTo>
                    <a:lnTo>
                      <a:pt x="53" y="34"/>
                    </a:lnTo>
                    <a:lnTo>
                      <a:pt x="54" y="24"/>
                    </a:lnTo>
                    <a:lnTo>
                      <a:pt x="51" y="13"/>
                    </a:lnTo>
                    <a:lnTo>
                      <a:pt x="43" y="6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73" name="Freeform 188"/>
              <p:cNvSpPr>
                <a:spLocks/>
              </p:cNvSpPr>
              <p:nvPr userDrawn="1"/>
            </p:nvSpPr>
            <p:spPr bwMode="auto">
              <a:xfrm>
                <a:off x="2618" y="3347"/>
                <a:ext cx="54" cy="54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9" y="2"/>
                  </a:cxn>
                  <a:cxn ang="0">
                    <a:pos x="11" y="6"/>
                  </a:cxn>
                  <a:cxn ang="0">
                    <a:pos x="6" y="13"/>
                  </a:cxn>
                  <a:cxn ang="0">
                    <a:pos x="2" y="21"/>
                  </a:cxn>
                  <a:cxn ang="0">
                    <a:pos x="2" y="21"/>
                  </a:cxn>
                  <a:cxn ang="0">
                    <a:pos x="0" y="32"/>
                  </a:cxn>
                  <a:cxn ang="0">
                    <a:pos x="4" y="41"/>
                  </a:cxn>
                  <a:cxn ang="0">
                    <a:pos x="11" y="49"/>
                  </a:cxn>
                  <a:cxn ang="0">
                    <a:pos x="21" y="53"/>
                  </a:cxn>
                  <a:cxn ang="0">
                    <a:pos x="21" y="53"/>
                  </a:cxn>
                  <a:cxn ang="0">
                    <a:pos x="26" y="54"/>
                  </a:cxn>
                  <a:cxn ang="0">
                    <a:pos x="26" y="54"/>
                  </a:cxn>
                  <a:cxn ang="0">
                    <a:pos x="36" y="53"/>
                  </a:cxn>
                  <a:cxn ang="0">
                    <a:pos x="43" y="49"/>
                  </a:cxn>
                  <a:cxn ang="0">
                    <a:pos x="49" y="43"/>
                  </a:cxn>
                  <a:cxn ang="0">
                    <a:pos x="53" y="34"/>
                  </a:cxn>
                  <a:cxn ang="0">
                    <a:pos x="53" y="34"/>
                  </a:cxn>
                  <a:cxn ang="0">
                    <a:pos x="54" y="24"/>
                  </a:cxn>
                  <a:cxn ang="0">
                    <a:pos x="51" y="13"/>
                  </a:cxn>
                  <a:cxn ang="0">
                    <a:pos x="43" y="6"/>
                  </a:cxn>
                  <a:cxn ang="0">
                    <a:pos x="34" y="2"/>
                  </a:cxn>
                  <a:cxn ang="0">
                    <a:pos x="34" y="2"/>
                  </a:cxn>
                  <a:cxn ang="0">
                    <a:pos x="26" y="0"/>
                  </a:cxn>
                </a:cxnLst>
                <a:rect l="0" t="0" r="r" b="b"/>
                <a:pathLst>
                  <a:path w="54" h="54">
                    <a:moveTo>
                      <a:pt x="26" y="0"/>
                    </a:moveTo>
                    <a:lnTo>
                      <a:pt x="26" y="0"/>
                    </a:lnTo>
                    <a:lnTo>
                      <a:pt x="19" y="2"/>
                    </a:lnTo>
                    <a:lnTo>
                      <a:pt x="11" y="6"/>
                    </a:lnTo>
                    <a:lnTo>
                      <a:pt x="6" y="13"/>
                    </a:lnTo>
                    <a:lnTo>
                      <a:pt x="2" y="21"/>
                    </a:lnTo>
                    <a:lnTo>
                      <a:pt x="2" y="21"/>
                    </a:lnTo>
                    <a:lnTo>
                      <a:pt x="0" y="32"/>
                    </a:lnTo>
                    <a:lnTo>
                      <a:pt x="4" y="41"/>
                    </a:lnTo>
                    <a:lnTo>
                      <a:pt x="11" y="49"/>
                    </a:lnTo>
                    <a:lnTo>
                      <a:pt x="21" y="53"/>
                    </a:lnTo>
                    <a:lnTo>
                      <a:pt x="21" y="53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36" y="53"/>
                    </a:lnTo>
                    <a:lnTo>
                      <a:pt x="43" y="49"/>
                    </a:lnTo>
                    <a:lnTo>
                      <a:pt x="49" y="43"/>
                    </a:lnTo>
                    <a:lnTo>
                      <a:pt x="53" y="34"/>
                    </a:lnTo>
                    <a:lnTo>
                      <a:pt x="53" y="34"/>
                    </a:lnTo>
                    <a:lnTo>
                      <a:pt x="54" y="24"/>
                    </a:lnTo>
                    <a:lnTo>
                      <a:pt x="51" y="13"/>
                    </a:lnTo>
                    <a:lnTo>
                      <a:pt x="43" y="6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74" name="Freeform 189"/>
              <p:cNvSpPr>
                <a:spLocks/>
              </p:cNvSpPr>
              <p:nvPr userDrawn="1"/>
            </p:nvSpPr>
            <p:spPr bwMode="auto">
              <a:xfrm>
                <a:off x="2630" y="3467"/>
                <a:ext cx="48" cy="54"/>
              </a:xfrm>
              <a:custGeom>
                <a:avLst/>
                <a:gdLst/>
                <a:ahLst/>
                <a:cxnLst>
                  <a:cxn ang="0">
                    <a:pos x="25" y="0"/>
                  </a:cxn>
                  <a:cxn ang="0">
                    <a:pos x="25" y="0"/>
                  </a:cxn>
                  <a:cxn ang="0">
                    <a:pos x="15" y="2"/>
                  </a:cxn>
                  <a:cxn ang="0">
                    <a:pos x="10" y="6"/>
                  </a:cxn>
                  <a:cxn ang="0">
                    <a:pos x="4" y="13"/>
                  </a:cxn>
                  <a:cxn ang="0">
                    <a:pos x="0" y="19"/>
                  </a:cxn>
                  <a:cxn ang="0">
                    <a:pos x="0" y="19"/>
                  </a:cxn>
                  <a:cxn ang="0">
                    <a:pos x="0" y="29"/>
                  </a:cxn>
                  <a:cxn ang="0">
                    <a:pos x="2" y="40"/>
                  </a:cxn>
                  <a:cxn ang="0">
                    <a:pos x="10" y="48"/>
                  </a:cxn>
                  <a:cxn ang="0">
                    <a:pos x="18" y="52"/>
                  </a:cxn>
                  <a:cxn ang="0">
                    <a:pos x="18" y="52"/>
                  </a:cxn>
                  <a:cxn ang="0">
                    <a:pos x="25" y="54"/>
                  </a:cxn>
                  <a:cxn ang="0">
                    <a:pos x="25" y="54"/>
                  </a:cxn>
                  <a:cxn ang="0">
                    <a:pos x="33" y="52"/>
                  </a:cxn>
                  <a:cxn ang="0">
                    <a:pos x="39" y="48"/>
                  </a:cxn>
                  <a:cxn ang="0">
                    <a:pos x="44" y="42"/>
                  </a:cxn>
                  <a:cxn ang="0">
                    <a:pos x="48" y="33"/>
                  </a:cxn>
                  <a:cxn ang="0">
                    <a:pos x="48" y="33"/>
                  </a:cxn>
                  <a:cxn ang="0">
                    <a:pos x="48" y="23"/>
                  </a:cxn>
                  <a:cxn ang="0">
                    <a:pos x="46" y="13"/>
                  </a:cxn>
                  <a:cxn ang="0">
                    <a:pos x="39" y="6"/>
                  </a:cxn>
                  <a:cxn ang="0">
                    <a:pos x="31" y="0"/>
                  </a:cxn>
                  <a:cxn ang="0">
                    <a:pos x="31" y="0"/>
                  </a:cxn>
                  <a:cxn ang="0">
                    <a:pos x="25" y="0"/>
                  </a:cxn>
                </a:cxnLst>
                <a:rect l="0" t="0" r="r" b="b"/>
                <a:pathLst>
                  <a:path w="48" h="54">
                    <a:moveTo>
                      <a:pt x="25" y="0"/>
                    </a:moveTo>
                    <a:lnTo>
                      <a:pt x="25" y="0"/>
                    </a:lnTo>
                    <a:lnTo>
                      <a:pt x="15" y="2"/>
                    </a:lnTo>
                    <a:lnTo>
                      <a:pt x="10" y="6"/>
                    </a:lnTo>
                    <a:lnTo>
                      <a:pt x="4" y="13"/>
                    </a:lnTo>
                    <a:lnTo>
                      <a:pt x="0" y="19"/>
                    </a:lnTo>
                    <a:lnTo>
                      <a:pt x="0" y="19"/>
                    </a:lnTo>
                    <a:lnTo>
                      <a:pt x="0" y="29"/>
                    </a:lnTo>
                    <a:lnTo>
                      <a:pt x="2" y="40"/>
                    </a:lnTo>
                    <a:lnTo>
                      <a:pt x="10" y="48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25" y="54"/>
                    </a:lnTo>
                    <a:lnTo>
                      <a:pt x="25" y="54"/>
                    </a:lnTo>
                    <a:lnTo>
                      <a:pt x="33" y="52"/>
                    </a:lnTo>
                    <a:lnTo>
                      <a:pt x="39" y="48"/>
                    </a:lnTo>
                    <a:lnTo>
                      <a:pt x="44" y="42"/>
                    </a:lnTo>
                    <a:lnTo>
                      <a:pt x="48" y="33"/>
                    </a:lnTo>
                    <a:lnTo>
                      <a:pt x="48" y="33"/>
                    </a:lnTo>
                    <a:lnTo>
                      <a:pt x="48" y="23"/>
                    </a:lnTo>
                    <a:lnTo>
                      <a:pt x="46" y="13"/>
                    </a:lnTo>
                    <a:lnTo>
                      <a:pt x="39" y="6"/>
                    </a:lnTo>
                    <a:lnTo>
                      <a:pt x="31" y="0"/>
                    </a:lnTo>
                    <a:lnTo>
                      <a:pt x="31" y="0"/>
                    </a:lnTo>
                    <a:lnTo>
                      <a:pt x="2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75" name="Freeform 190"/>
              <p:cNvSpPr>
                <a:spLocks/>
              </p:cNvSpPr>
              <p:nvPr userDrawn="1"/>
            </p:nvSpPr>
            <p:spPr bwMode="auto">
              <a:xfrm>
                <a:off x="2630" y="3467"/>
                <a:ext cx="48" cy="54"/>
              </a:xfrm>
              <a:custGeom>
                <a:avLst/>
                <a:gdLst/>
                <a:ahLst/>
                <a:cxnLst>
                  <a:cxn ang="0">
                    <a:pos x="25" y="0"/>
                  </a:cxn>
                  <a:cxn ang="0">
                    <a:pos x="25" y="0"/>
                  </a:cxn>
                  <a:cxn ang="0">
                    <a:pos x="15" y="2"/>
                  </a:cxn>
                  <a:cxn ang="0">
                    <a:pos x="10" y="6"/>
                  </a:cxn>
                  <a:cxn ang="0">
                    <a:pos x="4" y="13"/>
                  </a:cxn>
                  <a:cxn ang="0">
                    <a:pos x="0" y="19"/>
                  </a:cxn>
                  <a:cxn ang="0">
                    <a:pos x="0" y="19"/>
                  </a:cxn>
                  <a:cxn ang="0">
                    <a:pos x="0" y="29"/>
                  </a:cxn>
                  <a:cxn ang="0">
                    <a:pos x="2" y="40"/>
                  </a:cxn>
                  <a:cxn ang="0">
                    <a:pos x="10" y="48"/>
                  </a:cxn>
                  <a:cxn ang="0">
                    <a:pos x="18" y="52"/>
                  </a:cxn>
                  <a:cxn ang="0">
                    <a:pos x="18" y="52"/>
                  </a:cxn>
                  <a:cxn ang="0">
                    <a:pos x="25" y="54"/>
                  </a:cxn>
                  <a:cxn ang="0">
                    <a:pos x="25" y="54"/>
                  </a:cxn>
                  <a:cxn ang="0">
                    <a:pos x="33" y="52"/>
                  </a:cxn>
                  <a:cxn ang="0">
                    <a:pos x="39" y="48"/>
                  </a:cxn>
                  <a:cxn ang="0">
                    <a:pos x="44" y="42"/>
                  </a:cxn>
                  <a:cxn ang="0">
                    <a:pos x="48" y="33"/>
                  </a:cxn>
                  <a:cxn ang="0">
                    <a:pos x="48" y="33"/>
                  </a:cxn>
                  <a:cxn ang="0">
                    <a:pos x="48" y="23"/>
                  </a:cxn>
                  <a:cxn ang="0">
                    <a:pos x="46" y="13"/>
                  </a:cxn>
                  <a:cxn ang="0">
                    <a:pos x="39" y="6"/>
                  </a:cxn>
                  <a:cxn ang="0">
                    <a:pos x="31" y="0"/>
                  </a:cxn>
                  <a:cxn ang="0">
                    <a:pos x="31" y="0"/>
                  </a:cxn>
                  <a:cxn ang="0">
                    <a:pos x="25" y="0"/>
                  </a:cxn>
                </a:cxnLst>
                <a:rect l="0" t="0" r="r" b="b"/>
                <a:pathLst>
                  <a:path w="48" h="54">
                    <a:moveTo>
                      <a:pt x="25" y="0"/>
                    </a:moveTo>
                    <a:lnTo>
                      <a:pt x="25" y="0"/>
                    </a:lnTo>
                    <a:lnTo>
                      <a:pt x="15" y="2"/>
                    </a:lnTo>
                    <a:lnTo>
                      <a:pt x="10" y="6"/>
                    </a:lnTo>
                    <a:lnTo>
                      <a:pt x="4" y="13"/>
                    </a:lnTo>
                    <a:lnTo>
                      <a:pt x="0" y="19"/>
                    </a:lnTo>
                    <a:lnTo>
                      <a:pt x="0" y="19"/>
                    </a:lnTo>
                    <a:lnTo>
                      <a:pt x="0" y="29"/>
                    </a:lnTo>
                    <a:lnTo>
                      <a:pt x="2" y="40"/>
                    </a:lnTo>
                    <a:lnTo>
                      <a:pt x="10" y="48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25" y="54"/>
                    </a:lnTo>
                    <a:lnTo>
                      <a:pt x="25" y="54"/>
                    </a:lnTo>
                    <a:lnTo>
                      <a:pt x="33" y="52"/>
                    </a:lnTo>
                    <a:lnTo>
                      <a:pt x="39" y="48"/>
                    </a:lnTo>
                    <a:lnTo>
                      <a:pt x="44" y="42"/>
                    </a:lnTo>
                    <a:lnTo>
                      <a:pt x="48" y="33"/>
                    </a:lnTo>
                    <a:lnTo>
                      <a:pt x="48" y="33"/>
                    </a:lnTo>
                    <a:lnTo>
                      <a:pt x="48" y="23"/>
                    </a:lnTo>
                    <a:lnTo>
                      <a:pt x="46" y="13"/>
                    </a:lnTo>
                    <a:lnTo>
                      <a:pt x="39" y="6"/>
                    </a:lnTo>
                    <a:lnTo>
                      <a:pt x="31" y="0"/>
                    </a:lnTo>
                    <a:lnTo>
                      <a:pt x="31" y="0"/>
                    </a:lnTo>
                    <a:lnTo>
                      <a:pt x="2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76" name="Freeform 191"/>
              <p:cNvSpPr>
                <a:spLocks/>
              </p:cNvSpPr>
              <p:nvPr userDrawn="1"/>
            </p:nvSpPr>
            <p:spPr bwMode="auto">
              <a:xfrm>
                <a:off x="2666" y="3587"/>
                <a:ext cx="42" cy="42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1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2" y="9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0" y="24"/>
                  </a:cxn>
                  <a:cxn ang="0">
                    <a:pos x="2" y="31"/>
                  </a:cxn>
                  <a:cxn ang="0">
                    <a:pos x="8" y="37"/>
                  </a:cxn>
                  <a:cxn ang="0">
                    <a:pos x="15" y="41"/>
                  </a:cxn>
                  <a:cxn ang="0">
                    <a:pos x="15" y="41"/>
                  </a:cxn>
                  <a:cxn ang="0">
                    <a:pos x="21" y="42"/>
                  </a:cxn>
                  <a:cxn ang="0">
                    <a:pos x="21" y="42"/>
                  </a:cxn>
                  <a:cxn ang="0">
                    <a:pos x="29" y="41"/>
                  </a:cxn>
                  <a:cxn ang="0">
                    <a:pos x="35" y="37"/>
                  </a:cxn>
                  <a:cxn ang="0">
                    <a:pos x="38" y="33"/>
                  </a:cxn>
                  <a:cxn ang="0">
                    <a:pos x="42" y="26"/>
                  </a:cxn>
                  <a:cxn ang="0">
                    <a:pos x="42" y="26"/>
                  </a:cxn>
                  <a:cxn ang="0">
                    <a:pos x="42" y="17"/>
                  </a:cxn>
                  <a:cxn ang="0">
                    <a:pos x="40" y="9"/>
                  </a:cxn>
                  <a:cxn ang="0">
                    <a:pos x="35" y="4"/>
                  </a:cxn>
                  <a:cxn ang="0">
                    <a:pos x="27" y="0"/>
                  </a:cxn>
                  <a:cxn ang="0">
                    <a:pos x="27" y="0"/>
                  </a:cxn>
                  <a:cxn ang="0">
                    <a:pos x="21" y="0"/>
                  </a:cxn>
                </a:cxnLst>
                <a:rect l="0" t="0" r="r" b="b"/>
                <a:pathLst>
                  <a:path w="42" h="42">
                    <a:moveTo>
                      <a:pt x="21" y="0"/>
                    </a:moveTo>
                    <a:lnTo>
                      <a:pt x="21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2" y="9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0" y="24"/>
                    </a:lnTo>
                    <a:lnTo>
                      <a:pt x="2" y="31"/>
                    </a:lnTo>
                    <a:lnTo>
                      <a:pt x="8" y="37"/>
                    </a:lnTo>
                    <a:lnTo>
                      <a:pt x="15" y="41"/>
                    </a:lnTo>
                    <a:lnTo>
                      <a:pt x="15" y="41"/>
                    </a:lnTo>
                    <a:lnTo>
                      <a:pt x="21" y="42"/>
                    </a:lnTo>
                    <a:lnTo>
                      <a:pt x="21" y="42"/>
                    </a:lnTo>
                    <a:lnTo>
                      <a:pt x="29" y="41"/>
                    </a:lnTo>
                    <a:lnTo>
                      <a:pt x="35" y="37"/>
                    </a:lnTo>
                    <a:lnTo>
                      <a:pt x="38" y="33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17"/>
                    </a:lnTo>
                    <a:lnTo>
                      <a:pt x="40" y="9"/>
                    </a:lnTo>
                    <a:lnTo>
                      <a:pt x="35" y="4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77" name="Freeform 192"/>
              <p:cNvSpPr>
                <a:spLocks/>
              </p:cNvSpPr>
              <p:nvPr userDrawn="1"/>
            </p:nvSpPr>
            <p:spPr bwMode="auto">
              <a:xfrm>
                <a:off x="2666" y="3587"/>
                <a:ext cx="42" cy="42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1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2" y="9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0" y="24"/>
                  </a:cxn>
                  <a:cxn ang="0">
                    <a:pos x="2" y="31"/>
                  </a:cxn>
                  <a:cxn ang="0">
                    <a:pos x="8" y="37"/>
                  </a:cxn>
                  <a:cxn ang="0">
                    <a:pos x="15" y="41"/>
                  </a:cxn>
                  <a:cxn ang="0">
                    <a:pos x="15" y="41"/>
                  </a:cxn>
                  <a:cxn ang="0">
                    <a:pos x="21" y="42"/>
                  </a:cxn>
                  <a:cxn ang="0">
                    <a:pos x="21" y="42"/>
                  </a:cxn>
                  <a:cxn ang="0">
                    <a:pos x="29" y="41"/>
                  </a:cxn>
                  <a:cxn ang="0">
                    <a:pos x="35" y="37"/>
                  </a:cxn>
                  <a:cxn ang="0">
                    <a:pos x="38" y="33"/>
                  </a:cxn>
                  <a:cxn ang="0">
                    <a:pos x="42" y="26"/>
                  </a:cxn>
                  <a:cxn ang="0">
                    <a:pos x="42" y="26"/>
                  </a:cxn>
                  <a:cxn ang="0">
                    <a:pos x="42" y="17"/>
                  </a:cxn>
                  <a:cxn ang="0">
                    <a:pos x="40" y="9"/>
                  </a:cxn>
                  <a:cxn ang="0">
                    <a:pos x="35" y="4"/>
                  </a:cxn>
                  <a:cxn ang="0">
                    <a:pos x="27" y="0"/>
                  </a:cxn>
                  <a:cxn ang="0">
                    <a:pos x="27" y="0"/>
                  </a:cxn>
                  <a:cxn ang="0">
                    <a:pos x="21" y="0"/>
                  </a:cxn>
                </a:cxnLst>
                <a:rect l="0" t="0" r="r" b="b"/>
                <a:pathLst>
                  <a:path w="42" h="42">
                    <a:moveTo>
                      <a:pt x="21" y="0"/>
                    </a:moveTo>
                    <a:lnTo>
                      <a:pt x="21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2" y="9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0" y="24"/>
                    </a:lnTo>
                    <a:lnTo>
                      <a:pt x="2" y="31"/>
                    </a:lnTo>
                    <a:lnTo>
                      <a:pt x="8" y="37"/>
                    </a:lnTo>
                    <a:lnTo>
                      <a:pt x="15" y="41"/>
                    </a:lnTo>
                    <a:lnTo>
                      <a:pt x="15" y="41"/>
                    </a:lnTo>
                    <a:lnTo>
                      <a:pt x="21" y="42"/>
                    </a:lnTo>
                    <a:lnTo>
                      <a:pt x="21" y="42"/>
                    </a:lnTo>
                    <a:lnTo>
                      <a:pt x="29" y="41"/>
                    </a:lnTo>
                    <a:lnTo>
                      <a:pt x="35" y="37"/>
                    </a:lnTo>
                    <a:lnTo>
                      <a:pt x="38" y="33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17"/>
                    </a:lnTo>
                    <a:lnTo>
                      <a:pt x="40" y="9"/>
                    </a:lnTo>
                    <a:lnTo>
                      <a:pt x="35" y="4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78" name="Freeform 193"/>
              <p:cNvSpPr>
                <a:spLocks/>
              </p:cNvSpPr>
              <p:nvPr userDrawn="1"/>
            </p:nvSpPr>
            <p:spPr bwMode="auto">
              <a:xfrm>
                <a:off x="2714" y="3695"/>
                <a:ext cx="42" cy="42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1" y="0"/>
                  </a:cxn>
                  <a:cxn ang="0">
                    <a:pos x="15" y="0"/>
                  </a:cxn>
                  <a:cxn ang="0">
                    <a:pos x="9" y="5"/>
                  </a:cxn>
                  <a:cxn ang="0">
                    <a:pos x="2" y="9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0" y="23"/>
                  </a:cxn>
                  <a:cxn ang="0">
                    <a:pos x="2" y="32"/>
                  </a:cxn>
                  <a:cxn ang="0">
                    <a:pos x="9" y="38"/>
                  </a:cxn>
                  <a:cxn ang="0">
                    <a:pos x="15" y="42"/>
                  </a:cxn>
                  <a:cxn ang="0">
                    <a:pos x="15" y="42"/>
                  </a:cxn>
                  <a:cxn ang="0">
                    <a:pos x="21" y="42"/>
                  </a:cxn>
                  <a:cxn ang="0">
                    <a:pos x="21" y="42"/>
                  </a:cxn>
                  <a:cxn ang="0">
                    <a:pos x="27" y="42"/>
                  </a:cxn>
                  <a:cxn ang="0">
                    <a:pos x="34" y="38"/>
                  </a:cxn>
                  <a:cxn ang="0">
                    <a:pos x="40" y="34"/>
                  </a:cxn>
                  <a:cxn ang="0">
                    <a:pos x="42" y="27"/>
                  </a:cxn>
                  <a:cxn ang="0">
                    <a:pos x="42" y="27"/>
                  </a:cxn>
                  <a:cxn ang="0">
                    <a:pos x="42" y="17"/>
                  </a:cxn>
                  <a:cxn ang="0">
                    <a:pos x="40" y="11"/>
                  </a:cxn>
                  <a:cxn ang="0">
                    <a:pos x="34" y="5"/>
                  </a:cxn>
                  <a:cxn ang="0">
                    <a:pos x="27" y="0"/>
                  </a:cxn>
                  <a:cxn ang="0">
                    <a:pos x="27" y="0"/>
                  </a:cxn>
                  <a:cxn ang="0">
                    <a:pos x="21" y="0"/>
                  </a:cxn>
                </a:cxnLst>
                <a:rect l="0" t="0" r="r" b="b"/>
                <a:pathLst>
                  <a:path w="42" h="42">
                    <a:moveTo>
                      <a:pt x="21" y="0"/>
                    </a:moveTo>
                    <a:lnTo>
                      <a:pt x="21" y="0"/>
                    </a:lnTo>
                    <a:lnTo>
                      <a:pt x="15" y="0"/>
                    </a:lnTo>
                    <a:lnTo>
                      <a:pt x="9" y="5"/>
                    </a:lnTo>
                    <a:lnTo>
                      <a:pt x="2" y="9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0" y="23"/>
                    </a:lnTo>
                    <a:lnTo>
                      <a:pt x="2" y="32"/>
                    </a:lnTo>
                    <a:lnTo>
                      <a:pt x="9" y="38"/>
                    </a:lnTo>
                    <a:lnTo>
                      <a:pt x="15" y="42"/>
                    </a:lnTo>
                    <a:lnTo>
                      <a:pt x="15" y="42"/>
                    </a:lnTo>
                    <a:lnTo>
                      <a:pt x="21" y="42"/>
                    </a:lnTo>
                    <a:lnTo>
                      <a:pt x="21" y="42"/>
                    </a:lnTo>
                    <a:lnTo>
                      <a:pt x="27" y="42"/>
                    </a:lnTo>
                    <a:lnTo>
                      <a:pt x="34" y="38"/>
                    </a:lnTo>
                    <a:lnTo>
                      <a:pt x="40" y="34"/>
                    </a:lnTo>
                    <a:lnTo>
                      <a:pt x="42" y="27"/>
                    </a:lnTo>
                    <a:lnTo>
                      <a:pt x="42" y="27"/>
                    </a:lnTo>
                    <a:lnTo>
                      <a:pt x="42" y="17"/>
                    </a:lnTo>
                    <a:lnTo>
                      <a:pt x="40" y="11"/>
                    </a:lnTo>
                    <a:lnTo>
                      <a:pt x="34" y="5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79" name="Freeform 194"/>
              <p:cNvSpPr>
                <a:spLocks/>
              </p:cNvSpPr>
              <p:nvPr userDrawn="1"/>
            </p:nvSpPr>
            <p:spPr bwMode="auto">
              <a:xfrm>
                <a:off x="2714" y="3695"/>
                <a:ext cx="42" cy="42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1" y="0"/>
                  </a:cxn>
                  <a:cxn ang="0">
                    <a:pos x="15" y="0"/>
                  </a:cxn>
                  <a:cxn ang="0">
                    <a:pos x="9" y="5"/>
                  </a:cxn>
                  <a:cxn ang="0">
                    <a:pos x="2" y="9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0" y="23"/>
                  </a:cxn>
                  <a:cxn ang="0">
                    <a:pos x="2" y="32"/>
                  </a:cxn>
                  <a:cxn ang="0">
                    <a:pos x="9" y="38"/>
                  </a:cxn>
                  <a:cxn ang="0">
                    <a:pos x="15" y="42"/>
                  </a:cxn>
                  <a:cxn ang="0">
                    <a:pos x="15" y="42"/>
                  </a:cxn>
                  <a:cxn ang="0">
                    <a:pos x="21" y="42"/>
                  </a:cxn>
                  <a:cxn ang="0">
                    <a:pos x="21" y="42"/>
                  </a:cxn>
                  <a:cxn ang="0">
                    <a:pos x="27" y="42"/>
                  </a:cxn>
                  <a:cxn ang="0">
                    <a:pos x="34" y="38"/>
                  </a:cxn>
                  <a:cxn ang="0">
                    <a:pos x="40" y="34"/>
                  </a:cxn>
                  <a:cxn ang="0">
                    <a:pos x="42" y="27"/>
                  </a:cxn>
                  <a:cxn ang="0">
                    <a:pos x="42" y="27"/>
                  </a:cxn>
                  <a:cxn ang="0">
                    <a:pos x="42" y="17"/>
                  </a:cxn>
                  <a:cxn ang="0">
                    <a:pos x="40" y="11"/>
                  </a:cxn>
                  <a:cxn ang="0">
                    <a:pos x="34" y="5"/>
                  </a:cxn>
                  <a:cxn ang="0">
                    <a:pos x="27" y="0"/>
                  </a:cxn>
                  <a:cxn ang="0">
                    <a:pos x="27" y="0"/>
                  </a:cxn>
                  <a:cxn ang="0">
                    <a:pos x="21" y="0"/>
                  </a:cxn>
                </a:cxnLst>
                <a:rect l="0" t="0" r="r" b="b"/>
                <a:pathLst>
                  <a:path w="42" h="42">
                    <a:moveTo>
                      <a:pt x="21" y="0"/>
                    </a:moveTo>
                    <a:lnTo>
                      <a:pt x="21" y="0"/>
                    </a:lnTo>
                    <a:lnTo>
                      <a:pt x="15" y="0"/>
                    </a:lnTo>
                    <a:lnTo>
                      <a:pt x="9" y="5"/>
                    </a:lnTo>
                    <a:lnTo>
                      <a:pt x="2" y="9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0" y="23"/>
                    </a:lnTo>
                    <a:lnTo>
                      <a:pt x="2" y="32"/>
                    </a:lnTo>
                    <a:lnTo>
                      <a:pt x="9" y="38"/>
                    </a:lnTo>
                    <a:lnTo>
                      <a:pt x="15" y="42"/>
                    </a:lnTo>
                    <a:lnTo>
                      <a:pt x="15" y="42"/>
                    </a:lnTo>
                    <a:lnTo>
                      <a:pt x="21" y="42"/>
                    </a:lnTo>
                    <a:lnTo>
                      <a:pt x="21" y="42"/>
                    </a:lnTo>
                    <a:lnTo>
                      <a:pt x="27" y="42"/>
                    </a:lnTo>
                    <a:lnTo>
                      <a:pt x="34" y="38"/>
                    </a:lnTo>
                    <a:lnTo>
                      <a:pt x="40" y="34"/>
                    </a:lnTo>
                    <a:lnTo>
                      <a:pt x="42" y="27"/>
                    </a:lnTo>
                    <a:lnTo>
                      <a:pt x="42" y="27"/>
                    </a:lnTo>
                    <a:lnTo>
                      <a:pt x="42" y="17"/>
                    </a:lnTo>
                    <a:lnTo>
                      <a:pt x="40" y="11"/>
                    </a:lnTo>
                    <a:lnTo>
                      <a:pt x="34" y="5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80" name="Freeform 195"/>
              <p:cNvSpPr>
                <a:spLocks/>
              </p:cNvSpPr>
              <p:nvPr userDrawn="1"/>
            </p:nvSpPr>
            <p:spPr bwMode="auto">
              <a:xfrm>
                <a:off x="2786" y="3791"/>
                <a:ext cx="36" cy="42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2"/>
                  </a:cxn>
                  <a:cxn ang="0">
                    <a:pos x="6" y="5"/>
                  </a:cxn>
                  <a:cxn ang="0">
                    <a:pos x="2" y="9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2" y="31"/>
                  </a:cxn>
                  <a:cxn ang="0">
                    <a:pos x="6" y="38"/>
                  </a:cxn>
                  <a:cxn ang="0">
                    <a:pos x="14" y="42"/>
                  </a:cxn>
                  <a:cxn ang="0">
                    <a:pos x="14" y="42"/>
                  </a:cxn>
                  <a:cxn ang="0">
                    <a:pos x="18" y="42"/>
                  </a:cxn>
                  <a:cxn ang="0">
                    <a:pos x="18" y="42"/>
                  </a:cxn>
                  <a:cxn ang="0">
                    <a:pos x="24" y="40"/>
                  </a:cxn>
                  <a:cxn ang="0">
                    <a:pos x="30" y="38"/>
                  </a:cxn>
                  <a:cxn ang="0">
                    <a:pos x="34" y="33"/>
                  </a:cxn>
                  <a:cxn ang="0">
                    <a:pos x="36" y="27"/>
                  </a:cxn>
                  <a:cxn ang="0">
                    <a:pos x="36" y="27"/>
                  </a:cxn>
                  <a:cxn ang="0">
                    <a:pos x="36" y="18"/>
                  </a:cxn>
                  <a:cxn ang="0">
                    <a:pos x="34" y="11"/>
                  </a:cxn>
                  <a:cxn ang="0">
                    <a:pos x="30" y="5"/>
                  </a:cxn>
                  <a:cxn ang="0">
                    <a:pos x="24" y="0"/>
                  </a:cxn>
                  <a:cxn ang="0">
                    <a:pos x="24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42">
                    <a:moveTo>
                      <a:pt x="18" y="0"/>
                    </a:moveTo>
                    <a:lnTo>
                      <a:pt x="18" y="0"/>
                    </a:lnTo>
                    <a:lnTo>
                      <a:pt x="12" y="2"/>
                    </a:lnTo>
                    <a:lnTo>
                      <a:pt x="6" y="5"/>
                    </a:lnTo>
                    <a:lnTo>
                      <a:pt x="2" y="9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2" y="31"/>
                    </a:lnTo>
                    <a:lnTo>
                      <a:pt x="6" y="38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24" y="40"/>
                    </a:lnTo>
                    <a:lnTo>
                      <a:pt x="30" y="38"/>
                    </a:lnTo>
                    <a:lnTo>
                      <a:pt x="34" y="33"/>
                    </a:lnTo>
                    <a:lnTo>
                      <a:pt x="36" y="27"/>
                    </a:lnTo>
                    <a:lnTo>
                      <a:pt x="36" y="27"/>
                    </a:lnTo>
                    <a:lnTo>
                      <a:pt x="36" y="18"/>
                    </a:lnTo>
                    <a:lnTo>
                      <a:pt x="34" y="11"/>
                    </a:lnTo>
                    <a:lnTo>
                      <a:pt x="30" y="5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81" name="Freeform 196"/>
              <p:cNvSpPr>
                <a:spLocks/>
              </p:cNvSpPr>
              <p:nvPr userDrawn="1"/>
            </p:nvSpPr>
            <p:spPr bwMode="auto">
              <a:xfrm>
                <a:off x="2786" y="3791"/>
                <a:ext cx="36" cy="42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2"/>
                  </a:cxn>
                  <a:cxn ang="0">
                    <a:pos x="6" y="5"/>
                  </a:cxn>
                  <a:cxn ang="0">
                    <a:pos x="2" y="9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2" y="31"/>
                  </a:cxn>
                  <a:cxn ang="0">
                    <a:pos x="6" y="38"/>
                  </a:cxn>
                  <a:cxn ang="0">
                    <a:pos x="14" y="42"/>
                  </a:cxn>
                  <a:cxn ang="0">
                    <a:pos x="14" y="42"/>
                  </a:cxn>
                  <a:cxn ang="0">
                    <a:pos x="18" y="42"/>
                  </a:cxn>
                  <a:cxn ang="0">
                    <a:pos x="18" y="42"/>
                  </a:cxn>
                  <a:cxn ang="0">
                    <a:pos x="24" y="40"/>
                  </a:cxn>
                  <a:cxn ang="0">
                    <a:pos x="30" y="38"/>
                  </a:cxn>
                  <a:cxn ang="0">
                    <a:pos x="34" y="33"/>
                  </a:cxn>
                  <a:cxn ang="0">
                    <a:pos x="36" y="27"/>
                  </a:cxn>
                  <a:cxn ang="0">
                    <a:pos x="36" y="27"/>
                  </a:cxn>
                  <a:cxn ang="0">
                    <a:pos x="36" y="18"/>
                  </a:cxn>
                  <a:cxn ang="0">
                    <a:pos x="34" y="11"/>
                  </a:cxn>
                  <a:cxn ang="0">
                    <a:pos x="30" y="5"/>
                  </a:cxn>
                  <a:cxn ang="0">
                    <a:pos x="24" y="0"/>
                  </a:cxn>
                  <a:cxn ang="0">
                    <a:pos x="24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42">
                    <a:moveTo>
                      <a:pt x="18" y="0"/>
                    </a:moveTo>
                    <a:lnTo>
                      <a:pt x="18" y="0"/>
                    </a:lnTo>
                    <a:lnTo>
                      <a:pt x="12" y="2"/>
                    </a:lnTo>
                    <a:lnTo>
                      <a:pt x="6" y="5"/>
                    </a:lnTo>
                    <a:lnTo>
                      <a:pt x="2" y="9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2" y="31"/>
                    </a:lnTo>
                    <a:lnTo>
                      <a:pt x="6" y="38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24" y="40"/>
                    </a:lnTo>
                    <a:lnTo>
                      <a:pt x="30" y="38"/>
                    </a:lnTo>
                    <a:lnTo>
                      <a:pt x="34" y="33"/>
                    </a:lnTo>
                    <a:lnTo>
                      <a:pt x="36" y="27"/>
                    </a:lnTo>
                    <a:lnTo>
                      <a:pt x="36" y="27"/>
                    </a:lnTo>
                    <a:lnTo>
                      <a:pt x="36" y="18"/>
                    </a:lnTo>
                    <a:lnTo>
                      <a:pt x="34" y="11"/>
                    </a:lnTo>
                    <a:lnTo>
                      <a:pt x="30" y="5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82" name="Freeform 197"/>
              <p:cNvSpPr>
                <a:spLocks/>
              </p:cNvSpPr>
              <p:nvPr userDrawn="1"/>
            </p:nvSpPr>
            <p:spPr bwMode="auto">
              <a:xfrm>
                <a:off x="2870" y="3881"/>
                <a:ext cx="36" cy="30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1" y="2"/>
                  </a:cxn>
                  <a:cxn ang="0">
                    <a:pos x="7" y="4"/>
                  </a:cxn>
                  <a:cxn ang="0">
                    <a:pos x="2" y="7"/>
                  </a:cxn>
                  <a:cxn ang="0">
                    <a:pos x="0" y="11"/>
                  </a:cxn>
                  <a:cxn ang="0">
                    <a:pos x="0" y="11"/>
                  </a:cxn>
                  <a:cxn ang="0">
                    <a:pos x="0" y="18"/>
                  </a:cxn>
                  <a:cxn ang="0">
                    <a:pos x="2" y="23"/>
                  </a:cxn>
                  <a:cxn ang="0">
                    <a:pos x="7" y="27"/>
                  </a:cxn>
                  <a:cxn ang="0">
                    <a:pos x="14" y="30"/>
                  </a:cxn>
                  <a:cxn ang="0">
                    <a:pos x="14" y="30"/>
                  </a:cxn>
                  <a:cxn ang="0">
                    <a:pos x="18" y="30"/>
                  </a:cxn>
                  <a:cxn ang="0">
                    <a:pos x="18" y="30"/>
                  </a:cxn>
                  <a:cxn ang="0">
                    <a:pos x="25" y="29"/>
                  </a:cxn>
                  <a:cxn ang="0">
                    <a:pos x="29" y="27"/>
                  </a:cxn>
                  <a:cxn ang="0">
                    <a:pos x="34" y="23"/>
                  </a:cxn>
                  <a:cxn ang="0">
                    <a:pos x="36" y="20"/>
                  </a:cxn>
                  <a:cxn ang="0">
                    <a:pos x="36" y="20"/>
                  </a:cxn>
                  <a:cxn ang="0">
                    <a:pos x="36" y="12"/>
                  </a:cxn>
                  <a:cxn ang="0">
                    <a:pos x="34" y="7"/>
                  </a:cxn>
                  <a:cxn ang="0">
                    <a:pos x="29" y="4"/>
                  </a:cxn>
                  <a:cxn ang="0">
                    <a:pos x="23" y="0"/>
                  </a:cxn>
                  <a:cxn ang="0">
                    <a:pos x="23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0">
                    <a:moveTo>
                      <a:pt x="18" y="0"/>
                    </a:moveTo>
                    <a:lnTo>
                      <a:pt x="18" y="0"/>
                    </a:lnTo>
                    <a:lnTo>
                      <a:pt x="11" y="2"/>
                    </a:lnTo>
                    <a:lnTo>
                      <a:pt x="7" y="4"/>
                    </a:lnTo>
                    <a:lnTo>
                      <a:pt x="2" y="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18"/>
                    </a:lnTo>
                    <a:lnTo>
                      <a:pt x="2" y="23"/>
                    </a:lnTo>
                    <a:lnTo>
                      <a:pt x="7" y="27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5" y="29"/>
                    </a:lnTo>
                    <a:lnTo>
                      <a:pt x="29" y="27"/>
                    </a:lnTo>
                    <a:lnTo>
                      <a:pt x="34" y="23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12"/>
                    </a:lnTo>
                    <a:lnTo>
                      <a:pt x="34" y="7"/>
                    </a:lnTo>
                    <a:lnTo>
                      <a:pt x="29" y="4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83" name="Freeform 198"/>
              <p:cNvSpPr>
                <a:spLocks/>
              </p:cNvSpPr>
              <p:nvPr userDrawn="1"/>
            </p:nvSpPr>
            <p:spPr bwMode="auto">
              <a:xfrm>
                <a:off x="2870" y="3881"/>
                <a:ext cx="36" cy="30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1" y="2"/>
                  </a:cxn>
                  <a:cxn ang="0">
                    <a:pos x="7" y="4"/>
                  </a:cxn>
                  <a:cxn ang="0">
                    <a:pos x="2" y="7"/>
                  </a:cxn>
                  <a:cxn ang="0">
                    <a:pos x="0" y="11"/>
                  </a:cxn>
                  <a:cxn ang="0">
                    <a:pos x="0" y="11"/>
                  </a:cxn>
                  <a:cxn ang="0">
                    <a:pos x="0" y="18"/>
                  </a:cxn>
                  <a:cxn ang="0">
                    <a:pos x="2" y="23"/>
                  </a:cxn>
                  <a:cxn ang="0">
                    <a:pos x="7" y="27"/>
                  </a:cxn>
                  <a:cxn ang="0">
                    <a:pos x="14" y="30"/>
                  </a:cxn>
                  <a:cxn ang="0">
                    <a:pos x="14" y="30"/>
                  </a:cxn>
                  <a:cxn ang="0">
                    <a:pos x="18" y="30"/>
                  </a:cxn>
                  <a:cxn ang="0">
                    <a:pos x="18" y="30"/>
                  </a:cxn>
                  <a:cxn ang="0">
                    <a:pos x="25" y="29"/>
                  </a:cxn>
                  <a:cxn ang="0">
                    <a:pos x="29" y="27"/>
                  </a:cxn>
                  <a:cxn ang="0">
                    <a:pos x="34" y="23"/>
                  </a:cxn>
                  <a:cxn ang="0">
                    <a:pos x="36" y="20"/>
                  </a:cxn>
                  <a:cxn ang="0">
                    <a:pos x="36" y="20"/>
                  </a:cxn>
                  <a:cxn ang="0">
                    <a:pos x="36" y="12"/>
                  </a:cxn>
                  <a:cxn ang="0">
                    <a:pos x="34" y="7"/>
                  </a:cxn>
                  <a:cxn ang="0">
                    <a:pos x="29" y="4"/>
                  </a:cxn>
                  <a:cxn ang="0">
                    <a:pos x="23" y="0"/>
                  </a:cxn>
                  <a:cxn ang="0">
                    <a:pos x="23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0">
                    <a:moveTo>
                      <a:pt x="18" y="0"/>
                    </a:moveTo>
                    <a:lnTo>
                      <a:pt x="18" y="0"/>
                    </a:lnTo>
                    <a:lnTo>
                      <a:pt x="11" y="2"/>
                    </a:lnTo>
                    <a:lnTo>
                      <a:pt x="7" y="4"/>
                    </a:lnTo>
                    <a:lnTo>
                      <a:pt x="2" y="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18"/>
                    </a:lnTo>
                    <a:lnTo>
                      <a:pt x="2" y="23"/>
                    </a:lnTo>
                    <a:lnTo>
                      <a:pt x="7" y="27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5" y="29"/>
                    </a:lnTo>
                    <a:lnTo>
                      <a:pt x="29" y="27"/>
                    </a:lnTo>
                    <a:lnTo>
                      <a:pt x="34" y="23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12"/>
                    </a:lnTo>
                    <a:lnTo>
                      <a:pt x="34" y="7"/>
                    </a:lnTo>
                    <a:lnTo>
                      <a:pt x="29" y="4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84" name="Freeform 199"/>
              <p:cNvSpPr>
                <a:spLocks/>
              </p:cNvSpPr>
              <p:nvPr userDrawn="1"/>
            </p:nvSpPr>
            <p:spPr bwMode="auto">
              <a:xfrm>
                <a:off x="2972" y="3947"/>
                <a:ext cx="30" cy="3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0"/>
                  </a:cxn>
                  <a:cxn ang="0">
                    <a:pos x="6" y="4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6" y="28"/>
                  </a:cxn>
                  <a:cxn ang="0">
                    <a:pos x="12" y="30"/>
                  </a:cxn>
                  <a:cxn ang="0">
                    <a:pos x="12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20" y="30"/>
                  </a:cxn>
                  <a:cxn ang="0">
                    <a:pos x="24" y="28"/>
                  </a:cxn>
                  <a:cxn ang="0">
                    <a:pos x="28" y="24"/>
                  </a:cxn>
                  <a:cxn ang="0">
                    <a:pos x="30" y="20"/>
                  </a:cxn>
                  <a:cxn ang="0">
                    <a:pos x="30" y="20"/>
                  </a:cxn>
                  <a:cxn ang="0">
                    <a:pos x="30" y="12"/>
                  </a:cxn>
                  <a:cxn ang="0">
                    <a:pos x="28" y="8"/>
                  </a:cxn>
                  <a:cxn ang="0">
                    <a:pos x="24" y="4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6" y="0"/>
                  </a:cxn>
                </a:cxnLst>
                <a:rect l="0" t="0" r="r" b="b"/>
                <a:pathLst>
                  <a:path w="30" h="30">
                    <a:moveTo>
                      <a:pt x="16" y="0"/>
                    </a:moveTo>
                    <a:lnTo>
                      <a:pt x="16" y="0"/>
                    </a:lnTo>
                    <a:lnTo>
                      <a:pt x="10" y="0"/>
                    </a:lnTo>
                    <a:lnTo>
                      <a:pt x="6" y="4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6" y="28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20" y="30"/>
                    </a:lnTo>
                    <a:lnTo>
                      <a:pt x="24" y="28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12"/>
                    </a:lnTo>
                    <a:lnTo>
                      <a:pt x="28" y="8"/>
                    </a:lnTo>
                    <a:lnTo>
                      <a:pt x="24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85" name="Freeform 200"/>
              <p:cNvSpPr>
                <a:spLocks/>
              </p:cNvSpPr>
              <p:nvPr userDrawn="1"/>
            </p:nvSpPr>
            <p:spPr bwMode="auto">
              <a:xfrm>
                <a:off x="2972" y="3947"/>
                <a:ext cx="30" cy="3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0"/>
                  </a:cxn>
                  <a:cxn ang="0">
                    <a:pos x="6" y="4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6" y="28"/>
                  </a:cxn>
                  <a:cxn ang="0">
                    <a:pos x="12" y="30"/>
                  </a:cxn>
                  <a:cxn ang="0">
                    <a:pos x="12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20" y="30"/>
                  </a:cxn>
                  <a:cxn ang="0">
                    <a:pos x="24" y="28"/>
                  </a:cxn>
                  <a:cxn ang="0">
                    <a:pos x="28" y="24"/>
                  </a:cxn>
                  <a:cxn ang="0">
                    <a:pos x="30" y="20"/>
                  </a:cxn>
                  <a:cxn ang="0">
                    <a:pos x="30" y="20"/>
                  </a:cxn>
                  <a:cxn ang="0">
                    <a:pos x="30" y="12"/>
                  </a:cxn>
                  <a:cxn ang="0">
                    <a:pos x="28" y="8"/>
                  </a:cxn>
                  <a:cxn ang="0">
                    <a:pos x="24" y="4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6" y="0"/>
                  </a:cxn>
                </a:cxnLst>
                <a:rect l="0" t="0" r="r" b="b"/>
                <a:pathLst>
                  <a:path w="30" h="30">
                    <a:moveTo>
                      <a:pt x="16" y="0"/>
                    </a:moveTo>
                    <a:lnTo>
                      <a:pt x="16" y="0"/>
                    </a:lnTo>
                    <a:lnTo>
                      <a:pt x="10" y="0"/>
                    </a:lnTo>
                    <a:lnTo>
                      <a:pt x="6" y="4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6" y="28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20" y="30"/>
                    </a:lnTo>
                    <a:lnTo>
                      <a:pt x="24" y="28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12"/>
                    </a:lnTo>
                    <a:lnTo>
                      <a:pt x="28" y="8"/>
                    </a:lnTo>
                    <a:lnTo>
                      <a:pt x="24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86" name="Freeform 201"/>
              <p:cNvSpPr>
                <a:spLocks/>
              </p:cNvSpPr>
              <p:nvPr userDrawn="1"/>
            </p:nvSpPr>
            <p:spPr bwMode="auto">
              <a:xfrm>
                <a:off x="3080" y="4001"/>
                <a:ext cx="24" cy="24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13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0" y="15"/>
                  </a:cxn>
                  <a:cxn ang="0">
                    <a:pos x="2" y="19"/>
                  </a:cxn>
                  <a:cxn ang="0">
                    <a:pos x="4" y="23"/>
                  </a:cxn>
                  <a:cxn ang="0">
                    <a:pos x="9" y="24"/>
                  </a:cxn>
                  <a:cxn ang="0">
                    <a:pos x="9" y="24"/>
                  </a:cxn>
                  <a:cxn ang="0">
                    <a:pos x="13" y="24"/>
                  </a:cxn>
                  <a:cxn ang="0">
                    <a:pos x="13" y="24"/>
                  </a:cxn>
                  <a:cxn ang="0">
                    <a:pos x="17" y="24"/>
                  </a:cxn>
                  <a:cxn ang="0">
                    <a:pos x="21" y="23"/>
                  </a:cxn>
                  <a:cxn ang="0">
                    <a:pos x="23" y="19"/>
                  </a:cxn>
                  <a:cxn ang="0">
                    <a:pos x="24" y="15"/>
                  </a:cxn>
                  <a:cxn ang="0">
                    <a:pos x="24" y="15"/>
                  </a:cxn>
                  <a:cxn ang="0">
                    <a:pos x="24" y="11"/>
                  </a:cxn>
                  <a:cxn ang="0">
                    <a:pos x="23" y="6"/>
                  </a:cxn>
                  <a:cxn ang="0">
                    <a:pos x="21" y="2"/>
                  </a:cxn>
                  <a:cxn ang="0">
                    <a:pos x="15" y="0"/>
                  </a:cxn>
                  <a:cxn ang="0">
                    <a:pos x="15" y="0"/>
                  </a:cxn>
                  <a:cxn ang="0">
                    <a:pos x="13" y="0"/>
                  </a:cxn>
                </a:cxnLst>
                <a:rect l="0" t="0" r="r" b="b"/>
                <a:pathLst>
                  <a:path w="24" h="24">
                    <a:moveTo>
                      <a:pt x="13" y="0"/>
                    </a:moveTo>
                    <a:lnTo>
                      <a:pt x="13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15"/>
                    </a:lnTo>
                    <a:lnTo>
                      <a:pt x="2" y="19"/>
                    </a:lnTo>
                    <a:lnTo>
                      <a:pt x="4" y="23"/>
                    </a:lnTo>
                    <a:lnTo>
                      <a:pt x="9" y="24"/>
                    </a:lnTo>
                    <a:lnTo>
                      <a:pt x="9" y="24"/>
                    </a:lnTo>
                    <a:lnTo>
                      <a:pt x="13" y="24"/>
                    </a:lnTo>
                    <a:lnTo>
                      <a:pt x="13" y="24"/>
                    </a:lnTo>
                    <a:lnTo>
                      <a:pt x="17" y="24"/>
                    </a:lnTo>
                    <a:lnTo>
                      <a:pt x="21" y="23"/>
                    </a:lnTo>
                    <a:lnTo>
                      <a:pt x="23" y="19"/>
                    </a:lnTo>
                    <a:lnTo>
                      <a:pt x="24" y="15"/>
                    </a:lnTo>
                    <a:lnTo>
                      <a:pt x="24" y="15"/>
                    </a:lnTo>
                    <a:lnTo>
                      <a:pt x="24" y="11"/>
                    </a:lnTo>
                    <a:lnTo>
                      <a:pt x="23" y="6"/>
                    </a:lnTo>
                    <a:lnTo>
                      <a:pt x="21" y="2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87" name="Freeform 202"/>
              <p:cNvSpPr>
                <a:spLocks/>
              </p:cNvSpPr>
              <p:nvPr userDrawn="1"/>
            </p:nvSpPr>
            <p:spPr bwMode="auto">
              <a:xfrm>
                <a:off x="3080" y="4001"/>
                <a:ext cx="24" cy="24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13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0" y="15"/>
                  </a:cxn>
                  <a:cxn ang="0">
                    <a:pos x="2" y="19"/>
                  </a:cxn>
                  <a:cxn ang="0">
                    <a:pos x="4" y="23"/>
                  </a:cxn>
                  <a:cxn ang="0">
                    <a:pos x="9" y="24"/>
                  </a:cxn>
                  <a:cxn ang="0">
                    <a:pos x="9" y="24"/>
                  </a:cxn>
                  <a:cxn ang="0">
                    <a:pos x="13" y="24"/>
                  </a:cxn>
                  <a:cxn ang="0">
                    <a:pos x="13" y="24"/>
                  </a:cxn>
                  <a:cxn ang="0">
                    <a:pos x="17" y="24"/>
                  </a:cxn>
                  <a:cxn ang="0">
                    <a:pos x="21" y="23"/>
                  </a:cxn>
                  <a:cxn ang="0">
                    <a:pos x="23" y="19"/>
                  </a:cxn>
                  <a:cxn ang="0">
                    <a:pos x="24" y="15"/>
                  </a:cxn>
                  <a:cxn ang="0">
                    <a:pos x="24" y="15"/>
                  </a:cxn>
                  <a:cxn ang="0">
                    <a:pos x="24" y="11"/>
                  </a:cxn>
                  <a:cxn ang="0">
                    <a:pos x="23" y="6"/>
                  </a:cxn>
                  <a:cxn ang="0">
                    <a:pos x="21" y="2"/>
                  </a:cxn>
                  <a:cxn ang="0">
                    <a:pos x="15" y="0"/>
                  </a:cxn>
                  <a:cxn ang="0">
                    <a:pos x="15" y="0"/>
                  </a:cxn>
                  <a:cxn ang="0">
                    <a:pos x="13" y="0"/>
                  </a:cxn>
                </a:cxnLst>
                <a:rect l="0" t="0" r="r" b="b"/>
                <a:pathLst>
                  <a:path w="24" h="24">
                    <a:moveTo>
                      <a:pt x="13" y="0"/>
                    </a:moveTo>
                    <a:lnTo>
                      <a:pt x="13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15"/>
                    </a:lnTo>
                    <a:lnTo>
                      <a:pt x="2" y="19"/>
                    </a:lnTo>
                    <a:lnTo>
                      <a:pt x="4" y="23"/>
                    </a:lnTo>
                    <a:lnTo>
                      <a:pt x="9" y="24"/>
                    </a:lnTo>
                    <a:lnTo>
                      <a:pt x="9" y="24"/>
                    </a:lnTo>
                    <a:lnTo>
                      <a:pt x="13" y="24"/>
                    </a:lnTo>
                    <a:lnTo>
                      <a:pt x="13" y="24"/>
                    </a:lnTo>
                    <a:lnTo>
                      <a:pt x="17" y="24"/>
                    </a:lnTo>
                    <a:lnTo>
                      <a:pt x="21" y="23"/>
                    </a:lnTo>
                    <a:lnTo>
                      <a:pt x="23" y="19"/>
                    </a:lnTo>
                    <a:lnTo>
                      <a:pt x="24" y="15"/>
                    </a:lnTo>
                    <a:lnTo>
                      <a:pt x="24" y="15"/>
                    </a:lnTo>
                    <a:lnTo>
                      <a:pt x="24" y="11"/>
                    </a:lnTo>
                    <a:lnTo>
                      <a:pt x="23" y="6"/>
                    </a:lnTo>
                    <a:lnTo>
                      <a:pt x="21" y="2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88" name="Freeform 203"/>
              <p:cNvSpPr>
                <a:spLocks/>
              </p:cNvSpPr>
              <p:nvPr userDrawn="1"/>
            </p:nvSpPr>
            <p:spPr bwMode="auto">
              <a:xfrm>
                <a:off x="3194" y="4031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4" y="22"/>
                  </a:cxn>
                  <a:cxn ang="0">
                    <a:pos x="8" y="24"/>
                  </a:cxn>
                  <a:cxn ang="0">
                    <a:pos x="8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2" y="18"/>
                  </a:cxn>
                  <a:cxn ang="0">
                    <a:pos x="24" y="16"/>
                  </a:cxn>
                  <a:cxn ang="0">
                    <a:pos x="24" y="16"/>
                  </a:cxn>
                  <a:cxn ang="0">
                    <a:pos x="24" y="10"/>
                  </a:cxn>
                  <a:cxn ang="0">
                    <a:pos x="22" y="6"/>
                  </a:cxn>
                  <a:cxn ang="0">
                    <a:pos x="20" y="2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4" y="22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2" y="18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0"/>
                    </a:lnTo>
                    <a:lnTo>
                      <a:pt x="22" y="6"/>
                    </a:lnTo>
                    <a:lnTo>
                      <a:pt x="20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89" name="Freeform 204"/>
              <p:cNvSpPr>
                <a:spLocks/>
              </p:cNvSpPr>
              <p:nvPr userDrawn="1"/>
            </p:nvSpPr>
            <p:spPr bwMode="auto">
              <a:xfrm>
                <a:off x="3194" y="4031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4" y="22"/>
                  </a:cxn>
                  <a:cxn ang="0">
                    <a:pos x="8" y="24"/>
                  </a:cxn>
                  <a:cxn ang="0">
                    <a:pos x="8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2" y="18"/>
                  </a:cxn>
                  <a:cxn ang="0">
                    <a:pos x="24" y="16"/>
                  </a:cxn>
                  <a:cxn ang="0">
                    <a:pos x="24" y="16"/>
                  </a:cxn>
                  <a:cxn ang="0">
                    <a:pos x="24" y="10"/>
                  </a:cxn>
                  <a:cxn ang="0">
                    <a:pos x="22" y="6"/>
                  </a:cxn>
                  <a:cxn ang="0">
                    <a:pos x="20" y="2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4" y="22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2" y="18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0"/>
                    </a:lnTo>
                    <a:lnTo>
                      <a:pt x="22" y="6"/>
                    </a:lnTo>
                    <a:lnTo>
                      <a:pt x="20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579" name="Group 406"/>
            <p:cNvGrpSpPr>
              <a:grpSpLocks/>
            </p:cNvGrpSpPr>
            <p:nvPr userDrawn="1"/>
          </p:nvGrpSpPr>
          <p:grpSpPr bwMode="auto">
            <a:xfrm>
              <a:off x="4327526" y="4437063"/>
              <a:ext cx="1619250" cy="1857375"/>
              <a:chOff x="2726" y="2795"/>
              <a:chExt cx="1020" cy="1170"/>
            </a:xfrm>
            <a:grpFill/>
          </p:grpSpPr>
          <p:sp>
            <p:nvSpPr>
              <p:cNvPr id="1295" name="Freeform 206"/>
              <p:cNvSpPr>
                <a:spLocks/>
              </p:cNvSpPr>
              <p:nvPr userDrawn="1"/>
            </p:nvSpPr>
            <p:spPr bwMode="auto">
              <a:xfrm>
                <a:off x="2732" y="3449"/>
                <a:ext cx="48" cy="54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7" y="2"/>
                  </a:cxn>
                  <a:cxn ang="0">
                    <a:pos x="17" y="2"/>
                  </a:cxn>
                  <a:cxn ang="0">
                    <a:pos x="9" y="6"/>
                  </a:cxn>
                  <a:cxn ang="0">
                    <a:pos x="2" y="14"/>
                  </a:cxn>
                  <a:cxn ang="0">
                    <a:pos x="0" y="24"/>
                  </a:cxn>
                  <a:cxn ang="0">
                    <a:pos x="0" y="34"/>
                  </a:cxn>
                  <a:cxn ang="0">
                    <a:pos x="0" y="34"/>
                  </a:cxn>
                  <a:cxn ang="0">
                    <a:pos x="4" y="42"/>
                  </a:cxn>
                  <a:cxn ang="0">
                    <a:pos x="9" y="50"/>
                  </a:cxn>
                  <a:cxn ang="0">
                    <a:pos x="17" y="54"/>
                  </a:cxn>
                  <a:cxn ang="0">
                    <a:pos x="24" y="54"/>
                  </a:cxn>
                  <a:cxn ang="0">
                    <a:pos x="24" y="54"/>
                  </a:cxn>
                  <a:cxn ang="0">
                    <a:pos x="30" y="54"/>
                  </a:cxn>
                  <a:cxn ang="0">
                    <a:pos x="30" y="54"/>
                  </a:cxn>
                  <a:cxn ang="0">
                    <a:pos x="39" y="48"/>
                  </a:cxn>
                  <a:cxn ang="0">
                    <a:pos x="47" y="42"/>
                  </a:cxn>
                  <a:cxn ang="0">
                    <a:pos x="48" y="32"/>
                  </a:cxn>
                  <a:cxn ang="0">
                    <a:pos x="48" y="20"/>
                  </a:cxn>
                  <a:cxn ang="0">
                    <a:pos x="48" y="20"/>
                  </a:cxn>
                  <a:cxn ang="0">
                    <a:pos x="45" y="12"/>
                  </a:cxn>
                  <a:cxn ang="0">
                    <a:pos x="39" y="6"/>
                  </a:cxn>
                  <a:cxn ang="0">
                    <a:pos x="32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54">
                    <a:moveTo>
                      <a:pt x="24" y="0"/>
                    </a:moveTo>
                    <a:lnTo>
                      <a:pt x="24" y="0"/>
                    </a:lnTo>
                    <a:lnTo>
                      <a:pt x="17" y="2"/>
                    </a:lnTo>
                    <a:lnTo>
                      <a:pt x="17" y="2"/>
                    </a:lnTo>
                    <a:lnTo>
                      <a:pt x="9" y="6"/>
                    </a:lnTo>
                    <a:lnTo>
                      <a:pt x="2" y="14"/>
                    </a:lnTo>
                    <a:lnTo>
                      <a:pt x="0" y="2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4" y="42"/>
                    </a:lnTo>
                    <a:lnTo>
                      <a:pt x="9" y="50"/>
                    </a:lnTo>
                    <a:lnTo>
                      <a:pt x="17" y="54"/>
                    </a:lnTo>
                    <a:lnTo>
                      <a:pt x="24" y="54"/>
                    </a:lnTo>
                    <a:lnTo>
                      <a:pt x="24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9" y="48"/>
                    </a:lnTo>
                    <a:lnTo>
                      <a:pt x="47" y="42"/>
                    </a:lnTo>
                    <a:lnTo>
                      <a:pt x="48" y="32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5" y="12"/>
                    </a:lnTo>
                    <a:lnTo>
                      <a:pt x="39" y="6"/>
                    </a:lnTo>
                    <a:lnTo>
                      <a:pt x="32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96" name="Freeform 207"/>
              <p:cNvSpPr>
                <a:spLocks/>
              </p:cNvSpPr>
              <p:nvPr userDrawn="1"/>
            </p:nvSpPr>
            <p:spPr bwMode="auto">
              <a:xfrm>
                <a:off x="2732" y="3449"/>
                <a:ext cx="48" cy="54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7" y="2"/>
                  </a:cxn>
                  <a:cxn ang="0">
                    <a:pos x="17" y="2"/>
                  </a:cxn>
                  <a:cxn ang="0">
                    <a:pos x="9" y="6"/>
                  </a:cxn>
                  <a:cxn ang="0">
                    <a:pos x="2" y="14"/>
                  </a:cxn>
                  <a:cxn ang="0">
                    <a:pos x="0" y="24"/>
                  </a:cxn>
                  <a:cxn ang="0">
                    <a:pos x="0" y="34"/>
                  </a:cxn>
                  <a:cxn ang="0">
                    <a:pos x="0" y="34"/>
                  </a:cxn>
                  <a:cxn ang="0">
                    <a:pos x="4" y="42"/>
                  </a:cxn>
                  <a:cxn ang="0">
                    <a:pos x="9" y="50"/>
                  </a:cxn>
                  <a:cxn ang="0">
                    <a:pos x="17" y="54"/>
                  </a:cxn>
                  <a:cxn ang="0">
                    <a:pos x="24" y="54"/>
                  </a:cxn>
                  <a:cxn ang="0">
                    <a:pos x="24" y="54"/>
                  </a:cxn>
                  <a:cxn ang="0">
                    <a:pos x="30" y="54"/>
                  </a:cxn>
                  <a:cxn ang="0">
                    <a:pos x="30" y="54"/>
                  </a:cxn>
                  <a:cxn ang="0">
                    <a:pos x="39" y="48"/>
                  </a:cxn>
                  <a:cxn ang="0">
                    <a:pos x="47" y="42"/>
                  </a:cxn>
                  <a:cxn ang="0">
                    <a:pos x="48" y="32"/>
                  </a:cxn>
                  <a:cxn ang="0">
                    <a:pos x="48" y="20"/>
                  </a:cxn>
                  <a:cxn ang="0">
                    <a:pos x="48" y="20"/>
                  </a:cxn>
                  <a:cxn ang="0">
                    <a:pos x="45" y="12"/>
                  </a:cxn>
                  <a:cxn ang="0">
                    <a:pos x="39" y="6"/>
                  </a:cxn>
                  <a:cxn ang="0">
                    <a:pos x="32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54">
                    <a:moveTo>
                      <a:pt x="24" y="0"/>
                    </a:moveTo>
                    <a:lnTo>
                      <a:pt x="24" y="0"/>
                    </a:lnTo>
                    <a:lnTo>
                      <a:pt x="17" y="2"/>
                    </a:lnTo>
                    <a:lnTo>
                      <a:pt x="17" y="2"/>
                    </a:lnTo>
                    <a:lnTo>
                      <a:pt x="9" y="6"/>
                    </a:lnTo>
                    <a:lnTo>
                      <a:pt x="2" y="14"/>
                    </a:lnTo>
                    <a:lnTo>
                      <a:pt x="0" y="2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4" y="42"/>
                    </a:lnTo>
                    <a:lnTo>
                      <a:pt x="9" y="50"/>
                    </a:lnTo>
                    <a:lnTo>
                      <a:pt x="17" y="54"/>
                    </a:lnTo>
                    <a:lnTo>
                      <a:pt x="24" y="54"/>
                    </a:lnTo>
                    <a:lnTo>
                      <a:pt x="24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9" y="48"/>
                    </a:lnTo>
                    <a:lnTo>
                      <a:pt x="47" y="42"/>
                    </a:lnTo>
                    <a:lnTo>
                      <a:pt x="48" y="32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5" y="12"/>
                    </a:lnTo>
                    <a:lnTo>
                      <a:pt x="39" y="6"/>
                    </a:lnTo>
                    <a:lnTo>
                      <a:pt x="32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97" name="Freeform 208"/>
              <p:cNvSpPr>
                <a:spLocks/>
              </p:cNvSpPr>
              <p:nvPr userDrawn="1"/>
            </p:nvSpPr>
            <p:spPr bwMode="auto">
              <a:xfrm>
                <a:off x="2726" y="3347"/>
                <a:ext cx="42" cy="54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5" y="2"/>
                  </a:cxn>
                  <a:cxn ang="0">
                    <a:pos x="15" y="2"/>
                  </a:cxn>
                  <a:cxn ang="0">
                    <a:pos x="8" y="7"/>
                  </a:cxn>
                  <a:cxn ang="0">
                    <a:pos x="2" y="15"/>
                  </a:cxn>
                  <a:cxn ang="0">
                    <a:pos x="0" y="24"/>
                  </a:cxn>
                  <a:cxn ang="0">
                    <a:pos x="0" y="35"/>
                  </a:cxn>
                  <a:cxn ang="0">
                    <a:pos x="0" y="35"/>
                  </a:cxn>
                  <a:cxn ang="0">
                    <a:pos x="2" y="41"/>
                  </a:cxn>
                  <a:cxn ang="0">
                    <a:pos x="8" y="48"/>
                  </a:cxn>
                  <a:cxn ang="0">
                    <a:pos x="15" y="52"/>
                  </a:cxn>
                  <a:cxn ang="0">
                    <a:pos x="20" y="54"/>
                  </a:cxn>
                  <a:cxn ang="0">
                    <a:pos x="20" y="54"/>
                  </a:cxn>
                  <a:cxn ang="0">
                    <a:pos x="28" y="52"/>
                  </a:cxn>
                  <a:cxn ang="0">
                    <a:pos x="28" y="52"/>
                  </a:cxn>
                  <a:cxn ang="0">
                    <a:pos x="35" y="48"/>
                  </a:cxn>
                  <a:cxn ang="0">
                    <a:pos x="41" y="41"/>
                  </a:cxn>
                  <a:cxn ang="0">
                    <a:pos x="42" y="30"/>
                  </a:cxn>
                  <a:cxn ang="0">
                    <a:pos x="42" y="20"/>
                  </a:cxn>
                  <a:cxn ang="0">
                    <a:pos x="42" y="20"/>
                  </a:cxn>
                  <a:cxn ang="0">
                    <a:pos x="41" y="13"/>
                  </a:cxn>
                  <a:cxn ang="0">
                    <a:pos x="35" y="7"/>
                  </a:cxn>
                  <a:cxn ang="0">
                    <a:pos x="28" y="2"/>
                  </a:cxn>
                  <a:cxn ang="0">
                    <a:pos x="22" y="0"/>
                  </a:cxn>
                </a:cxnLst>
                <a:rect l="0" t="0" r="r" b="b"/>
                <a:pathLst>
                  <a:path w="42" h="54">
                    <a:moveTo>
                      <a:pt x="22" y="0"/>
                    </a:moveTo>
                    <a:lnTo>
                      <a:pt x="22" y="0"/>
                    </a:lnTo>
                    <a:lnTo>
                      <a:pt x="15" y="2"/>
                    </a:lnTo>
                    <a:lnTo>
                      <a:pt x="15" y="2"/>
                    </a:lnTo>
                    <a:lnTo>
                      <a:pt x="8" y="7"/>
                    </a:lnTo>
                    <a:lnTo>
                      <a:pt x="2" y="15"/>
                    </a:lnTo>
                    <a:lnTo>
                      <a:pt x="0" y="24"/>
                    </a:lnTo>
                    <a:lnTo>
                      <a:pt x="0" y="35"/>
                    </a:lnTo>
                    <a:lnTo>
                      <a:pt x="0" y="35"/>
                    </a:lnTo>
                    <a:lnTo>
                      <a:pt x="2" y="41"/>
                    </a:lnTo>
                    <a:lnTo>
                      <a:pt x="8" y="48"/>
                    </a:lnTo>
                    <a:lnTo>
                      <a:pt x="15" y="52"/>
                    </a:lnTo>
                    <a:lnTo>
                      <a:pt x="20" y="54"/>
                    </a:lnTo>
                    <a:lnTo>
                      <a:pt x="20" y="54"/>
                    </a:lnTo>
                    <a:lnTo>
                      <a:pt x="28" y="52"/>
                    </a:lnTo>
                    <a:lnTo>
                      <a:pt x="28" y="52"/>
                    </a:lnTo>
                    <a:lnTo>
                      <a:pt x="35" y="48"/>
                    </a:lnTo>
                    <a:lnTo>
                      <a:pt x="41" y="41"/>
                    </a:lnTo>
                    <a:lnTo>
                      <a:pt x="42" y="30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1" y="13"/>
                    </a:lnTo>
                    <a:lnTo>
                      <a:pt x="35" y="7"/>
                    </a:lnTo>
                    <a:lnTo>
                      <a:pt x="28" y="2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98" name="Freeform 209"/>
              <p:cNvSpPr>
                <a:spLocks/>
              </p:cNvSpPr>
              <p:nvPr userDrawn="1"/>
            </p:nvSpPr>
            <p:spPr bwMode="auto">
              <a:xfrm>
                <a:off x="2726" y="3347"/>
                <a:ext cx="42" cy="54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5" y="2"/>
                  </a:cxn>
                  <a:cxn ang="0">
                    <a:pos x="15" y="2"/>
                  </a:cxn>
                  <a:cxn ang="0">
                    <a:pos x="8" y="7"/>
                  </a:cxn>
                  <a:cxn ang="0">
                    <a:pos x="2" y="15"/>
                  </a:cxn>
                  <a:cxn ang="0">
                    <a:pos x="0" y="24"/>
                  </a:cxn>
                  <a:cxn ang="0">
                    <a:pos x="0" y="35"/>
                  </a:cxn>
                  <a:cxn ang="0">
                    <a:pos x="0" y="35"/>
                  </a:cxn>
                  <a:cxn ang="0">
                    <a:pos x="2" y="41"/>
                  </a:cxn>
                  <a:cxn ang="0">
                    <a:pos x="8" y="48"/>
                  </a:cxn>
                  <a:cxn ang="0">
                    <a:pos x="15" y="52"/>
                  </a:cxn>
                  <a:cxn ang="0">
                    <a:pos x="20" y="54"/>
                  </a:cxn>
                  <a:cxn ang="0">
                    <a:pos x="20" y="54"/>
                  </a:cxn>
                  <a:cxn ang="0">
                    <a:pos x="28" y="52"/>
                  </a:cxn>
                  <a:cxn ang="0">
                    <a:pos x="28" y="52"/>
                  </a:cxn>
                  <a:cxn ang="0">
                    <a:pos x="35" y="48"/>
                  </a:cxn>
                  <a:cxn ang="0">
                    <a:pos x="41" y="41"/>
                  </a:cxn>
                  <a:cxn ang="0">
                    <a:pos x="42" y="30"/>
                  </a:cxn>
                  <a:cxn ang="0">
                    <a:pos x="42" y="20"/>
                  </a:cxn>
                  <a:cxn ang="0">
                    <a:pos x="42" y="20"/>
                  </a:cxn>
                  <a:cxn ang="0">
                    <a:pos x="41" y="13"/>
                  </a:cxn>
                  <a:cxn ang="0">
                    <a:pos x="35" y="7"/>
                  </a:cxn>
                  <a:cxn ang="0">
                    <a:pos x="28" y="2"/>
                  </a:cxn>
                  <a:cxn ang="0">
                    <a:pos x="22" y="0"/>
                  </a:cxn>
                </a:cxnLst>
                <a:rect l="0" t="0" r="r" b="b"/>
                <a:pathLst>
                  <a:path w="42" h="54">
                    <a:moveTo>
                      <a:pt x="22" y="0"/>
                    </a:moveTo>
                    <a:lnTo>
                      <a:pt x="22" y="0"/>
                    </a:lnTo>
                    <a:lnTo>
                      <a:pt x="15" y="2"/>
                    </a:lnTo>
                    <a:lnTo>
                      <a:pt x="15" y="2"/>
                    </a:lnTo>
                    <a:lnTo>
                      <a:pt x="8" y="7"/>
                    </a:lnTo>
                    <a:lnTo>
                      <a:pt x="2" y="15"/>
                    </a:lnTo>
                    <a:lnTo>
                      <a:pt x="0" y="24"/>
                    </a:lnTo>
                    <a:lnTo>
                      <a:pt x="0" y="35"/>
                    </a:lnTo>
                    <a:lnTo>
                      <a:pt x="0" y="35"/>
                    </a:lnTo>
                    <a:lnTo>
                      <a:pt x="2" y="41"/>
                    </a:lnTo>
                    <a:lnTo>
                      <a:pt x="8" y="48"/>
                    </a:lnTo>
                    <a:lnTo>
                      <a:pt x="15" y="52"/>
                    </a:lnTo>
                    <a:lnTo>
                      <a:pt x="20" y="54"/>
                    </a:lnTo>
                    <a:lnTo>
                      <a:pt x="20" y="54"/>
                    </a:lnTo>
                    <a:lnTo>
                      <a:pt x="28" y="52"/>
                    </a:lnTo>
                    <a:lnTo>
                      <a:pt x="28" y="52"/>
                    </a:lnTo>
                    <a:lnTo>
                      <a:pt x="35" y="48"/>
                    </a:lnTo>
                    <a:lnTo>
                      <a:pt x="41" y="41"/>
                    </a:lnTo>
                    <a:lnTo>
                      <a:pt x="42" y="30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1" y="13"/>
                    </a:lnTo>
                    <a:lnTo>
                      <a:pt x="35" y="7"/>
                    </a:lnTo>
                    <a:lnTo>
                      <a:pt x="28" y="2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99" name="Freeform 210"/>
              <p:cNvSpPr>
                <a:spLocks/>
              </p:cNvSpPr>
              <p:nvPr userDrawn="1"/>
            </p:nvSpPr>
            <p:spPr bwMode="auto">
              <a:xfrm>
                <a:off x="2732" y="3251"/>
                <a:ext cx="48" cy="42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8" y="2"/>
                  </a:cxn>
                  <a:cxn ang="0">
                    <a:pos x="18" y="2"/>
                  </a:cxn>
                  <a:cxn ang="0">
                    <a:pos x="9" y="6"/>
                  </a:cxn>
                  <a:cxn ang="0">
                    <a:pos x="2" y="12"/>
                  </a:cxn>
                  <a:cxn ang="0">
                    <a:pos x="0" y="19"/>
                  </a:cxn>
                  <a:cxn ang="0">
                    <a:pos x="0" y="27"/>
                  </a:cxn>
                  <a:cxn ang="0">
                    <a:pos x="0" y="27"/>
                  </a:cxn>
                  <a:cxn ang="0">
                    <a:pos x="5" y="33"/>
                  </a:cxn>
                  <a:cxn ang="0">
                    <a:pos x="9" y="38"/>
                  </a:cxn>
                  <a:cxn ang="0">
                    <a:pos x="15" y="42"/>
                  </a:cxn>
                  <a:cxn ang="0">
                    <a:pos x="24" y="42"/>
                  </a:cxn>
                  <a:cxn ang="0">
                    <a:pos x="24" y="42"/>
                  </a:cxn>
                  <a:cxn ang="0">
                    <a:pos x="31" y="42"/>
                  </a:cxn>
                  <a:cxn ang="0">
                    <a:pos x="31" y="42"/>
                  </a:cxn>
                  <a:cxn ang="0">
                    <a:pos x="39" y="38"/>
                  </a:cxn>
                  <a:cxn ang="0">
                    <a:pos x="44" y="33"/>
                  </a:cxn>
                  <a:cxn ang="0">
                    <a:pos x="48" y="25"/>
                  </a:cxn>
                  <a:cxn ang="0">
                    <a:pos x="46" y="17"/>
                  </a:cxn>
                  <a:cxn ang="0">
                    <a:pos x="46" y="17"/>
                  </a:cxn>
                  <a:cxn ang="0">
                    <a:pos x="44" y="10"/>
                  </a:cxn>
                  <a:cxn ang="0">
                    <a:pos x="37" y="6"/>
                  </a:cxn>
                  <a:cxn ang="0">
                    <a:pos x="31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42">
                    <a:moveTo>
                      <a:pt x="24" y="0"/>
                    </a:moveTo>
                    <a:lnTo>
                      <a:pt x="24" y="0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9" y="6"/>
                    </a:lnTo>
                    <a:lnTo>
                      <a:pt x="2" y="12"/>
                    </a:lnTo>
                    <a:lnTo>
                      <a:pt x="0" y="19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5" y="33"/>
                    </a:lnTo>
                    <a:lnTo>
                      <a:pt x="9" y="38"/>
                    </a:lnTo>
                    <a:lnTo>
                      <a:pt x="15" y="42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31" y="42"/>
                    </a:lnTo>
                    <a:lnTo>
                      <a:pt x="31" y="42"/>
                    </a:lnTo>
                    <a:lnTo>
                      <a:pt x="39" y="38"/>
                    </a:lnTo>
                    <a:lnTo>
                      <a:pt x="44" y="33"/>
                    </a:lnTo>
                    <a:lnTo>
                      <a:pt x="48" y="25"/>
                    </a:lnTo>
                    <a:lnTo>
                      <a:pt x="46" y="17"/>
                    </a:lnTo>
                    <a:lnTo>
                      <a:pt x="46" y="17"/>
                    </a:lnTo>
                    <a:lnTo>
                      <a:pt x="44" y="10"/>
                    </a:lnTo>
                    <a:lnTo>
                      <a:pt x="37" y="6"/>
                    </a:lnTo>
                    <a:lnTo>
                      <a:pt x="31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00" name="Freeform 211"/>
              <p:cNvSpPr>
                <a:spLocks/>
              </p:cNvSpPr>
              <p:nvPr userDrawn="1"/>
            </p:nvSpPr>
            <p:spPr bwMode="auto">
              <a:xfrm>
                <a:off x="2732" y="3251"/>
                <a:ext cx="48" cy="42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8" y="2"/>
                  </a:cxn>
                  <a:cxn ang="0">
                    <a:pos x="18" y="2"/>
                  </a:cxn>
                  <a:cxn ang="0">
                    <a:pos x="9" y="6"/>
                  </a:cxn>
                  <a:cxn ang="0">
                    <a:pos x="2" y="12"/>
                  </a:cxn>
                  <a:cxn ang="0">
                    <a:pos x="0" y="19"/>
                  </a:cxn>
                  <a:cxn ang="0">
                    <a:pos x="0" y="27"/>
                  </a:cxn>
                  <a:cxn ang="0">
                    <a:pos x="0" y="27"/>
                  </a:cxn>
                  <a:cxn ang="0">
                    <a:pos x="5" y="33"/>
                  </a:cxn>
                  <a:cxn ang="0">
                    <a:pos x="9" y="38"/>
                  </a:cxn>
                  <a:cxn ang="0">
                    <a:pos x="15" y="42"/>
                  </a:cxn>
                  <a:cxn ang="0">
                    <a:pos x="24" y="42"/>
                  </a:cxn>
                  <a:cxn ang="0">
                    <a:pos x="24" y="42"/>
                  </a:cxn>
                  <a:cxn ang="0">
                    <a:pos x="31" y="42"/>
                  </a:cxn>
                  <a:cxn ang="0">
                    <a:pos x="31" y="42"/>
                  </a:cxn>
                  <a:cxn ang="0">
                    <a:pos x="39" y="38"/>
                  </a:cxn>
                  <a:cxn ang="0">
                    <a:pos x="44" y="33"/>
                  </a:cxn>
                  <a:cxn ang="0">
                    <a:pos x="48" y="25"/>
                  </a:cxn>
                  <a:cxn ang="0">
                    <a:pos x="46" y="17"/>
                  </a:cxn>
                  <a:cxn ang="0">
                    <a:pos x="46" y="17"/>
                  </a:cxn>
                  <a:cxn ang="0">
                    <a:pos x="44" y="10"/>
                  </a:cxn>
                  <a:cxn ang="0">
                    <a:pos x="37" y="6"/>
                  </a:cxn>
                  <a:cxn ang="0">
                    <a:pos x="31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42">
                    <a:moveTo>
                      <a:pt x="24" y="0"/>
                    </a:moveTo>
                    <a:lnTo>
                      <a:pt x="24" y="0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9" y="6"/>
                    </a:lnTo>
                    <a:lnTo>
                      <a:pt x="2" y="12"/>
                    </a:lnTo>
                    <a:lnTo>
                      <a:pt x="0" y="19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5" y="33"/>
                    </a:lnTo>
                    <a:lnTo>
                      <a:pt x="9" y="38"/>
                    </a:lnTo>
                    <a:lnTo>
                      <a:pt x="15" y="42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31" y="42"/>
                    </a:lnTo>
                    <a:lnTo>
                      <a:pt x="31" y="42"/>
                    </a:lnTo>
                    <a:lnTo>
                      <a:pt x="39" y="38"/>
                    </a:lnTo>
                    <a:lnTo>
                      <a:pt x="44" y="33"/>
                    </a:lnTo>
                    <a:lnTo>
                      <a:pt x="48" y="25"/>
                    </a:lnTo>
                    <a:lnTo>
                      <a:pt x="46" y="17"/>
                    </a:lnTo>
                    <a:lnTo>
                      <a:pt x="46" y="17"/>
                    </a:lnTo>
                    <a:lnTo>
                      <a:pt x="44" y="10"/>
                    </a:lnTo>
                    <a:lnTo>
                      <a:pt x="37" y="6"/>
                    </a:lnTo>
                    <a:lnTo>
                      <a:pt x="31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01" name="Freeform 212"/>
              <p:cNvSpPr>
                <a:spLocks/>
              </p:cNvSpPr>
              <p:nvPr userDrawn="1"/>
            </p:nvSpPr>
            <p:spPr bwMode="auto">
              <a:xfrm>
                <a:off x="2762" y="3155"/>
                <a:ext cx="42" cy="42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1" y="0"/>
                  </a:cxn>
                  <a:cxn ang="0">
                    <a:pos x="15" y="0"/>
                  </a:cxn>
                  <a:cxn ang="0">
                    <a:pos x="15" y="0"/>
                  </a:cxn>
                  <a:cxn ang="0">
                    <a:pos x="9" y="5"/>
                  </a:cxn>
                  <a:cxn ang="0">
                    <a:pos x="2" y="11"/>
                  </a:cxn>
                  <a:cxn ang="0">
                    <a:pos x="0" y="18"/>
                  </a:cxn>
                  <a:cxn ang="0">
                    <a:pos x="0" y="27"/>
                  </a:cxn>
                  <a:cxn ang="0">
                    <a:pos x="0" y="27"/>
                  </a:cxn>
                  <a:cxn ang="0">
                    <a:pos x="5" y="33"/>
                  </a:cxn>
                  <a:cxn ang="0">
                    <a:pos x="9" y="38"/>
                  </a:cxn>
                  <a:cxn ang="0">
                    <a:pos x="15" y="42"/>
                  </a:cxn>
                  <a:cxn ang="0">
                    <a:pos x="21" y="42"/>
                  </a:cxn>
                  <a:cxn ang="0">
                    <a:pos x="21" y="42"/>
                  </a:cxn>
                  <a:cxn ang="0">
                    <a:pos x="27" y="42"/>
                  </a:cxn>
                  <a:cxn ang="0">
                    <a:pos x="27" y="42"/>
                  </a:cxn>
                  <a:cxn ang="0">
                    <a:pos x="34" y="38"/>
                  </a:cxn>
                  <a:cxn ang="0">
                    <a:pos x="38" y="31"/>
                  </a:cxn>
                  <a:cxn ang="0">
                    <a:pos x="42" y="24"/>
                  </a:cxn>
                  <a:cxn ang="0">
                    <a:pos x="40" y="16"/>
                  </a:cxn>
                  <a:cxn ang="0">
                    <a:pos x="40" y="16"/>
                  </a:cxn>
                  <a:cxn ang="0">
                    <a:pos x="38" y="9"/>
                  </a:cxn>
                  <a:cxn ang="0">
                    <a:pos x="34" y="5"/>
                  </a:cxn>
                  <a:cxn ang="0">
                    <a:pos x="27" y="0"/>
                  </a:cxn>
                  <a:cxn ang="0">
                    <a:pos x="21" y="0"/>
                  </a:cxn>
                </a:cxnLst>
                <a:rect l="0" t="0" r="r" b="b"/>
                <a:pathLst>
                  <a:path w="42" h="42">
                    <a:moveTo>
                      <a:pt x="21" y="0"/>
                    </a:moveTo>
                    <a:lnTo>
                      <a:pt x="21" y="0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9" y="5"/>
                    </a:lnTo>
                    <a:lnTo>
                      <a:pt x="2" y="11"/>
                    </a:lnTo>
                    <a:lnTo>
                      <a:pt x="0" y="18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5" y="33"/>
                    </a:lnTo>
                    <a:lnTo>
                      <a:pt x="9" y="38"/>
                    </a:lnTo>
                    <a:lnTo>
                      <a:pt x="15" y="42"/>
                    </a:lnTo>
                    <a:lnTo>
                      <a:pt x="21" y="42"/>
                    </a:lnTo>
                    <a:lnTo>
                      <a:pt x="21" y="42"/>
                    </a:lnTo>
                    <a:lnTo>
                      <a:pt x="27" y="42"/>
                    </a:lnTo>
                    <a:lnTo>
                      <a:pt x="27" y="42"/>
                    </a:lnTo>
                    <a:lnTo>
                      <a:pt x="34" y="38"/>
                    </a:lnTo>
                    <a:lnTo>
                      <a:pt x="38" y="31"/>
                    </a:lnTo>
                    <a:lnTo>
                      <a:pt x="42" y="24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38" y="9"/>
                    </a:lnTo>
                    <a:lnTo>
                      <a:pt x="34" y="5"/>
                    </a:lnTo>
                    <a:lnTo>
                      <a:pt x="27" y="0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02" name="Freeform 213"/>
              <p:cNvSpPr>
                <a:spLocks/>
              </p:cNvSpPr>
              <p:nvPr userDrawn="1"/>
            </p:nvSpPr>
            <p:spPr bwMode="auto">
              <a:xfrm>
                <a:off x="2762" y="3155"/>
                <a:ext cx="42" cy="42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1" y="0"/>
                  </a:cxn>
                  <a:cxn ang="0">
                    <a:pos x="15" y="0"/>
                  </a:cxn>
                  <a:cxn ang="0">
                    <a:pos x="15" y="0"/>
                  </a:cxn>
                  <a:cxn ang="0">
                    <a:pos x="9" y="5"/>
                  </a:cxn>
                  <a:cxn ang="0">
                    <a:pos x="2" y="11"/>
                  </a:cxn>
                  <a:cxn ang="0">
                    <a:pos x="0" y="18"/>
                  </a:cxn>
                  <a:cxn ang="0">
                    <a:pos x="0" y="27"/>
                  </a:cxn>
                  <a:cxn ang="0">
                    <a:pos x="0" y="27"/>
                  </a:cxn>
                  <a:cxn ang="0">
                    <a:pos x="5" y="33"/>
                  </a:cxn>
                  <a:cxn ang="0">
                    <a:pos x="9" y="38"/>
                  </a:cxn>
                  <a:cxn ang="0">
                    <a:pos x="15" y="42"/>
                  </a:cxn>
                  <a:cxn ang="0">
                    <a:pos x="21" y="42"/>
                  </a:cxn>
                  <a:cxn ang="0">
                    <a:pos x="21" y="42"/>
                  </a:cxn>
                  <a:cxn ang="0">
                    <a:pos x="27" y="42"/>
                  </a:cxn>
                  <a:cxn ang="0">
                    <a:pos x="27" y="42"/>
                  </a:cxn>
                  <a:cxn ang="0">
                    <a:pos x="34" y="38"/>
                  </a:cxn>
                  <a:cxn ang="0">
                    <a:pos x="38" y="31"/>
                  </a:cxn>
                  <a:cxn ang="0">
                    <a:pos x="42" y="24"/>
                  </a:cxn>
                  <a:cxn ang="0">
                    <a:pos x="40" y="16"/>
                  </a:cxn>
                  <a:cxn ang="0">
                    <a:pos x="40" y="16"/>
                  </a:cxn>
                  <a:cxn ang="0">
                    <a:pos x="38" y="9"/>
                  </a:cxn>
                  <a:cxn ang="0">
                    <a:pos x="34" y="5"/>
                  </a:cxn>
                  <a:cxn ang="0">
                    <a:pos x="27" y="0"/>
                  </a:cxn>
                  <a:cxn ang="0">
                    <a:pos x="21" y="0"/>
                  </a:cxn>
                </a:cxnLst>
                <a:rect l="0" t="0" r="r" b="b"/>
                <a:pathLst>
                  <a:path w="42" h="42">
                    <a:moveTo>
                      <a:pt x="21" y="0"/>
                    </a:moveTo>
                    <a:lnTo>
                      <a:pt x="21" y="0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9" y="5"/>
                    </a:lnTo>
                    <a:lnTo>
                      <a:pt x="2" y="11"/>
                    </a:lnTo>
                    <a:lnTo>
                      <a:pt x="0" y="18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5" y="33"/>
                    </a:lnTo>
                    <a:lnTo>
                      <a:pt x="9" y="38"/>
                    </a:lnTo>
                    <a:lnTo>
                      <a:pt x="15" y="42"/>
                    </a:lnTo>
                    <a:lnTo>
                      <a:pt x="21" y="42"/>
                    </a:lnTo>
                    <a:lnTo>
                      <a:pt x="21" y="42"/>
                    </a:lnTo>
                    <a:lnTo>
                      <a:pt x="27" y="42"/>
                    </a:lnTo>
                    <a:lnTo>
                      <a:pt x="27" y="42"/>
                    </a:lnTo>
                    <a:lnTo>
                      <a:pt x="34" y="38"/>
                    </a:lnTo>
                    <a:lnTo>
                      <a:pt x="38" y="31"/>
                    </a:lnTo>
                    <a:lnTo>
                      <a:pt x="42" y="24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38" y="9"/>
                    </a:lnTo>
                    <a:lnTo>
                      <a:pt x="34" y="5"/>
                    </a:lnTo>
                    <a:lnTo>
                      <a:pt x="27" y="0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03" name="Freeform 214"/>
              <p:cNvSpPr>
                <a:spLocks/>
              </p:cNvSpPr>
              <p:nvPr userDrawn="1"/>
            </p:nvSpPr>
            <p:spPr bwMode="auto">
              <a:xfrm>
                <a:off x="2810" y="3065"/>
                <a:ext cx="30" cy="36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6" y="4"/>
                  </a:cxn>
                  <a:cxn ang="0">
                    <a:pos x="2" y="8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2" y="28"/>
                  </a:cxn>
                  <a:cxn ang="0">
                    <a:pos x="6" y="32"/>
                  </a:cxn>
                  <a:cxn ang="0">
                    <a:pos x="9" y="34"/>
                  </a:cxn>
                  <a:cxn ang="0">
                    <a:pos x="14" y="36"/>
                  </a:cxn>
                  <a:cxn ang="0">
                    <a:pos x="14" y="36"/>
                  </a:cxn>
                  <a:cxn ang="0">
                    <a:pos x="20" y="34"/>
                  </a:cxn>
                  <a:cxn ang="0">
                    <a:pos x="20" y="34"/>
                  </a:cxn>
                  <a:cxn ang="0">
                    <a:pos x="25" y="32"/>
                  </a:cxn>
                  <a:cxn ang="0">
                    <a:pos x="29" y="26"/>
                  </a:cxn>
                  <a:cxn ang="0">
                    <a:pos x="30" y="20"/>
                  </a:cxn>
                  <a:cxn ang="0">
                    <a:pos x="30" y="14"/>
                  </a:cxn>
                  <a:cxn ang="0">
                    <a:pos x="30" y="14"/>
                  </a:cxn>
                  <a:cxn ang="0">
                    <a:pos x="29" y="8"/>
                  </a:cxn>
                  <a:cxn ang="0">
                    <a:pos x="25" y="4"/>
                  </a:cxn>
                  <a:cxn ang="0">
                    <a:pos x="20" y="0"/>
                  </a:cxn>
                  <a:cxn ang="0">
                    <a:pos x="14" y="0"/>
                  </a:cxn>
                </a:cxnLst>
                <a:rect l="0" t="0" r="r" b="b"/>
                <a:pathLst>
                  <a:path w="30" h="36">
                    <a:moveTo>
                      <a:pt x="14" y="0"/>
                    </a:moveTo>
                    <a:lnTo>
                      <a:pt x="14" y="0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6" y="4"/>
                    </a:lnTo>
                    <a:lnTo>
                      <a:pt x="2" y="8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2" y="28"/>
                    </a:lnTo>
                    <a:lnTo>
                      <a:pt x="6" y="32"/>
                    </a:lnTo>
                    <a:lnTo>
                      <a:pt x="9" y="34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5" y="32"/>
                    </a:lnTo>
                    <a:lnTo>
                      <a:pt x="29" y="26"/>
                    </a:lnTo>
                    <a:lnTo>
                      <a:pt x="30" y="20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29" y="8"/>
                    </a:lnTo>
                    <a:lnTo>
                      <a:pt x="25" y="4"/>
                    </a:lnTo>
                    <a:lnTo>
                      <a:pt x="20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04" name="Freeform 215"/>
              <p:cNvSpPr>
                <a:spLocks/>
              </p:cNvSpPr>
              <p:nvPr userDrawn="1"/>
            </p:nvSpPr>
            <p:spPr bwMode="auto">
              <a:xfrm>
                <a:off x="2810" y="3065"/>
                <a:ext cx="30" cy="36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6" y="4"/>
                  </a:cxn>
                  <a:cxn ang="0">
                    <a:pos x="2" y="8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2" y="28"/>
                  </a:cxn>
                  <a:cxn ang="0">
                    <a:pos x="6" y="32"/>
                  </a:cxn>
                  <a:cxn ang="0">
                    <a:pos x="9" y="34"/>
                  </a:cxn>
                  <a:cxn ang="0">
                    <a:pos x="14" y="36"/>
                  </a:cxn>
                  <a:cxn ang="0">
                    <a:pos x="14" y="36"/>
                  </a:cxn>
                  <a:cxn ang="0">
                    <a:pos x="20" y="34"/>
                  </a:cxn>
                  <a:cxn ang="0">
                    <a:pos x="20" y="34"/>
                  </a:cxn>
                  <a:cxn ang="0">
                    <a:pos x="25" y="32"/>
                  </a:cxn>
                  <a:cxn ang="0">
                    <a:pos x="29" y="26"/>
                  </a:cxn>
                  <a:cxn ang="0">
                    <a:pos x="30" y="20"/>
                  </a:cxn>
                  <a:cxn ang="0">
                    <a:pos x="30" y="14"/>
                  </a:cxn>
                  <a:cxn ang="0">
                    <a:pos x="30" y="14"/>
                  </a:cxn>
                  <a:cxn ang="0">
                    <a:pos x="29" y="8"/>
                  </a:cxn>
                  <a:cxn ang="0">
                    <a:pos x="25" y="4"/>
                  </a:cxn>
                  <a:cxn ang="0">
                    <a:pos x="20" y="0"/>
                  </a:cxn>
                  <a:cxn ang="0">
                    <a:pos x="14" y="0"/>
                  </a:cxn>
                </a:cxnLst>
                <a:rect l="0" t="0" r="r" b="b"/>
                <a:pathLst>
                  <a:path w="30" h="36">
                    <a:moveTo>
                      <a:pt x="14" y="0"/>
                    </a:moveTo>
                    <a:lnTo>
                      <a:pt x="14" y="0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6" y="4"/>
                    </a:lnTo>
                    <a:lnTo>
                      <a:pt x="2" y="8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2" y="28"/>
                    </a:lnTo>
                    <a:lnTo>
                      <a:pt x="6" y="32"/>
                    </a:lnTo>
                    <a:lnTo>
                      <a:pt x="9" y="34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5" y="32"/>
                    </a:lnTo>
                    <a:lnTo>
                      <a:pt x="29" y="26"/>
                    </a:lnTo>
                    <a:lnTo>
                      <a:pt x="30" y="20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29" y="8"/>
                    </a:lnTo>
                    <a:lnTo>
                      <a:pt x="25" y="4"/>
                    </a:lnTo>
                    <a:lnTo>
                      <a:pt x="20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05" name="Freeform 216"/>
              <p:cNvSpPr>
                <a:spLocks/>
              </p:cNvSpPr>
              <p:nvPr userDrawn="1"/>
            </p:nvSpPr>
            <p:spPr bwMode="auto">
              <a:xfrm>
                <a:off x="2864" y="2987"/>
                <a:ext cx="36" cy="30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7" y="2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2" y="20"/>
                  </a:cxn>
                  <a:cxn ang="0">
                    <a:pos x="2" y="20"/>
                  </a:cxn>
                  <a:cxn ang="0">
                    <a:pos x="5" y="24"/>
                  </a:cxn>
                  <a:cxn ang="0">
                    <a:pos x="7" y="28"/>
                  </a:cxn>
                  <a:cxn ang="0">
                    <a:pos x="14" y="30"/>
                  </a:cxn>
                  <a:cxn ang="0">
                    <a:pos x="18" y="30"/>
                  </a:cxn>
                  <a:cxn ang="0">
                    <a:pos x="18" y="30"/>
                  </a:cxn>
                  <a:cxn ang="0">
                    <a:pos x="23" y="30"/>
                  </a:cxn>
                  <a:cxn ang="0">
                    <a:pos x="23" y="30"/>
                  </a:cxn>
                  <a:cxn ang="0">
                    <a:pos x="29" y="28"/>
                  </a:cxn>
                  <a:cxn ang="0">
                    <a:pos x="34" y="22"/>
                  </a:cxn>
                  <a:cxn ang="0">
                    <a:pos x="36" y="18"/>
                  </a:cxn>
                  <a:cxn ang="0">
                    <a:pos x="36" y="10"/>
                  </a:cxn>
                  <a:cxn ang="0">
                    <a:pos x="36" y="10"/>
                  </a:cxn>
                  <a:cxn ang="0">
                    <a:pos x="34" y="6"/>
                  </a:cxn>
                  <a:cxn ang="0">
                    <a:pos x="29" y="2"/>
                  </a:cxn>
                  <a:cxn ang="0">
                    <a:pos x="25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0">
                    <a:moveTo>
                      <a:pt x="18" y="0"/>
                    </a:moveTo>
                    <a:lnTo>
                      <a:pt x="18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7" y="2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5" y="24"/>
                    </a:lnTo>
                    <a:lnTo>
                      <a:pt x="7" y="28"/>
                    </a:lnTo>
                    <a:lnTo>
                      <a:pt x="14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3" y="30"/>
                    </a:lnTo>
                    <a:lnTo>
                      <a:pt x="23" y="30"/>
                    </a:lnTo>
                    <a:lnTo>
                      <a:pt x="29" y="28"/>
                    </a:lnTo>
                    <a:lnTo>
                      <a:pt x="34" y="22"/>
                    </a:lnTo>
                    <a:lnTo>
                      <a:pt x="36" y="18"/>
                    </a:lnTo>
                    <a:lnTo>
                      <a:pt x="36" y="10"/>
                    </a:lnTo>
                    <a:lnTo>
                      <a:pt x="36" y="10"/>
                    </a:lnTo>
                    <a:lnTo>
                      <a:pt x="34" y="6"/>
                    </a:lnTo>
                    <a:lnTo>
                      <a:pt x="29" y="2"/>
                    </a:lnTo>
                    <a:lnTo>
                      <a:pt x="25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06" name="Freeform 217"/>
              <p:cNvSpPr>
                <a:spLocks/>
              </p:cNvSpPr>
              <p:nvPr userDrawn="1"/>
            </p:nvSpPr>
            <p:spPr bwMode="auto">
              <a:xfrm>
                <a:off x="2864" y="2987"/>
                <a:ext cx="36" cy="30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7" y="2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2" y="20"/>
                  </a:cxn>
                  <a:cxn ang="0">
                    <a:pos x="2" y="20"/>
                  </a:cxn>
                  <a:cxn ang="0">
                    <a:pos x="5" y="24"/>
                  </a:cxn>
                  <a:cxn ang="0">
                    <a:pos x="7" y="28"/>
                  </a:cxn>
                  <a:cxn ang="0">
                    <a:pos x="14" y="30"/>
                  </a:cxn>
                  <a:cxn ang="0">
                    <a:pos x="18" y="30"/>
                  </a:cxn>
                  <a:cxn ang="0">
                    <a:pos x="18" y="30"/>
                  </a:cxn>
                  <a:cxn ang="0">
                    <a:pos x="23" y="30"/>
                  </a:cxn>
                  <a:cxn ang="0">
                    <a:pos x="23" y="30"/>
                  </a:cxn>
                  <a:cxn ang="0">
                    <a:pos x="29" y="28"/>
                  </a:cxn>
                  <a:cxn ang="0">
                    <a:pos x="34" y="22"/>
                  </a:cxn>
                  <a:cxn ang="0">
                    <a:pos x="36" y="18"/>
                  </a:cxn>
                  <a:cxn ang="0">
                    <a:pos x="36" y="10"/>
                  </a:cxn>
                  <a:cxn ang="0">
                    <a:pos x="36" y="10"/>
                  </a:cxn>
                  <a:cxn ang="0">
                    <a:pos x="34" y="6"/>
                  </a:cxn>
                  <a:cxn ang="0">
                    <a:pos x="29" y="2"/>
                  </a:cxn>
                  <a:cxn ang="0">
                    <a:pos x="25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0">
                    <a:moveTo>
                      <a:pt x="18" y="0"/>
                    </a:moveTo>
                    <a:lnTo>
                      <a:pt x="18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7" y="2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5" y="24"/>
                    </a:lnTo>
                    <a:lnTo>
                      <a:pt x="7" y="28"/>
                    </a:lnTo>
                    <a:lnTo>
                      <a:pt x="14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3" y="30"/>
                    </a:lnTo>
                    <a:lnTo>
                      <a:pt x="23" y="30"/>
                    </a:lnTo>
                    <a:lnTo>
                      <a:pt x="29" y="28"/>
                    </a:lnTo>
                    <a:lnTo>
                      <a:pt x="34" y="22"/>
                    </a:lnTo>
                    <a:lnTo>
                      <a:pt x="36" y="18"/>
                    </a:lnTo>
                    <a:lnTo>
                      <a:pt x="36" y="10"/>
                    </a:lnTo>
                    <a:lnTo>
                      <a:pt x="36" y="10"/>
                    </a:lnTo>
                    <a:lnTo>
                      <a:pt x="34" y="6"/>
                    </a:lnTo>
                    <a:lnTo>
                      <a:pt x="29" y="2"/>
                    </a:lnTo>
                    <a:lnTo>
                      <a:pt x="25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07" name="Freeform 218"/>
              <p:cNvSpPr>
                <a:spLocks/>
              </p:cNvSpPr>
              <p:nvPr userDrawn="1"/>
            </p:nvSpPr>
            <p:spPr bwMode="auto">
              <a:xfrm>
                <a:off x="2942" y="2915"/>
                <a:ext cx="24" cy="3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9" y="0"/>
                  </a:cxn>
                  <a:cxn ang="0">
                    <a:pos x="9" y="0"/>
                  </a:cxn>
                  <a:cxn ang="0">
                    <a:pos x="5" y="2"/>
                  </a:cxn>
                  <a:cxn ang="0">
                    <a:pos x="2" y="7"/>
                  </a:cxn>
                  <a:cxn ang="0">
                    <a:pos x="0" y="13"/>
                  </a:cxn>
                  <a:cxn ang="0">
                    <a:pos x="0" y="20"/>
                  </a:cxn>
                  <a:cxn ang="0">
                    <a:pos x="0" y="20"/>
                  </a:cxn>
                  <a:cxn ang="0">
                    <a:pos x="2" y="24"/>
                  </a:cxn>
                  <a:cxn ang="0">
                    <a:pos x="5" y="28"/>
                  </a:cxn>
                  <a:cxn ang="0">
                    <a:pos x="9" y="30"/>
                  </a:cxn>
                  <a:cxn ang="0">
                    <a:pos x="12" y="30"/>
                  </a:cxn>
                  <a:cxn ang="0">
                    <a:pos x="12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19" y="26"/>
                  </a:cxn>
                  <a:cxn ang="0">
                    <a:pos x="23" y="22"/>
                  </a:cxn>
                  <a:cxn ang="0">
                    <a:pos x="24" y="17"/>
                  </a:cxn>
                  <a:cxn ang="0">
                    <a:pos x="24" y="11"/>
                  </a:cxn>
                  <a:cxn ang="0">
                    <a:pos x="24" y="11"/>
                  </a:cxn>
                  <a:cxn ang="0">
                    <a:pos x="23" y="7"/>
                  </a:cxn>
                  <a:cxn ang="0">
                    <a:pos x="19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30">
                    <a:moveTo>
                      <a:pt x="12" y="0"/>
                    </a:move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2"/>
                    </a:lnTo>
                    <a:lnTo>
                      <a:pt x="2" y="7"/>
                    </a:lnTo>
                    <a:lnTo>
                      <a:pt x="0" y="13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2" y="24"/>
                    </a:lnTo>
                    <a:lnTo>
                      <a:pt x="5" y="28"/>
                    </a:lnTo>
                    <a:lnTo>
                      <a:pt x="9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9" y="26"/>
                    </a:lnTo>
                    <a:lnTo>
                      <a:pt x="23" y="22"/>
                    </a:lnTo>
                    <a:lnTo>
                      <a:pt x="24" y="17"/>
                    </a:lnTo>
                    <a:lnTo>
                      <a:pt x="24" y="11"/>
                    </a:lnTo>
                    <a:lnTo>
                      <a:pt x="24" y="11"/>
                    </a:lnTo>
                    <a:lnTo>
                      <a:pt x="23" y="7"/>
                    </a:lnTo>
                    <a:lnTo>
                      <a:pt x="19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08" name="Freeform 219"/>
              <p:cNvSpPr>
                <a:spLocks/>
              </p:cNvSpPr>
              <p:nvPr userDrawn="1"/>
            </p:nvSpPr>
            <p:spPr bwMode="auto">
              <a:xfrm>
                <a:off x="2942" y="2915"/>
                <a:ext cx="24" cy="3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9" y="0"/>
                  </a:cxn>
                  <a:cxn ang="0">
                    <a:pos x="9" y="0"/>
                  </a:cxn>
                  <a:cxn ang="0">
                    <a:pos x="5" y="2"/>
                  </a:cxn>
                  <a:cxn ang="0">
                    <a:pos x="2" y="7"/>
                  </a:cxn>
                  <a:cxn ang="0">
                    <a:pos x="0" y="13"/>
                  </a:cxn>
                  <a:cxn ang="0">
                    <a:pos x="0" y="20"/>
                  </a:cxn>
                  <a:cxn ang="0">
                    <a:pos x="0" y="20"/>
                  </a:cxn>
                  <a:cxn ang="0">
                    <a:pos x="2" y="24"/>
                  </a:cxn>
                  <a:cxn ang="0">
                    <a:pos x="5" y="28"/>
                  </a:cxn>
                  <a:cxn ang="0">
                    <a:pos x="9" y="30"/>
                  </a:cxn>
                  <a:cxn ang="0">
                    <a:pos x="12" y="30"/>
                  </a:cxn>
                  <a:cxn ang="0">
                    <a:pos x="12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19" y="26"/>
                  </a:cxn>
                  <a:cxn ang="0">
                    <a:pos x="23" y="22"/>
                  </a:cxn>
                  <a:cxn ang="0">
                    <a:pos x="24" y="17"/>
                  </a:cxn>
                  <a:cxn ang="0">
                    <a:pos x="24" y="11"/>
                  </a:cxn>
                  <a:cxn ang="0">
                    <a:pos x="24" y="11"/>
                  </a:cxn>
                  <a:cxn ang="0">
                    <a:pos x="23" y="7"/>
                  </a:cxn>
                  <a:cxn ang="0">
                    <a:pos x="19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30">
                    <a:moveTo>
                      <a:pt x="12" y="0"/>
                    </a:move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2"/>
                    </a:lnTo>
                    <a:lnTo>
                      <a:pt x="2" y="7"/>
                    </a:lnTo>
                    <a:lnTo>
                      <a:pt x="0" y="13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2" y="24"/>
                    </a:lnTo>
                    <a:lnTo>
                      <a:pt x="5" y="28"/>
                    </a:lnTo>
                    <a:lnTo>
                      <a:pt x="9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9" y="26"/>
                    </a:lnTo>
                    <a:lnTo>
                      <a:pt x="23" y="22"/>
                    </a:lnTo>
                    <a:lnTo>
                      <a:pt x="24" y="17"/>
                    </a:lnTo>
                    <a:lnTo>
                      <a:pt x="24" y="11"/>
                    </a:lnTo>
                    <a:lnTo>
                      <a:pt x="24" y="11"/>
                    </a:lnTo>
                    <a:lnTo>
                      <a:pt x="23" y="7"/>
                    </a:lnTo>
                    <a:lnTo>
                      <a:pt x="19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09" name="Freeform 220"/>
              <p:cNvSpPr>
                <a:spLocks/>
              </p:cNvSpPr>
              <p:nvPr userDrawn="1"/>
            </p:nvSpPr>
            <p:spPr bwMode="auto">
              <a:xfrm>
                <a:off x="3026" y="2861"/>
                <a:ext cx="24" cy="24"/>
              </a:xfrm>
              <a:custGeom>
                <a:avLst/>
                <a:gdLst/>
                <a:ahLst/>
                <a:cxnLst>
                  <a:cxn ang="0">
                    <a:pos x="11" y="0"/>
                  </a:cxn>
                  <a:cxn ang="0">
                    <a:pos x="11" y="0"/>
                  </a:cxn>
                  <a:cxn ang="0">
                    <a:pos x="9" y="2"/>
                  </a:cxn>
                  <a:cxn ang="0">
                    <a:pos x="9" y="2"/>
                  </a:cxn>
                  <a:cxn ang="0">
                    <a:pos x="4" y="4"/>
                  </a:cxn>
                  <a:cxn ang="0">
                    <a:pos x="2" y="8"/>
                  </a:cxn>
                  <a:cxn ang="0">
                    <a:pos x="0" y="11"/>
                  </a:cxn>
                  <a:cxn ang="0">
                    <a:pos x="0" y="17"/>
                  </a:cxn>
                  <a:cxn ang="0">
                    <a:pos x="0" y="17"/>
                  </a:cxn>
                  <a:cxn ang="0">
                    <a:pos x="2" y="19"/>
                  </a:cxn>
                  <a:cxn ang="0">
                    <a:pos x="4" y="23"/>
                  </a:cxn>
                  <a:cxn ang="0">
                    <a:pos x="8" y="24"/>
                  </a:cxn>
                  <a:cxn ang="0">
                    <a:pos x="11" y="24"/>
                  </a:cxn>
                  <a:cxn ang="0">
                    <a:pos x="11" y="24"/>
                  </a:cxn>
                  <a:cxn ang="0">
                    <a:pos x="15" y="24"/>
                  </a:cxn>
                  <a:cxn ang="0">
                    <a:pos x="15" y="24"/>
                  </a:cxn>
                  <a:cxn ang="0">
                    <a:pos x="19" y="23"/>
                  </a:cxn>
                  <a:cxn ang="0">
                    <a:pos x="23" y="19"/>
                  </a:cxn>
                  <a:cxn ang="0">
                    <a:pos x="24" y="15"/>
                  </a:cxn>
                  <a:cxn ang="0">
                    <a:pos x="23" y="9"/>
                  </a:cxn>
                  <a:cxn ang="0">
                    <a:pos x="23" y="9"/>
                  </a:cxn>
                  <a:cxn ang="0">
                    <a:pos x="23" y="6"/>
                  </a:cxn>
                  <a:cxn ang="0">
                    <a:pos x="19" y="4"/>
                  </a:cxn>
                  <a:cxn ang="0">
                    <a:pos x="15" y="2"/>
                  </a:cxn>
                  <a:cxn ang="0">
                    <a:pos x="11" y="0"/>
                  </a:cxn>
                </a:cxnLst>
                <a:rect l="0" t="0" r="r" b="b"/>
                <a:pathLst>
                  <a:path w="24" h="24">
                    <a:moveTo>
                      <a:pt x="11" y="0"/>
                    </a:moveTo>
                    <a:lnTo>
                      <a:pt x="11" y="0"/>
                    </a:lnTo>
                    <a:lnTo>
                      <a:pt x="9" y="2"/>
                    </a:lnTo>
                    <a:lnTo>
                      <a:pt x="9" y="2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1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2" y="19"/>
                    </a:lnTo>
                    <a:lnTo>
                      <a:pt x="4" y="23"/>
                    </a:lnTo>
                    <a:lnTo>
                      <a:pt x="8" y="24"/>
                    </a:lnTo>
                    <a:lnTo>
                      <a:pt x="11" y="24"/>
                    </a:lnTo>
                    <a:lnTo>
                      <a:pt x="11" y="24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19" y="23"/>
                    </a:lnTo>
                    <a:lnTo>
                      <a:pt x="23" y="19"/>
                    </a:lnTo>
                    <a:lnTo>
                      <a:pt x="24" y="15"/>
                    </a:lnTo>
                    <a:lnTo>
                      <a:pt x="23" y="9"/>
                    </a:lnTo>
                    <a:lnTo>
                      <a:pt x="23" y="9"/>
                    </a:lnTo>
                    <a:lnTo>
                      <a:pt x="23" y="6"/>
                    </a:lnTo>
                    <a:lnTo>
                      <a:pt x="19" y="4"/>
                    </a:lnTo>
                    <a:lnTo>
                      <a:pt x="15" y="2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10" name="Freeform 221"/>
              <p:cNvSpPr>
                <a:spLocks/>
              </p:cNvSpPr>
              <p:nvPr userDrawn="1"/>
            </p:nvSpPr>
            <p:spPr bwMode="auto">
              <a:xfrm>
                <a:off x="3026" y="2861"/>
                <a:ext cx="24" cy="24"/>
              </a:xfrm>
              <a:custGeom>
                <a:avLst/>
                <a:gdLst/>
                <a:ahLst/>
                <a:cxnLst>
                  <a:cxn ang="0">
                    <a:pos x="11" y="0"/>
                  </a:cxn>
                  <a:cxn ang="0">
                    <a:pos x="11" y="0"/>
                  </a:cxn>
                  <a:cxn ang="0">
                    <a:pos x="9" y="2"/>
                  </a:cxn>
                  <a:cxn ang="0">
                    <a:pos x="9" y="2"/>
                  </a:cxn>
                  <a:cxn ang="0">
                    <a:pos x="4" y="4"/>
                  </a:cxn>
                  <a:cxn ang="0">
                    <a:pos x="2" y="8"/>
                  </a:cxn>
                  <a:cxn ang="0">
                    <a:pos x="0" y="11"/>
                  </a:cxn>
                  <a:cxn ang="0">
                    <a:pos x="0" y="17"/>
                  </a:cxn>
                  <a:cxn ang="0">
                    <a:pos x="0" y="17"/>
                  </a:cxn>
                  <a:cxn ang="0">
                    <a:pos x="2" y="19"/>
                  </a:cxn>
                  <a:cxn ang="0">
                    <a:pos x="4" y="23"/>
                  </a:cxn>
                  <a:cxn ang="0">
                    <a:pos x="8" y="24"/>
                  </a:cxn>
                  <a:cxn ang="0">
                    <a:pos x="11" y="24"/>
                  </a:cxn>
                  <a:cxn ang="0">
                    <a:pos x="11" y="24"/>
                  </a:cxn>
                  <a:cxn ang="0">
                    <a:pos x="15" y="24"/>
                  </a:cxn>
                  <a:cxn ang="0">
                    <a:pos x="15" y="24"/>
                  </a:cxn>
                  <a:cxn ang="0">
                    <a:pos x="19" y="23"/>
                  </a:cxn>
                  <a:cxn ang="0">
                    <a:pos x="23" y="19"/>
                  </a:cxn>
                  <a:cxn ang="0">
                    <a:pos x="24" y="15"/>
                  </a:cxn>
                  <a:cxn ang="0">
                    <a:pos x="23" y="9"/>
                  </a:cxn>
                  <a:cxn ang="0">
                    <a:pos x="23" y="9"/>
                  </a:cxn>
                  <a:cxn ang="0">
                    <a:pos x="23" y="6"/>
                  </a:cxn>
                  <a:cxn ang="0">
                    <a:pos x="19" y="4"/>
                  </a:cxn>
                  <a:cxn ang="0">
                    <a:pos x="15" y="2"/>
                  </a:cxn>
                  <a:cxn ang="0">
                    <a:pos x="11" y="0"/>
                  </a:cxn>
                </a:cxnLst>
                <a:rect l="0" t="0" r="r" b="b"/>
                <a:pathLst>
                  <a:path w="24" h="24">
                    <a:moveTo>
                      <a:pt x="11" y="0"/>
                    </a:moveTo>
                    <a:lnTo>
                      <a:pt x="11" y="0"/>
                    </a:lnTo>
                    <a:lnTo>
                      <a:pt x="9" y="2"/>
                    </a:lnTo>
                    <a:lnTo>
                      <a:pt x="9" y="2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1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2" y="19"/>
                    </a:lnTo>
                    <a:lnTo>
                      <a:pt x="4" y="23"/>
                    </a:lnTo>
                    <a:lnTo>
                      <a:pt x="8" y="24"/>
                    </a:lnTo>
                    <a:lnTo>
                      <a:pt x="11" y="24"/>
                    </a:lnTo>
                    <a:lnTo>
                      <a:pt x="11" y="24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19" y="23"/>
                    </a:lnTo>
                    <a:lnTo>
                      <a:pt x="23" y="19"/>
                    </a:lnTo>
                    <a:lnTo>
                      <a:pt x="24" y="15"/>
                    </a:lnTo>
                    <a:lnTo>
                      <a:pt x="23" y="9"/>
                    </a:lnTo>
                    <a:lnTo>
                      <a:pt x="23" y="9"/>
                    </a:lnTo>
                    <a:lnTo>
                      <a:pt x="23" y="6"/>
                    </a:lnTo>
                    <a:lnTo>
                      <a:pt x="19" y="4"/>
                    </a:lnTo>
                    <a:lnTo>
                      <a:pt x="15" y="2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11" name="Freeform 222"/>
              <p:cNvSpPr>
                <a:spLocks/>
              </p:cNvSpPr>
              <p:nvPr userDrawn="1"/>
            </p:nvSpPr>
            <p:spPr bwMode="auto">
              <a:xfrm>
                <a:off x="3116" y="2819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7"/>
                  </a:cxn>
                  <a:cxn ang="0">
                    <a:pos x="0" y="11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2" y="20"/>
                  </a:cxn>
                  <a:cxn ang="0">
                    <a:pos x="4" y="22"/>
                  </a:cxn>
                  <a:cxn ang="0">
                    <a:pos x="8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4" y="24"/>
                  </a:cxn>
                  <a:cxn ang="0">
                    <a:pos x="14" y="24"/>
                  </a:cxn>
                  <a:cxn ang="0">
                    <a:pos x="20" y="22"/>
                  </a:cxn>
                  <a:cxn ang="0">
                    <a:pos x="22" y="18"/>
                  </a:cxn>
                  <a:cxn ang="0">
                    <a:pos x="24" y="13"/>
                  </a:cxn>
                  <a:cxn ang="0">
                    <a:pos x="24" y="9"/>
                  </a:cxn>
                  <a:cxn ang="0">
                    <a:pos x="24" y="9"/>
                  </a:cxn>
                  <a:cxn ang="0">
                    <a:pos x="22" y="5"/>
                  </a:cxn>
                  <a:cxn ang="0">
                    <a:pos x="18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7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2" y="20"/>
                    </a:lnTo>
                    <a:lnTo>
                      <a:pt x="4" y="22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4" y="24"/>
                    </a:lnTo>
                    <a:lnTo>
                      <a:pt x="14" y="24"/>
                    </a:lnTo>
                    <a:lnTo>
                      <a:pt x="20" y="22"/>
                    </a:lnTo>
                    <a:lnTo>
                      <a:pt x="22" y="18"/>
                    </a:lnTo>
                    <a:lnTo>
                      <a:pt x="24" y="13"/>
                    </a:lnTo>
                    <a:lnTo>
                      <a:pt x="24" y="9"/>
                    </a:lnTo>
                    <a:lnTo>
                      <a:pt x="24" y="9"/>
                    </a:lnTo>
                    <a:lnTo>
                      <a:pt x="22" y="5"/>
                    </a:lnTo>
                    <a:lnTo>
                      <a:pt x="18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12" name="Freeform 223"/>
              <p:cNvSpPr>
                <a:spLocks/>
              </p:cNvSpPr>
              <p:nvPr userDrawn="1"/>
            </p:nvSpPr>
            <p:spPr bwMode="auto">
              <a:xfrm>
                <a:off x="3116" y="2819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7"/>
                  </a:cxn>
                  <a:cxn ang="0">
                    <a:pos x="0" y="11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2" y="20"/>
                  </a:cxn>
                  <a:cxn ang="0">
                    <a:pos x="4" y="22"/>
                  </a:cxn>
                  <a:cxn ang="0">
                    <a:pos x="8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4" y="24"/>
                  </a:cxn>
                  <a:cxn ang="0">
                    <a:pos x="14" y="24"/>
                  </a:cxn>
                  <a:cxn ang="0">
                    <a:pos x="20" y="22"/>
                  </a:cxn>
                  <a:cxn ang="0">
                    <a:pos x="22" y="18"/>
                  </a:cxn>
                  <a:cxn ang="0">
                    <a:pos x="24" y="13"/>
                  </a:cxn>
                  <a:cxn ang="0">
                    <a:pos x="24" y="9"/>
                  </a:cxn>
                  <a:cxn ang="0">
                    <a:pos x="24" y="9"/>
                  </a:cxn>
                  <a:cxn ang="0">
                    <a:pos x="22" y="5"/>
                  </a:cxn>
                  <a:cxn ang="0">
                    <a:pos x="18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7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2" y="20"/>
                    </a:lnTo>
                    <a:lnTo>
                      <a:pt x="4" y="22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4" y="24"/>
                    </a:lnTo>
                    <a:lnTo>
                      <a:pt x="14" y="24"/>
                    </a:lnTo>
                    <a:lnTo>
                      <a:pt x="20" y="22"/>
                    </a:lnTo>
                    <a:lnTo>
                      <a:pt x="22" y="18"/>
                    </a:lnTo>
                    <a:lnTo>
                      <a:pt x="24" y="13"/>
                    </a:lnTo>
                    <a:lnTo>
                      <a:pt x="24" y="9"/>
                    </a:lnTo>
                    <a:lnTo>
                      <a:pt x="24" y="9"/>
                    </a:lnTo>
                    <a:lnTo>
                      <a:pt x="22" y="5"/>
                    </a:lnTo>
                    <a:lnTo>
                      <a:pt x="18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13" name="Freeform 224"/>
              <p:cNvSpPr>
                <a:spLocks/>
              </p:cNvSpPr>
              <p:nvPr userDrawn="1"/>
            </p:nvSpPr>
            <p:spPr bwMode="auto">
              <a:xfrm>
                <a:off x="3218" y="2795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0" y="5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4" y="17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1" y="18"/>
                  </a:cxn>
                  <a:cxn ang="0">
                    <a:pos x="11" y="18"/>
                  </a:cxn>
                  <a:cxn ang="0">
                    <a:pos x="15" y="17"/>
                  </a:cxn>
                  <a:cxn ang="0">
                    <a:pos x="17" y="13"/>
                  </a:cxn>
                  <a:cxn ang="0">
                    <a:pos x="18" y="10"/>
                  </a:cxn>
                  <a:cxn ang="0">
                    <a:pos x="18" y="7"/>
                  </a:cxn>
                  <a:cxn ang="0">
                    <a:pos x="18" y="7"/>
                  </a:cxn>
                  <a:cxn ang="0">
                    <a:pos x="15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0" y="5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4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1" y="18"/>
                    </a:lnTo>
                    <a:lnTo>
                      <a:pt x="11" y="18"/>
                    </a:lnTo>
                    <a:lnTo>
                      <a:pt x="15" y="17"/>
                    </a:lnTo>
                    <a:lnTo>
                      <a:pt x="17" y="13"/>
                    </a:lnTo>
                    <a:lnTo>
                      <a:pt x="18" y="10"/>
                    </a:lnTo>
                    <a:lnTo>
                      <a:pt x="18" y="7"/>
                    </a:lnTo>
                    <a:lnTo>
                      <a:pt x="18" y="7"/>
                    </a:lnTo>
                    <a:lnTo>
                      <a:pt x="15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14" name="Freeform 225"/>
              <p:cNvSpPr>
                <a:spLocks/>
              </p:cNvSpPr>
              <p:nvPr userDrawn="1"/>
            </p:nvSpPr>
            <p:spPr bwMode="auto">
              <a:xfrm>
                <a:off x="3218" y="2795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0" y="5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4" y="17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1" y="18"/>
                  </a:cxn>
                  <a:cxn ang="0">
                    <a:pos x="11" y="18"/>
                  </a:cxn>
                  <a:cxn ang="0">
                    <a:pos x="15" y="17"/>
                  </a:cxn>
                  <a:cxn ang="0">
                    <a:pos x="17" y="13"/>
                  </a:cxn>
                  <a:cxn ang="0">
                    <a:pos x="18" y="10"/>
                  </a:cxn>
                  <a:cxn ang="0">
                    <a:pos x="18" y="7"/>
                  </a:cxn>
                  <a:cxn ang="0">
                    <a:pos x="18" y="7"/>
                  </a:cxn>
                  <a:cxn ang="0">
                    <a:pos x="15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0" y="5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4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1" y="18"/>
                    </a:lnTo>
                    <a:lnTo>
                      <a:pt x="11" y="18"/>
                    </a:lnTo>
                    <a:lnTo>
                      <a:pt x="15" y="17"/>
                    </a:lnTo>
                    <a:lnTo>
                      <a:pt x="17" y="13"/>
                    </a:lnTo>
                    <a:lnTo>
                      <a:pt x="18" y="10"/>
                    </a:lnTo>
                    <a:lnTo>
                      <a:pt x="18" y="7"/>
                    </a:lnTo>
                    <a:lnTo>
                      <a:pt x="18" y="7"/>
                    </a:lnTo>
                    <a:lnTo>
                      <a:pt x="15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15" name="Freeform 226"/>
              <p:cNvSpPr>
                <a:spLocks/>
              </p:cNvSpPr>
              <p:nvPr userDrawn="1"/>
            </p:nvSpPr>
            <p:spPr bwMode="auto">
              <a:xfrm>
                <a:off x="2756" y="3545"/>
                <a:ext cx="54" cy="54"/>
              </a:xfrm>
              <a:custGeom>
                <a:avLst/>
                <a:gdLst/>
                <a:ahLst/>
                <a:cxnLst>
                  <a:cxn ang="0">
                    <a:pos x="27" y="0"/>
                  </a:cxn>
                  <a:cxn ang="0">
                    <a:pos x="27" y="0"/>
                  </a:cxn>
                  <a:cxn ang="0">
                    <a:pos x="19" y="2"/>
                  </a:cxn>
                  <a:cxn ang="0">
                    <a:pos x="19" y="2"/>
                  </a:cxn>
                  <a:cxn ang="0">
                    <a:pos x="11" y="6"/>
                  </a:cxn>
                  <a:cxn ang="0">
                    <a:pos x="2" y="14"/>
                  </a:cxn>
                  <a:cxn ang="0">
                    <a:pos x="0" y="24"/>
                  </a:cxn>
                  <a:cxn ang="0">
                    <a:pos x="0" y="34"/>
                  </a:cxn>
                  <a:cxn ang="0">
                    <a:pos x="0" y="34"/>
                  </a:cxn>
                  <a:cxn ang="0">
                    <a:pos x="5" y="42"/>
                  </a:cxn>
                  <a:cxn ang="0">
                    <a:pos x="11" y="48"/>
                  </a:cxn>
                  <a:cxn ang="0">
                    <a:pos x="19" y="52"/>
                  </a:cxn>
                  <a:cxn ang="0">
                    <a:pos x="27" y="54"/>
                  </a:cxn>
                  <a:cxn ang="0">
                    <a:pos x="27" y="54"/>
                  </a:cxn>
                  <a:cxn ang="0">
                    <a:pos x="33" y="54"/>
                  </a:cxn>
                  <a:cxn ang="0">
                    <a:pos x="33" y="54"/>
                  </a:cxn>
                  <a:cxn ang="0">
                    <a:pos x="44" y="48"/>
                  </a:cxn>
                  <a:cxn ang="0">
                    <a:pos x="52" y="40"/>
                  </a:cxn>
                  <a:cxn ang="0">
                    <a:pos x="54" y="30"/>
                  </a:cxn>
                  <a:cxn ang="0">
                    <a:pos x="54" y="20"/>
                  </a:cxn>
                  <a:cxn ang="0">
                    <a:pos x="54" y="20"/>
                  </a:cxn>
                  <a:cxn ang="0">
                    <a:pos x="50" y="12"/>
                  </a:cxn>
                  <a:cxn ang="0">
                    <a:pos x="44" y="6"/>
                  </a:cxn>
                  <a:cxn ang="0">
                    <a:pos x="36" y="2"/>
                  </a:cxn>
                  <a:cxn ang="0">
                    <a:pos x="27" y="0"/>
                  </a:cxn>
                </a:cxnLst>
                <a:rect l="0" t="0" r="r" b="b"/>
                <a:pathLst>
                  <a:path w="54" h="54">
                    <a:moveTo>
                      <a:pt x="27" y="0"/>
                    </a:moveTo>
                    <a:lnTo>
                      <a:pt x="27" y="0"/>
                    </a:lnTo>
                    <a:lnTo>
                      <a:pt x="19" y="2"/>
                    </a:lnTo>
                    <a:lnTo>
                      <a:pt x="19" y="2"/>
                    </a:lnTo>
                    <a:lnTo>
                      <a:pt x="11" y="6"/>
                    </a:lnTo>
                    <a:lnTo>
                      <a:pt x="2" y="14"/>
                    </a:lnTo>
                    <a:lnTo>
                      <a:pt x="0" y="2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5" y="42"/>
                    </a:lnTo>
                    <a:lnTo>
                      <a:pt x="11" y="48"/>
                    </a:lnTo>
                    <a:lnTo>
                      <a:pt x="19" y="52"/>
                    </a:lnTo>
                    <a:lnTo>
                      <a:pt x="27" y="54"/>
                    </a:lnTo>
                    <a:lnTo>
                      <a:pt x="27" y="54"/>
                    </a:lnTo>
                    <a:lnTo>
                      <a:pt x="33" y="54"/>
                    </a:lnTo>
                    <a:lnTo>
                      <a:pt x="33" y="54"/>
                    </a:lnTo>
                    <a:lnTo>
                      <a:pt x="44" y="48"/>
                    </a:lnTo>
                    <a:lnTo>
                      <a:pt x="52" y="40"/>
                    </a:lnTo>
                    <a:lnTo>
                      <a:pt x="54" y="30"/>
                    </a:lnTo>
                    <a:lnTo>
                      <a:pt x="54" y="20"/>
                    </a:lnTo>
                    <a:lnTo>
                      <a:pt x="54" y="20"/>
                    </a:lnTo>
                    <a:lnTo>
                      <a:pt x="50" y="12"/>
                    </a:lnTo>
                    <a:lnTo>
                      <a:pt x="44" y="6"/>
                    </a:lnTo>
                    <a:lnTo>
                      <a:pt x="36" y="2"/>
                    </a:lnTo>
                    <a:lnTo>
                      <a:pt x="2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16" name="Freeform 227"/>
              <p:cNvSpPr>
                <a:spLocks/>
              </p:cNvSpPr>
              <p:nvPr userDrawn="1"/>
            </p:nvSpPr>
            <p:spPr bwMode="auto">
              <a:xfrm>
                <a:off x="2756" y="3545"/>
                <a:ext cx="54" cy="54"/>
              </a:xfrm>
              <a:custGeom>
                <a:avLst/>
                <a:gdLst/>
                <a:ahLst/>
                <a:cxnLst>
                  <a:cxn ang="0">
                    <a:pos x="27" y="0"/>
                  </a:cxn>
                  <a:cxn ang="0">
                    <a:pos x="27" y="0"/>
                  </a:cxn>
                  <a:cxn ang="0">
                    <a:pos x="19" y="2"/>
                  </a:cxn>
                  <a:cxn ang="0">
                    <a:pos x="19" y="2"/>
                  </a:cxn>
                  <a:cxn ang="0">
                    <a:pos x="11" y="6"/>
                  </a:cxn>
                  <a:cxn ang="0">
                    <a:pos x="2" y="14"/>
                  </a:cxn>
                  <a:cxn ang="0">
                    <a:pos x="0" y="24"/>
                  </a:cxn>
                  <a:cxn ang="0">
                    <a:pos x="0" y="34"/>
                  </a:cxn>
                  <a:cxn ang="0">
                    <a:pos x="0" y="34"/>
                  </a:cxn>
                  <a:cxn ang="0">
                    <a:pos x="5" y="42"/>
                  </a:cxn>
                  <a:cxn ang="0">
                    <a:pos x="11" y="48"/>
                  </a:cxn>
                  <a:cxn ang="0">
                    <a:pos x="19" y="52"/>
                  </a:cxn>
                  <a:cxn ang="0">
                    <a:pos x="27" y="54"/>
                  </a:cxn>
                  <a:cxn ang="0">
                    <a:pos x="27" y="54"/>
                  </a:cxn>
                  <a:cxn ang="0">
                    <a:pos x="33" y="54"/>
                  </a:cxn>
                  <a:cxn ang="0">
                    <a:pos x="33" y="54"/>
                  </a:cxn>
                  <a:cxn ang="0">
                    <a:pos x="44" y="48"/>
                  </a:cxn>
                  <a:cxn ang="0">
                    <a:pos x="52" y="40"/>
                  </a:cxn>
                  <a:cxn ang="0">
                    <a:pos x="54" y="30"/>
                  </a:cxn>
                  <a:cxn ang="0">
                    <a:pos x="54" y="20"/>
                  </a:cxn>
                  <a:cxn ang="0">
                    <a:pos x="54" y="20"/>
                  </a:cxn>
                  <a:cxn ang="0">
                    <a:pos x="50" y="12"/>
                  </a:cxn>
                  <a:cxn ang="0">
                    <a:pos x="44" y="6"/>
                  </a:cxn>
                  <a:cxn ang="0">
                    <a:pos x="36" y="2"/>
                  </a:cxn>
                  <a:cxn ang="0">
                    <a:pos x="27" y="0"/>
                  </a:cxn>
                </a:cxnLst>
                <a:rect l="0" t="0" r="r" b="b"/>
                <a:pathLst>
                  <a:path w="54" h="54">
                    <a:moveTo>
                      <a:pt x="27" y="0"/>
                    </a:moveTo>
                    <a:lnTo>
                      <a:pt x="27" y="0"/>
                    </a:lnTo>
                    <a:lnTo>
                      <a:pt x="19" y="2"/>
                    </a:lnTo>
                    <a:lnTo>
                      <a:pt x="19" y="2"/>
                    </a:lnTo>
                    <a:lnTo>
                      <a:pt x="11" y="6"/>
                    </a:lnTo>
                    <a:lnTo>
                      <a:pt x="2" y="14"/>
                    </a:lnTo>
                    <a:lnTo>
                      <a:pt x="0" y="2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5" y="42"/>
                    </a:lnTo>
                    <a:lnTo>
                      <a:pt x="11" y="48"/>
                    </a:lnTo>
                    <a:lnTo>
                      <a:pt x="19" y="52"/>
                    </a:lnTo>
                    <a:lnTo>
                      <a:pt x="27" y="54"/>
                    </a:lnTo>
                    <a:lnTo>
                      <a:pt x="27" y="54"/>
                    </a:lnTo>
                    <a:lnTo>
                      <a:pt x="33" y="54"/>
                    </a:lnTo>
                    <a:lnTo>
                      <a:pt x="33" y="54"/>
                    </a:lnTo>
                    <a:lnTo>
                      <a:pt x="44" y="48"/>
                    </a:lnTo>
                    <a:lnTo>
                      <a:pt x="52" y="40"/>
                    </a:lnTo>
                    <a:lnTo>
                      <a:pt x="54" y="30"/>
                    </a:lnTo>
                    <a:lnTo>
                      <a:pt x="54" y="20"/>
                    </a:lnTo>
                    <a:lnTo>
                      <a:pt x="54" y="20"/>
                    </a:lnTo>
                    <a:lnTo>
                      <a:pt x="50" y="12"/>
                    </a:lnTo>
                    <a:lnTo>
                      <a:pt x="44" y="6"/>
                    </a:lnTo>
                    <a:lnTo>
                      <a:pt x="36" y="2"/>
                    </a:lnTo>
                    <a:lnTo>
                      <a:pt x="2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17" name="Freeform 228"/>
              <p:cNvSpPr>
                <a:spLocks/>
              </p:cNvSpPr>
              <p:nvPr userDrawn="1"/>
            </p:nvSpPr>
            <p:spPr bwMode="auto">
              <a:xfrm>
                <a:off x="2798" y="3641"/>
                <a:ext cx="48" cy="48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8" y="2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4" y="12"/>
                  </a:cxn>
                  <a:cxn ang="0">
                    <a:pos x="0" y="22"/>
                  </a:cxn>
                  <a:cxn ang="0">
                    <a:pos x="2" y="30"/>
                  </a:cxn>
                  <a:cxn ang="0">
                    <a:pos x="2" y="30"/>
                  </a:cxn>
                  <a:cxn ang="0">
                    <a:pos x="4" y="38"/>
                  </a:cxn>
                  <a:cxn ang="0">
                    <a:pos x="10" y="44"/>
                  </a:cxn>
                  <a:cxn ang="0">
                    <a:pos x="16" y="48"/>
                  </a:cxn>
                  <a:cxn ang="0">
                    <a:pos x="24" y="48"/>
                  </a:cxn>
                  <a:cxn ang="0">
                    <a:pos x="24" y="48"/>
                  </a:cxn>
                  <a:cxn ang="0">
                    <a:pos x="30" y="48"/>
                  </a:cxn>
                  <a:cxn ang="0">
                    <a:pos x="30" y="48"/>
                  </a:cxn>
                  <a:cxn ang="0">
                    <a:pos x="40" y="44"/>
                  </a:cxn>
                  <a:cxn ang="0">
                    <a:pos x="46" y="36"/>
                  </a:cxn>
                  <a:cxn ang="0">
                    <a:pos x="48" y="28"/>
                  </a:cxn>
                  <a:cxn ang="0">
                    <a:pos x="48" y="18"/>
                  </a:cxn>
                  <a:cxn ang="0">
                    <a:pos x="48" y="18"/>
                  </a:cxn>
                  <a:cxn ang="0">
                    <a:pos x="44" y="12"/>
                  </a:cxn>
                  <a:cxn ang="0">
                    <a:pos x="40" y="6"/>
                  </a:cxn>
                  <a:cxn ang="0">
                    <a:pos x="32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lnTo>
                      <a:pt x="24" y="0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4" y="12"/>
                    </a:lnTo>
                    <a:lnTo>
                      <a:pt x="0" y="22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4" y="38"/>
                    </a:lnTo>
                    <a:lnTo>
                      <a:pt x="10" y="44"/>
                    </a:lnTo>
                    <a:lnTo>
                      <a:pt x="16" y="48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40" y="44"/>
                    </a:lnTo>
                    <a:lnTo>
                      <a:pt x="46" y="36"/>
                    </a:lnTo>
                    <a:lnTo>
                      <a:pt x="48" y="2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4" y="12"/>
                    </a:lnTo>
                    <a:lnTo>
                      <a:pt x="40" y="6"/>
                    </a:lnTo>
                    <a:lnTo>
                      <a:pt x="32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18" name="Freeform 229"/>
              <p:cNvSpPr>
                <a:spLocks/>
              </p:cNvSpPr>
              <p:nvPr userDrawn="1"/>
            </p:nvSpPr>
            <p:spPr bwMode="auto">
              <a:xfrm>
                <a:off x="2798" y="3641"/>
                <a:ext cx="48" cy="48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8" y="2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4" y="12"/>
                  </a:cxn>
                  <a:cxn ang="0">
                    <a:pos x="0" y="22"/>
                  </a:cxn>
                  <a:cxn ang="0">
                    <a:pos x="2" y="30"/>
                  </a:cxn>
                  <a:cxn ang="0">
                    <a:pos x="2" y="30"/>
                  </a:cxn>
                  <a:cxn ang="0">
                    <a:pos x="4" y="38"/>
                  </a:cxn>
                  <a:cxn ang="0">
                    <a:pos x="10" y="44"/>
                  </a:cxn>
                  <a:cxn ang="0">
                    <a:pos x="16" y="48"/>
                  </a:cxn>
                  <a:cxn ang="0">
                    <a:pos x="24" y="48"/>
                  </a:cxn>
                  <a:cxn ang="0">
                    <a:pos x="24" y="48"/>
                  </a:cxn>
                  <a:cxn ang="0">
                    <a:pos x="30" y="48"/>
                  </a:cxn>
                  <a:cxn ang="0">
                    <a:pos x="30" y="48"/>
                  </a:cxn>
                  <a:cxn ang="0">
                    <a:pos x="40" y="44"/>
                  </a:cxn>
                  <a:cxn ang="0">
                    <a:pos x="46" y="36"/>
                  </a:cxn>
                  <a:cxn ang="0">
                    <a:pos x="48" y="28"/>
                  </a:cxn>
                  <a:cxn ang="0">
                    <a:pos x="48" y="18"/>
                  </a:cxn>
                  <a:cxn ang="0">
                    <a:pos x="48" y="18"/>
                  </a:cxn>
                  <a:cxn ang="0">
                    <a:pos x="44" y="12"/>
                  </a:cxn>
                  <a:cxn ang="0">
                    <a:pos x="40" y="6"/>
                  </a:cxn>
                  <a:cxn ang="0">
                    <a:pos x="32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lnTo>
                      <a:pt x="24" y="0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4" y="12"/>
                    </a:lnTo>
                    <a:lnTo>
                      <a:pt x="0" y="22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4" y="38"/>
                    </a:lnTo>
                    <a:lnTo>
                      <a:pt x="10" y="44"/>
                    </a:lnTo>
                    <a:lnTo>
                      <a:pt x="16" y="48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40" y="44"/>
                    </a:lnTo>
                    <a:lnTo>
                      <a:pt x="46" y="36"/>
                    </a:lnTo>
                    <a:lnTo>
                      <a:pt x="48" y="2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4" y="12"/>
                    </a:lnTo>
                    <a:lnTo>
                      <a:pt x="40" y="6"/>
                    </a:lnTo>
                    <a:lnTo>
                      <a:pt x="32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19" name="Freeform 230"/>
              <p:cNvSpPr>
                <a:spLocks/>
              </p:cNvSpPr>
              <p:nvPr userDrawn="1"/>
            </p:nvSpPr>
            <p:spPr bwMode="auto">
              <a:xfrm>
                <a:off x="2858" y="3725"/>
                <a:ext cx="48" cy="42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11" y="4"/>
                  </a:cxn>
                  <a:cxn ang="0">
                    <a:pos x="5" y="10"/>
                  </a:cxn>
                  <a:cxn ang="0">
                    <a:pos x="0" y="17"/>
                  </a:cxn>
                  <a:cxn ang="0">
                    <a:pos x="2" y="25"/>
                  </a:cxn>
                  <a:cxn ang="0">
                    <a:pos x="2" y="25"/>
                  </a:cxn>
                  <a:cxn ang="0">
                    <a:pos x="5" y="33"/>
                  </a:cxn>
                  <a:cxn ang="0">
                    <a:pos x="11" y="36"/>
                  </a:cxn>
                  <a:cxn ang="0">
                    <a:pos x="18" y="40"/>
                  </a:cxn>
                  <a:cxn ang="0">
                    <a:pos x="24" y="42"/>
                  </a:cxn>
                  <a:cxn ang="0">
                    <a:pos x="24" y="42"/>
                  </a:cxn>
                  <a:cxn ang="0">
                    <a:pos x="31" y="40"/>
                  </a:cxn>
                  <a:cxn ang="0">
                    <a:pos x="31" y="40"/>
                  </a:cxn>
                  <a:cxn ang="0">
                    <a:pos x="39" y="36"/>
                  </a:cxn>
                  <a:cxn ang="0">
                    <a:pos x="46" y="31"/>
                  </a:cxn>
                  <a:cxn ang="0">
                    <a:pos x="48" y="23"/>
                  </a:cxn>
                  <a:cxn ang="0">
                    <a:pos x="48" y="15"/>
                  </a:cxn>
                  <a:cxn ang="0">
                    <a:pos x="48" y="15"/>
                  </a:cxn>
                  <a:cxn ang="0">
                    <a:pos x="44" y="10"/>
                  </a:cxn>
                  <a:cxn ang="0">
                    <a:pos x="39" y="4"/>
                  </a:cxn>
                  <a:cxn ang="0">
                    <a:pos x="33" y="0"/>
                  </a:cxn>
                  <a:cxn ang="0">
                    <a:pos x="24" y="0"/>
                  </a:cxn>
                </a:cxnLst>
                <a:rect l="0" t="0" r="r" b="b"/>
                <a:pathLst>
                  <a:path w="48" h="42">
                    <a:moveTo>
                      <a:pt x="24" y="0"/>
                    </a:moveTo>
                    <a:lnTo>
                      <a:pt x="2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1" y="4"/>
                    </a:lnTo>
                    <a:lnTo>
                      <a:pt x="5" y="10"/>
                    </a:lnTo>
                    <a:lnTo>
                      <a:pt x="0" y="17"/>
                    </a:lnTo>
                    <a:lnTo>
                      <a:pt x="2" y="25"/>
                    </a:lnTo>
                    <a:lnTo>
                      <a:pt x="2" y="25"/>
                    </a:lnTo>
                    <a:lnTo>
                      <a:pt x="5" y="33"/>
                    </a:lnTo>
                    <a:lnTo>
                      <a:pt x="11" y="36"/>
                    </a:lnTo>
                    <a:lnTo>
                      <a:pt x="18" y="40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31" y="40"/>
                    </a:lnTo>
                    <a:lnTo>
                      <a:pt x="31" y="40"/>
                    </a:lnTo>
                    <a:lnTo>
                      <a:pt x="39" y="36"/>
                    </a:lnTo>
                    <a:lnTo>
                      <a:pt x="46" y="31"/>
                    </a:lnTo>
                    <a:lnTo>
                      <a:pt x="48" y="23"/>
                    </a:lnTo>
                    <a:lnTo>
                      <a:pt x="48" y="15"/>
                    </a:lnTo>
                    <a:lnTo>
                      <a:pt x="48" y="15"/>
                    </a:lnTo>
                    <a:lnTo>
                      <a:pt x="44" y="10"/>
                    </a:lnTo>
                    <a:lnTo>
                      <a:pt x="39" y="4"/>
                    </a:lnTo>
                    <a:lnTo>
                      <a:pt x="33" y="0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20" name="Freeform 231"/>
              <p:cNvSpPr>
                <a:spLocks/>
              </p:cNvSpPr>
              <p:nvPr userDrawn="1"/>
            </p:nvSpPr>
            <p:spPr bwMode="auto">
              <a:xfrm>
                <a:off x="2858" y="3725"/>
                <a:ext cx="48" cy="42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11" y="4"/>
                  </a:cxn>
                  <a:cxn ang="0">
                    <a:pos x="5" y="10"/>
                  </a:cxn>
                  <a:cxn ang="0">
                    <a:pos x="0" y="17"/>
                  </a:cxn>
                  <a:cxn ang="0">
                    <a:pos x="2" y="25"/>
                  </a:cxn>
                  <a:cxn ang="0">
                    <a:pos x="2" y="25"/>
                  </a:cxn>
                  <a:cxn ang="0">
                    <a:pos x="5" y="33"/>
                  </a:cxn>
                  <a:cxn ang="0">
                    <a:pos x="11" y="36"/>
                  </a:cxn>
                  <a:cxn ang="0">
                    <a:pos x="18" y="40"/>
                  </a:cxn>
                  <a:cxn ang="0">
                    <a:pos x="24" y="42"/>
                  </a:cxn>
                  <a:cxn ang="0">
                    <a:pos x="24" y="42"/>
                  </a:cxn>
                  <a:cxn ang="0">
                    <a:pos x="31" y="40"/>
                  </a:cxn>
                  <a:cxn ang="0">
                    <a:pos x="31" y="40"/>
                  </a:cxn>
                  <a:cxn ang="0">
                    <a:pos x="39" y="36"/>
                  </a:cxn>
                  <a:cxn ang="0">
                    <a:pos x="46" y="31"/>
                  </a:cxn>
                  <a:cxn ang="0">
                    <a:pos x="48" y="23"/>
                  </a:cxn>
                  <a:cxn ang="0">
                    <a:pos x="48" y="15"/>
                  </a:cxn>
                  <a:cxn ang="0">
                    <a:pos x="48" y="15"/>
                  </a:cxn>
                  <a:cxn ang="0">
                    <a:pos x="44" y="10"/>
                  </a:cxn>
                  <a:cxn ang="0">
                    <a:pos x="39" y="4"/>
                  </a:cxn>
                  <a:cxn ang="0">
                    <a:pos x="33" y="0"/>
                  </a:cxn>
                  <a:cxn ang="0">
                    <a:pos x="24" y="0"/>
                  </a:cxn>
                </a:cxnLst>
                <a:rect l="0" t="0" r="r" b="b"/>
                <a:pathLst>
                  <a:path w="48" h="42">
                    <a:moveTo>
                      <a:pt x="24" y="0"/>
                    </a:moveTo>
                    <a:lnTo>
                      <a:pt x="2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1" y="4"/>
                    </a:lnTo>
                    <a:lnTo>
                      <a:pt x="5" y="10"/>
                    </a:lnTo>
                    <a:lnTo>
                      <a:pt x="0" y="17"/>
                    </a:lnTo>
                    <a:lnTo>
                      <a:pt x="2" y="25"/>
                    </a:lnTo>
                    <a:lnTo>
                      <a:pt x="2" y="25"/>
                    </a:lnTo>
                    <a:lnTo>
                      <a:pt x="5" y="33"/>
                    </a:lnTo>
                    <a:lnTo>
                      <a:pt x="11" y="36"/>
                    </a:lnTo>
                    <a:lnTo>
                      <a:pt x="18" y="40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31" y="40"/>
                    </a:lnTo>
                    <a:lnTo>
                      <a:pt x="31" y="40"/>
                    </a:lnTo>
                    <a:lnTo>
                      <a:pt x="39" y="36"/>
                    </a:lnTo>
                    <a:lnTo>
                      <a:pt x="46" y="31"/>
                    </a:lnTo>
                    <a:lnTo>
                      <a:pt x="48" y="23"/>
                    </a:lnTo>
                    <a:lnTo>
                      <a:pt x="48" y="15"/>
                    </a:lnTo>
                    <a:lnTo>
                      <a:pt x="48" y="15"/>
                    </a:lnTo>
                    <a:lnTo>
                      <a:pt x="44" y="10"/>
                    </a:lnTo>
                    <a:lnTo>
                      <a:pt x="39" y="4"/>
                    </a:lnTo>
                    <a:lnTo>
                      <a:pt x="33" y="0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21" name="Freeform 232"/>
              <p:cNvSpPr>
                <a:spLocks/>
              </p:cNvSpPr>
              <p:nvPr userDrawn="1"/>
            </p:nvSpPr>
            <p:spPr bwMode="auto">
              <a:xfrm>
                <a:off x="2936" y="3797"/>
                <a:ext cx="36" cy="42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3" y="0"/>
                  </a:cxn>
                  <a:cxn ang="0">
                    <a:pos x="13" y="0"/>
                  </a:cxn>
                  <a:cxn ang="0">
                    <a:pos x="8" y="5"/>
                  </a:cxn>
                  <a:cxn ang="0">
                    <a:pos x="2" y="9"/>
                  </a:cxn>
                  <a:cxn ang="0">
                    <a:pos x="0" y="18"/>
                  </a:cxn>
                  <a:cxn ang="0">
                    <a:pos x="0" y="27"/>
                  </a:cxn>
                  <a:cxn ang="0">
                    <a:pos x="0" y="27"/>
                  </a:cxn>
                  <a:cxn ang="0">
                    <a:pos x="4" y="33"/>
                  </a:cxn>
                  <a:cxn ang="0">
                    <a:pos x="8" y="38"/>
                  </a:cxn>
                  <a:cxn ang="0">
                    <a:pos x="13" y="42"/>
                  </a:cxn>
                  <a:cxn ang="0">
                    <a:pos x="18" y="42"/>
                  </a:cxn>
                  <a:cxn ang="0">
                    <a:pos x="18" y="42"/>
                  </a:cxn>
                  <a:cxn ang="0">
                    <a:pos x="22" y="42"/>
                  </a:cxn>
                  <a:cxn ang="0">
                    <a:pos x="22" y="42"/>
                  </a:cxn>
                  <a:cxn ang="0">
                    <a:pos x="29" y="38"/>
                  </a:cxn>
                  <a:cxn ang="0">
                    <a:pos x="33" y="31"/>
                  </a:cxn>
                  <a:cxn ang="0">
                    <a:pos x="36" y="24"/>
                  </a:cxn>
                  <a:cxn ang="0">
                    <a:pos x="35" y="16"/>
                  </a:cxn>
                  <a:cxn ang="0">
                    <a:pos x="35" y="16"/>
                  </a:cxn>
                  <a:cxn ang="0">
                    <a:pos x="33" y="9"/>
                  </a:cxn>
                  <a:cxn ang="0">
                    <a:pos x="29" y="5"/>
                  </a:cxn>
                  <a:cxn ang="0">
                    <a:pos x="24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42">
                    <a:moveTo>
                      <a:pt x="18" y="0"/>
                    </a:moveTo>
                    <a:lnTo>
                      <a:pt x="18" y="0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8" y="5"/>
                    </a:lnTo>
                    <a:lnTo>
                      <a:pt x="2" y="9"/>
                    </a:lnTo>
                    <a:lnTo>
                      <a:pt x="0" y="18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4" y="33"/>
                    </a:lnTo>
                    <a:lnTo>
                      <a:pt x="8" y="38"/>
                    </a:lnTo>
                    <a:lnTo>
                      <a:pt x="13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9" y="38"/>
                    </a:lnTo>
                    <a:lnTo>
                      <a:pt x="33" y="31"/>
                    </a:lnTo>
                    <a:lnTo>
                      <a:pt x="36" y="24"/>
                    </a:lnTo>
                    <a:lnTo>
                      <a:pt x="35" y="16"/>
                    </a:lnTo>
                    <a:lnTo>
                      <a:pt x="35" y="16"/>
                    </a:lnTo>
                    <a:lnTo>
                      <a:pt x="33" y="9"/>
                    </a:lnTo>
                    <a:lnTo>
                      <a:pt x="29" y="5"/>
                    </a:lnTo>
                    <a:lnTo>
                      <a:pt x="24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22" name="Freeform 233"/>
              <p:cNvSpPr>
                <a:spLocks/>
              </p:cNvSpPr>
              <p:nvPr userDrawn="1"/>
            </p:nvSpPr>
            <p:spPr bwMode="auto">
              <a:xfrm>
                <a:off x="2936" y="3797"/>
                <a:ext cx="36" cy="42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3" y="0"/>
                  </a:cxn>
                  <a:cxn ang="0">
                    <a:pos x="13" y="0"/>
                  </a:cxn>
                  <a:cxn ang="0">
                    <a:pos x="8" y="5"/>
                  </a:cxn>
                  <a:cxn ang="0">
                    <a:pos x="2" y="9"/>
                  </a:cxn>
                  <a:cxn ang="0">
                    <a:pos x="0" y="18"/>
                  </a:cxn>
                  <a:cxn ang="0">
                    <a:pos x="0" y="27"/>
                  </a:cxn>
                  <a:cxn ang="0">
                    <a:pos x="0" y="27"/>
                  </a:cxn>
                  <a:cxn ang="0">
                    <a:pos x="4" y="33"/>
                  </a:cxn>
                  <a:cxn ang="0">
                    <a:pos x="8" y="38"/>
                  </a:cxn>
                  <a:cxn ang="0">
                    <a:pos x="13" y="42"/>
                  </a:cxn>
                  <a:cxn ang="0">
                    <a:pos x="18" y="42"/>
                  </a:cxn>
                  <a:cxn ang="0">
                    <a:pos x="18" y="42"/>
                  </a:cxn>
                  <a:cxn ang="0">
                    <a:pos x="22" y="42"/>
                  </a:cxn>
                  <a:cxn ang="0">
                    <a:pos x="22" y="42"/>
                  </a:cxn>
                  <a:cxn ang="0">
                    <a:pos x="29" y="38"/>
                  </a:cxn>
                  <a:cxn ang="0">
                    <a:pos x="33" y="31"/>
                  </a:cxn>
                  <a:cxn ang="0">
                    <a:pos x="36" y="24"/>
                  </a:cxn>
                  <a:cxn ang="0">
                    <a:pos x="35" y="16"/>
                  </a:cxn>
                  <a:cxn ang="0">
                    <a:pos x="35" y="16"/>
                  </a:cxn>
                  <a:cxn ang="0">
                    <a:pos x="33" y="9"/>
                  </a:cxn>
                  <a:cxn ang="0">
                    <a:pos x="29" y="5"/>
                  </a:cxn>
                  <a:cxn ang="0">
                    <a:pos x="24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42">
                    <a:moveTo>
                      <a:pt x="18" y="0"/>
                    </a:moveTo>
                    <a:lnTo>
                      <a:pt x="18" y="0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8" y="5"/>
                    </a:lnTo>
                    <a:lnTo>
                      <a:pt x="2" y="9"/>
                    </a:lnTo>
                    <a:lnTo>
                      <a:pt x="0" y="18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4" y="33"/>
                    </a:lnTo>
                    <a:lnTo>
                      <a:pt x="8" y="38"/>
                    </a:lnTo>
                    <a:lnTo>
                      <a:pt x="13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9" y="38"/>
                    </a:lnTo>
                    <a:lnTo>
                      <a:pt x="33" y="31"/>
                    </a:lnTo>
                    <a:lnTo>
                      <a:pt x="36" y="24"/>
                    </a:lnTo>
                    <a:lnTo>
                      <a:pt x="35" y="16"/>
                    </a:lnTo>
                    <a:lnTo>
                      <a:pt x="35" y="16"/>
                    </a:lnTo>
                    <a:lnTo>
                      <a:pt x="33" y="9"/>
                    </a:lnTo>
                    <a:lnTo>
                      <a:pt x="29" y="5"/>
                    </a:lnTo>
                    <a:lnTo>
                      <a:pt x="24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23" name="Freeform 234"/>
              <p:cNvSpPr>
                <a:spLocks/>
              </p:cNvSpPr>
              <p:nvPr userDrawn="1"/>
            </p:nvSpPr>
            <p:spPr bwMode="auto">
              <a:xfrm>
                <a:off x="3020" y="3857"/>
                <a:ext cx="36" cy="36"/>
              </a:xfrm>
              <a:custGeom>
                <a:avLst/>
                <a:gdLst/>
                <a:ahLst/>
                <a:cxnLst>
                  <a:cxn ang="0">
                    <a:pos x="17" y="0"/>
                  </a:cxn>
                  <a:cxn ang="0">
                    <a:pos x="17" y="0"/>
                  </a:cxn>
                  <a:cxn ang="0">
                    <a:pos x="13" y="2"/>
                  </a:cxn>
                  <a:cxn ang="0">
                    <a:pos x="13" y="2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2" y="28"/>
                  </a:cxn>
                  <a:cxn ang="0">
                    <a:pos x="6" y="32"/>
                  </a:cxn>
                  <a:cxn ang="0">
                    <a:pos x="11" y="36"/>
                  </a:cxn>
                  <a:cxn ang="0">
                    <a:pos x="17" y="36"/>
                  </a:cxn>
                  <a:cxn ang="0">
                    <a:pos x="17" y="36"/>
                  </a:cxn>
                  <a:cxn ang="0">
                    <a:pos x="24" y="36"/>
                  </a:cxn>
                  <a:cxn ang="0">
                    <a:pos x="24" y="36"/>
                  </a:cxn>
                  <a:cxn ang="0">
                    <a:pos x="30" y="32"/>
                  </a:cxn>
                  <a:cxn ang="0">
                    <a:pos x="34" y="28"/>
                  </a:cxn>
                  <a:cxn ang="0">
                    <a:pos x="36" y="22"/>
                  </a:cxn>
                  <a:cxn ang="0">
                    <a:pos x="36" y="14"/>
                  </a:cxn>
                  <a:cxn ang="0">
                    <a:pos x="36" y="14"/>
                  </a:cxn>
                  <a:cxn ang="0">
                    <a:pos x="34" y="8"/>
                  </a:cxn>
                  <a:cxn ang="0">
                    <a:pos x="30" y="4"/>
                  </a:cxn>
                  <a:cxn ang="0">
                    <a:pos x="24" y="2"/>
                  </a:cxn>
                  <a:cxn ang="0">
                    <a:pos x="17" y="0"/>
                  </a:cxn>
                </a:cxnLst>
                <a:rect l="0" t="0" r="r" b="b"/>
                <a:pathLst>
                  <a:path w="36" h="36">
                    <a:moveTo>
                      <a:pt x="17" y="0"/>
                    </a:moveTo>
                    <a:lnTo>
                      <a:pt x="17" y="0"/>
                    </a:lnTo>
                    <a:lnTo>
                      <a:pt x="13" y="2"/>
                    </a:lnTo>
                    <a:lnTo>
                      <a:pt x="13" y="2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28"/>
                    </a:lnTo>
                    <a:lnTo>
                      <a:pt x="6" y="32"/>
                    </a:lnTo>
                    <a:lnTo>
                      <a:pt x="11" y="36"/>
                    </a:lnTo>
                    <a:lnTo>
                      <a:pt x="17" y="36"/>
                    </a:lnTo>
                    <a:lnTo>
                      <a:pt x="17" y="36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30" y="32"/>
                    </a:lnTo>
                    <a:lnTo>
                      <a:pt x="34" y="28"/>
                    </a:lnTo>
                    <a:lnTo>
                      <a:pt x="36" y="22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4" y="8"/>
                    </a:lnTo>
                    <a:lnTo>
                      <a:pt x="30" y="4"/>
                    </a:lnTo>
                    <a:lnTo>
                      <a:pt x="24" y="2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24" name="Freeform 235"/>
              <p:cNvSpPr>
                <a:spLocks/>
              </p:cNvSpPr>
              <p:nvPr userDrawn="1"/>
            </p:nvSpPr>
            <p:spPr bwMode="auto">
              <a:xfrm>
                <a:off x="3020" y="3857"/>
                <a:ext cx="36" cy="36"/>
              </a:xfrm>
              <a:custGeom>
                <a:avLst/>
                <a:gdLst/>
                <a:ahLst/>
                <a:cxnLst>
                  <a:cxn ang="0">
                    <a:pos x="17" y="0"/>
                  </a:cxn>
                  <a:cxn ang="0">
                    <a:pos x="17" y="0"/>
                  </a:cxn>
                  <a:cxn ang="0">
                    <a:pos x="13" y="2"/>
                  </a:cxn>
                  <a:cxn ang="0">
                    <a:pos x="13" y="2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2" y="28"/>
                  </a:cxn>
                  <a:cxn ang="0">
                    <a:pos x="6" y="32"/>
                  </a:cxn>
                  <a:cxn ang="0">
                    <a:pos x="11" y="36"/>
                  </a:cxn>
                  <a:cxn ang="0">
                    <a:pos x="17" y="36"/>
                  </a:cxn>
                  <a:cxn ang="0">
                    <a:pos x="17" y="36"/>
                  </a:cxn>
                  <a:cxn ang="0">
                    <a:pos x="24" y="36"/>
                  </a:cxn>
                  <a:cxn ang="0">
                    <a:pos x="24" y="36"/>
                  </a:cxn>
                  <a:cxn ang="0">
                    <a:pos x="30" y="32"/>
                  </a:cxn>
                  <a:cxn ang="0">
                    <a:pos x="34" y="28"/>
                  </a:cxn>
                  <a:cxn ang="0">
                    <a:pos x="36" y="22"/>
                  </a:cxn>
                  <a:cxn ang="0">
                    <a:pos x="36" y="14"/>
                  </a:cxn>
                  <a:cxn ang="0">
                    <a:pos x="36" y="14"/>
                  </a:cxn>
                  <a:cxn ang="0">
                    <a:pos x="34" y="8"/>
                  </a:cxn>
                  <a:cxn ang="0">
                    <a:pos x="30" y="4"/>
                  </a:cxn>
                  <a:cxn ang="0">
                    <a:pos x="24" y="2"/>
                  </a:cxn>
                  <a:cxn ang="0">
                    <a:pos x="17" y="0"/>
                  </a:cxn>
                </a:cxnLst>
                <a:rect l="0" t="0" r="r" b="b"/>
                <a:pathLst>
                  <a:path w="36" h="36">
                    <a:moveTo>
                      <a:pt x="17" y="0"/>
                    </a:moveTo>
                    <a:lnTo>
                      <a:pt x="17" y="0"/>
                    </a:lnTo>
                    <a:lnTo>
                      <a:pt x="13" y="2"/>
                    </a:lnTo>
                    <a:lnTo>
                      <a:pt x="13" y="2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28"/>
                    </a:lnTo>
                    <a:lnTo>
                      <a:pt x="6" y="32"/>
                    </a:lnTo>
                    <a:lnTo>
                      <a:pt x="11" y="36"/>
                    </a:lnTo>
                    <a:lnTo>
                      <a:pt x="17" y="36"/>
                    </a:lnTo>
                    <a:lnTo>
                      <a:pt x="17" y="36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30" y="32"/>
                    </a:lnTo>
                    <a:lnTo>
                      <a:pt x="34" y="28"/>
                    </a:lnTo>
                    <a:lnTo>
                      <a:pt x="36" y="22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4" y="8"/>
                    </a:lnTo>
                    <a:lnTo>
                      <a:pt x="30" y="4"/>
                    </a:lnTo>
                    <a:lnTo>
                      <a:pt x="24" y="2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25" name="Freeform 236"/>
              <p:cNvSpPr>
                <a:spLocks/>
              </p:cNvSpPr>
              <p:nvPr userDrawn="1"/>
            </p:nvSpPr>
            <p:spPr bwMode="auto">
              <a:xfrm>
                <a:off x="3110" y="3905"/>
                <a:ext cx="36" cy="30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7" y="2"/>
                  </a:cxn>
                  <a:cxn ang="0">
                    <a:pos x="2" y="8"/>
                  </a:cxn>
                  <a:cxn ang="0">
                    <a:pos x="0" y="13"/>
                  </a:cxn>
                  <a:cxn ang="0">
                    <a:pos x="0" y="19"/>
                  </a:cxn>
                  <a:cxn ang="0">
                    <a:pos x="0" y="19"/>
                  </a:cxn>
                  <a:cxn ang="0">
                    <a:pos x="2" y="23"/>
                  </a:cxn>
                  <a:cxn ang="0">
                    <a:pos x="7" y="26"/>
                  </a:cxn>
                  <a:cxn ang="0">
                    <a:pos x="11" y="28"/>
                  </a:cxn>
                  <a:cxn ang="0">
                    <a:pos x="18" y="30"/>
                  </a:cxn>
                  <a:cxn ang="0">
                    <a:pos x="18" y="30"/>
                  </a:cxn>
                  <a:cxn ang="0">
                    <a:pos x="23" y="28"/>
                  </a:cxn>
                  <a:cxn ang="0">
                    <a:pos x="23" y="28"/>
                  </a:cxn>
                  <a:cxn ang="0">
                    <a:pos x="29" y="26"/>
                  </a:cxn>
                  <a:cxn ang="0">
                    <a:pos x="34" y="23"/>
                  </a:cxn>
                  <a:cxn ang="0">
                    <a:pos x="36" y="17"/>
                  </a:cxn>
                  <a:cxn ang="0">
                    <a:pos x="36" y="11"/>
                  </a:cxn>
                  <a:cxn ang="0">
                    <a:pos x="36" y="11"/>
                  </a:cxn>
                  <a:cxn ang="0">
                    <a:pos x="34" y="6"/>
                  </a:cxn>
                  <a:cxn ang="0">
                    <a:pos x="29" y="2"/>
                  </a:cxn>
                  <a:cxn ang="0">
                    <a:pos x="25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0">
                    <a:moveTo>
                      <a:pt x="18" y="0"/>
                    </a:moveTo>
                    <a:lnTo>
                      <a:pt x="18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7" y="2"/>
                    </a:lnTo>
                    <a:lnTo>
                      <a:pt x="2" y="8"/>
                    </a:lnTo>
                    <a:lnTo>
                      <a:pt x="0" y="13"/>
                    </a:lnTo>
                    <a:lnTo>
                      <a:pt x="0" y="19"/>
                    </a:lnTo>
                    <a:lnTo>
                      <a:pt x="0" y="19"/>
                    </a:lnTo>
                    <a:lnTo>
                      <a:pt x="2" y="23"/>
                    </a:lnTo>
                    <a:lnTo>
                      <a:pt x="7" y="26"/>
                    </a:lnTo>
                    <a:lnTo>
                      <a:pt x="11" y="28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3" y="28"/>
                    </a:lnTo>
                    <a:lnTo>
                      <a:pt x="23" y="28"/>
                    </a:lnTo>
                    <a:lnTo>
                      <a:pt x="29" y="26"/>
                    </a:lnTo>
                    <a:lnTo>
                      <a:pt x="34" y="23"/>
                    </a:lnTo>
                    <a:lnTo>
                      <a:pt x="36" y="17"/>
                    </a:lnTo>
                    <a:lnTo>
                      <a:pt x="36" y="11"/>
                    </a:lnTo>
                    <a:lnTo>
                      <a:pt x="36" y="11"/>
                    </a:lnTo>
                    <a:lnTo>
                      <a:pt x="34" y="6"/>
                    </a:lnTo>
                    <a:lnTo>
                      <a:pt x="29" y="2"/>
                    </a:lnTo>
                    <a:lnTo>
                      <a:pt x="25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26" name="Freeform 237"/>
              <p:cNvSpPr>
                <a:spLocks/>
              </p:cNvSpPr>
              <p:nvPr userDrawn="1"/>
            </p:nvSpPr>
            <p:spPr bwMode="auto">
              <a:xfrm>
                <a:off x="3110" y="3905"/>
                <a:ext cx="36" cy="30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7" y="2"/>
                  </a:cxn>
                  <a:cxn ang="0">
                    <a:pos x="2" y="8"/>
                  </a:cxn>
                  <a:cxn ang="0">
                    <a:pos x="0" y="13"/>
                  </a:cxn>
                  <a:cxn ang="0">
                    <a:pos x="0" y="19"/>
                  </a:cxn>
                  <a:cxn ang="0">
                    <a:pos x="0" y="19"/>
                  </a:cxn>
                  <a:cxn ang="0">
                    <a:pos x="2" y="23"/>
                  </a:cxn>
                  <a:cxn ang="0">
                    <a:pos x="7" y="26"/>
                  </a:cxn>
                  <a:cxn ang="0">
                    <a:pos x="11" y="28"/>
                  </a:cxn>
                  <a:cxn ang="0">
                    <a:pos x="18" y="30"/>
                  </a:cxn>
                  <a:cxn ang="0">
                    <a:pos x="18" y="30"/>
                  </a:cxn>
                  <a:cxn ang="0">
                    <a:pos x="23" y="28"/>
                  </a:cxn>
                  <a:cxn ang="0">
                    <a:pos x="23" y="28"/>
                  </a:cxn>
                  <a:cxn ang="0">
                    <a:pos x="29" y="26"/>
                  </a:cxn>
                  <a:cxn ang="0">
                    <a:pos x="34" y="23"/>
                  </a:cxn>
                  <a:cxn ang="0">
                    <a:pos x="36" y="17"/>
                  </a:cxn>
                  <a:cxn ang="0">
                    <a:pos x="36" y="11"/>
                  </a:cxn>
                  <a:cxn ang="0">
                    <a:pos x="36" y="11"/>
                  </a:cxn>
                  <a:cxn ang="0">
                    <a:pos x="34" y="6"/>
                  </a:cxn>
                  <a:cxn ang="0">
                    <a:pos x="29" y="2"/>
                  </a:cxn>
                  <a:cxn ang="0">
                    <a:pos x="25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0">
                    <a:moveTo>
                      <a:pt x="18" y="0"/>
                    </a:moveTo>
                    <a:lnTo>
                      <a:pt x="18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7" y="2"/>
                    </a:lnTo>
                    <a:lnTo>
                      <a:pt x="2" y="8"/>
                    </a:lnTo>
                    <a:lnTo>
                      <a:pt x="0" y="13"/>
                    </a:lnTo>
                    <a:lnTo>
                      <a:pt x="0" y="19"/>
                    </a:lnTo>
                    <a:lnTo>
                      <a:pt x="0" y="19"/>
                    </a:lnTo>
                    <a:lnTo>
                      <a:pt x="2" y="23"/>
                    </a:lnTo>
                    <a:lnTo>
                      <a:pt x="7" y="26"/>
                    </a:lnTo>
                    <a:lnTo>
                      <a:pt x="11" y="28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3" y="28"/>
                    </a:lnTo>
                    <a:lnTo>
                      <a:pt x="23" y="28"/>
                    </a:lnTo>
                    <a:lnTo>
                      <a:pt x="29" y="26"/>
                    </a:lnTo>
                    <a:lnTo>
                      <a:pt x="34" y="23"/>
                    </a:lnTo>
                    <a:lnTo>
                      <a:pt x="36" y="17"/>
                    </a:lnTo>
                    <a:lnTo>
                      <a:pt x="36" y="11"/>
                    </a:lnTo>
                    <a:lnTo>
                      <a:pt x="36" y="11"/>
                    </a:lnTo>
                    <a:lnTo>
                      <a:pt x="34" y="6"/>
                    </a:lnTo>
                    <a:lnTo>
                      <a:pt x="29" y="2"/>
                    </a:lnTo>
                    <a:lnTo>
                      <a:pt x="25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27" name="Freeform 238"/>
              <p:cNvSpPr>
                <a:spLocks/>
              </p:cNvSpPr>
              <p:nvPr userDrawn="1"/>
            </p:nvSpPr>
            <p:spPr bwMode="auto">
              <a:xfrm>
                <a:off x="3212" y="3929"/>
                <a:ext cx="30" cy="30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5" y="2"/>
                  </a:cxn>
                  <a:cxn ang="0">
                    <a:pos x="2" y="7"/>
                  </a:cxn>
                  <a:cxn ang="0">
                    <a:pos x="0" y="13"/>
                  </a:cxn>
                  <a:cxn ang="0">
                    <a:pos x="0" y="20"/>
                  </a:cxn>
                  <a:cxn ang="0">
                    <a:pos x="0" y="20"/>
                  </a:cxn>
                  <a:cxn ang="0">
                    <a:pos x="2" y="24"/>
                  </a:cxn>
                  <a:cxn ang="0">
                    <a:pos x="5" y="26"/>
                  </a:cxn>
                  <a:cxn ang="0">
                    <a:pos x="9" y="28"/>
                  </a:cxn>
                  <a:cxn ang="0">
                    <a:pos x="15" y="30"/>
                  </a:cxn>
                  <a:cxn ang="0">
                    <a:pos x="15" y="30"/>
                  </a:cxn>
                  <a:cxn ang="0">
                    <a:pos x="20" y="30"/>
                  </a:cxn>
                  <a:cxn ang="0">
                    <a:pos x="20" y="30"/>
                  </a:cxn>
                  <a:cxn ang="0">
                    <a:pos x="24" y="26"/>
                  </a:cxn>
                  <a:cxn ang="0">
                    <a:pos x="28" y="22"/>
                  </a:cxn>
                  <a:cxn ang="0">
                    <a:pos x="30" y="17"/>
                  </a:cxn>
                  <a:cxn ang="0">
                    <a:pos x="30" y="11"/>
                  </a:cxn>
                  <a:cxn ang="0">
                    <a:pos x="30" y="11"/>
                  </a:cxn>
                  <a:cxn ang="0">
                    <a:pos x="28" y="7"/>
                  </a:cxn>
                  <a:cxn ang="0">
                    <a:pos x="24" y="2"/>
                  </a:cxn>
                  <a:cxn ang="0">
                    <a:pos x="20" y="0"/>
                  </a:cxn>
                  <a:cxn ang="0">
                    <a:pos x="15" y="0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5" y="0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5" y="2"/>
                    </a:lnTo>
                    <a:lnTo>
                      <a:pt x="2" y="7"/>
                    </a:lnTo>
                    <a:lnTo>
                      <a:pt x="0" y="13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2" y="24"/>
                    </a:lnTo>
                    <a:lnTo>
                      <a:pt x="5" y="26"/>
                    </a:lnTo>
                    <a:lnTo>
                      <a:pt x="9" y="28"/>
                    </a:lnTo>
                    <a:lnTo>
                      <a:pt x="15" y="30"/>
                    </a:lnTo>
                    <a:lnTo>
                      <a:pt x="15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4" y="26"/>
                    </a:lnTo>
                    <a:lnTo>
                      <a:pt x="28" y="22"/>
                    </a:lnTo>
                    <a:lnTo>
                      <a:pt x="30" y="17"/>
                    </a:lnTo>
                    <a:lnTo>
                      <a:pt x="30" y="11"/>
                    </a:lnTo>
                    <a:lnTo>
                      <a:pt x="30" y="11"/>
                    </a:lnTo>
                    <a:lnTo>
                      <a:pt x="28" y="7"/>
                    </a:lnTo>
                    <a:lnTo>
                      <a:pt x="24" y="2"/>
                    </a:lnTo>
                    <a:lnTo>
                      <a:pt x="20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28" name="Freeform 239"/>
              <p:cNvSpPr>
                <a:spLocks/>
              </p:cNvSpPr>
              <p:nvPr userDrawn="1"/>
            </p:nvSpPr>
            <p:spPr bwMode="auto">
              <a:xfrm>
                <a:off x="3212" y="3929"/>
                <a:ext cx="30" cy="30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5" y="2"/>
                  </a:cxn>
                  <a:cxn ang="0">
                    <a:pos x="2" y="7"/>
                  </a:cxn>
                  <a:cxn ang="0">
                    <a:pos x="0" y="13"/>
                  </a:cxn>
                  <a:cxn ang="0">
                    <a:pos x="0" y="20"/>
                  </a:cxn>
                  <a:cxn ang="0">
                    <a:pos x="0" y="20"/>
                  </a:cxn>
                  <a:cxn ang="0">
                    <a:pos x="2" y="24"/>
                  </a:cxn>
                  <a:cxn ang="0">
                    <a:pos x="5" y="26"/>
                  </a:cxn>
                  <a:cxn ang="0">
                    <a:pos x="9" y="28"/>
                  </a:cxn>
                  <a:cxn ang="0">
                    <a:pos x="15" y="30"/>
                  </a:cxn>
                  <a:cxn ang="0">
                    <a:pos x="15" y="30"/>
                  </a:cxn>
                  <a:cxn ang="0">
                    <a:pos x="20" y="30"/>
                  </a:cxn>
                  <a:cxn ang="0">
                    <a:pos x="20" y="30"/>
                  </a:cxn>
                  <a:cxn ang="0">
                    <a:pos x="24" y="26"/>
                  </a:cxn>
                  <a:cxn ang="0">
                    <a:pos x="28" y="22"/>
                  </a:cxn>
                  <a:cxn ang="0">
                    <a:pos x="30" y="17"/>
                  </a:cxn>
                  <a:cxn ang="0">
                    <a:pos x="30" y="11"/>
                  </a:cxn>
                  <a:cxn ang="0">
                    <a:pos x="30" y="11"/>
                  </a:cxn>
                  <a:cxn ang="0">
                    <a:pos x="28" y="7"/>
                  </a:cxn>
                  <a:cxn ang="0">
                    <a:pos x="24" y="2"/>
                  </a:cxn>
                  <a:cxn ang="0">
                    <a:pos x="20" y="0"/>
                  </a:cxn>
                  <a:cxn ang="0">
                    <a:pos x="15" y="0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5" y="0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5" y="2"/>
                    </a:lnTo>
                    <a:lnTo>
                      <a:pt x="2" y="7"/>
                    </a:lnTo>
                    <a:lnTo>
                      <a:pt x="0" y="13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2" y="24"/>
                    </a:lnTo>
                    <a:lnTo>
                      <a:pt x="5" y="26"/>
                    </a:lnTo>
                    <a:lnTo>
                      <a:pt x="9" y="28"/>
                    </a:lnTo>
                    <a:lnTo>
                      <a:pt x="15" y="30"/>
                    </a:lnTo>
                    <a:lnTo>
                      <a:pt x="15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4" y="26"/>
                    </a:lnTo>
                    <a:lnTo>
                      <a:pt x="28" y="22"/>
                    </a:lnTo>
                    <a:lnTo>
                      <a:pt x="30" y="17"/>
                    </a:lnTo>
                    <a:lnTo>
                      <a:pt x="30" y="11"/>
                    </a:lnTo>
                    <a:lnTo>
                      <a:pt x="30" y="11"/>
                    </a:lnTo>
                    <a:lnTo>
                      <a:pt x="28" y="7"/>
                    </a:lnTo>
                    <a:lnTo>
                      <a:pt x="24" y="2"/>
                    </a:lnTo>
                    <a:lnTo>
                      <a:pt x="20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29" name="Freeform 240"/>
              <p:cNvSpPr>
                <a:spLocks/>
              </p:cNvSpPr>
              <p:nvPr userDrawn="1"/>
            </p:nvSpPr>
            <p:spPr bwMode="auto">
              <a:xfrm>
                <a:off x="3314" y="3941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9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2" y="19"/>
                  </a:cxn>
                  <a:cxn ang="0">
                    <a:pos x="4" y="21"/>
                  </a:cxn>
                  <a:cxn ang="0">
                    <a:pos x="8" y="23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3"/>
                  </a:cxn>
                  <a:cxn ang="0">
                    <a:pos x="16" y="23"/>
                  </a:cxn>
                  <a:cxn ang="0">
                    <a:pos x="20" y="21"/>
                  </a:cxn>
                  <a:cxn ang="0">
                    <a:pos x="24" y="17"/>
                  </a:cxn>
                  <a:cxn ang="0">
                    <a:pos x="24" y="13"/>
                  </a:cxn>
                  <a:cxn ang="0">
                    <a:pos x="24" y="8"/>
                  </a:cxn>
                  <a:cxn ang="0">
                    <a:pos x="24" y="8"/>
                  </a:cxn>
                  <a:cxn ang="0">
                    <a:pos x="22" y="4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2" y="19"/>
                    </a:lnTo>
                    <a:lnTo>
                      <a:pt x="4" y="21"/>
                    </a:lnTo>
                    <a:lnTo>
                      <a:pt x="8" y="23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3"/>
                    </a:lnTo>
                    <a:lnTo>
                      <a:pt x="16" y="23"/>
                    </a:lnTo>
                    <a:lnTo>
                      <a:pt x="20" y="21"/>
                    </a:lnTo>
                    <a:lnTo>
                      <a:pt x="24" y="17"/>
                    </a:lnTo>
                    <a:lnTo>
                      <a:pt x="24" y="13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2" y="4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30" name="Freeform 241"/>
              <p:cNvSpPr>
                <a:spLocks/>
              </p:cNvSpPr>
              <p:nvPr userDrawn="1"/>
            </p:nvSpPr>
            <p:spPr bwMode="auto">
              <a:xfrm>
                <a:off x="3314" y="3941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9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2" y="19"/>
                  </a:cxn>
                  <a:cxn ang="0">
                    <a:pos x="4" y="21"/>
                  </a:cxn>
                  <a:cxn ang="0">
                    <a:pos x="8" y="23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3"/>
                  </a:cxn>
                  <a:cxn ang="0">
                    <a:pos x="16" y="23"/>
                  </a:cxn>
                  <a:cxn ang="0">
                    <a:pos x="20" y="21"/>
                  </a:cxn>
                  <a:cxn ang="0">
                    <a:pos x="24" y="17"/>
                  </a:cxn>
                  <a:cxn ang="0">
                    <a:pos x="24" y="13"/>
                  </a:cxn>
                  <a:cxn ang="0">
                    <a:pos x="24" y="8"/>
                  </a:cxn>
                  <a:cxn ang="0">
                    <a:pos x="24" y="8"/>
                  </a:cxn>
                  <a:cxn ang="0">
                    <a:pos x="22" y="4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2" y="19"/>
                    </a:lnTo>
                    <a:lnTo>
                      <a:pt x="4" y="21"/>
                    </a:lnTo>
                    <a:lnTo>
                      <a:pt x="8" y="23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3"/>
                    </a:lnTo>
                    <a:lnTo>
                      <a:pt x="16" y="23"/>
                    </a:lnTo>
                    <a:lnTo>
                      <a:pt x="20" y="21"/>
                    </a:lnTo>
                    <a:lnTo>
                      <a:pt x="24" y="17"/>
                    </a:lnTo>
                    <a:lnTo>
                      <a:pt x="24" y="13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2" y="4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31" name="Freeform 242"/>
              <p:cNvSpPr>
                <a:spLocks/>
              </p:cNvSpPr>
              <p:nvPr userDrawn="1"/>
            </p:nvSpPr>
            <p:spPr bwMode="auto">
              <a:xfrm>
                <a:off x="3416" y="3935"/>
                <a:ext cx="24" cy="18"/>
              </a:xfrm>
              <a:custGeom>
                <a:avLst/>
                <a:gdLst/>
                <a:ahLst/>
                <a:cxnLst>
                  <a:cxn ang="0">
                    <a:pos x="11" y="0"/>
                  </a:cxn>
                  <a:cxn ang="0">
                    <a:pos x="11" y="0"/>
                  </a:cxn>
                  <a:cxn ang="0">
                    <a:pos x="9" y="0"/>
                  </a:cxn>
                  <a:cxn ang="0">
                    <a:pos x="9" y="0"/>
                  </a:cxn>
                  <a:cxn ang="0">
                    <a:pos x="5" y="2"/>
                  </a:cxn>
                  <a:cxn ang="0">
                    <a:pos x="0" y="5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15"/>
                  </a:cxn>
                  <a:cxn ang="0">
                    <a:pos x="5" y="17"/>
                  </a:cxn>
                  <a:cxn ang="0">
                    <a:pos x="7" y="18"/>
                  </a:cxn>
                  <a:cxn ang="0">
                    <a:pos x="11" y="18"/>
                  </a:cxn>
                  <a:cxn ang="0">
                    <a:pos x="11" y="18"/>
                  </a:cxn>
                  <a:cxn ang="0">
                    <a:pos x="15" y="18"/>
                  </a:cxn>
                  <a:cxn ang="0">
                    <a:pos x="15" y="18"/>
                  </a:cxn>
                  <a:cxn ang="0">
                    <a:pos x="20" y="17"/>
                  </a:cxn>
                  <a:cxn ang="0">
                    <a:pos x="22" y="15"/>
                  </a:cxn>
                  <a:cxn ang="0">
                    <a:pos x="24" y="10"/>
                  </a:cxn>
                  <a:cxn ang="0">
                    <a:pos x="24" y="7"/>
                  </a:cxn>
                  <a:cxn ang="0">
                    <a:pos x="24" y="7"/>
                  </a:cxn>
                  <a:cxn ang="0">
                    <a:pos x="22" y="3"/>
                  </a:cxn>
                  <a:cxn ang="0">
                    <a:pos x="20" y="2"/>
                  </a:cxn>
                  <a:cxn ang="0">
                    <a:pos x="15" y="0"/>
                  </a:cxn>
                  <a:cxn ang="0">
                    <a:pos x="11" y="0"/>
                  </a:cxn>
                </a:cxnLst>
                <a:rect l="0" t="0" r="r" b="b"/>
                <a:pathLst>
                  <a:path w="24" h="18">
                    <a:moveTo>
                      <a:pt x="11" y="0"/>
                    </a:moveTo>
                    <a:lnTo>
                      <a:pt x="11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2"/>
                    </a:lnTo>
                    <a:lnTo>
                      <a:pt x="0" y="5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5"/>
                    </a:lnTo>
                    <a:lnTo>
                      <a:pt x="5" y="17"/>
                    </a:lnTo>
                    <a:lnTo>
                      <a:pt x="7" y="18"/>
                    </a:lnTo>
                    <a:lnTo>
                      <a:pt x="11" y="18"/>
                    </a:lnTo>
                    <a:lnTo>
                      <a:pt x="11" y="18"/>
                    </a:lnTo>
                    <a:lnTo>
                      <a:pt x="15" y="18"/>
                    </a:lnTo>
                    <a:lnTo>
                      <a:pt x="15" y="18"/>
                    </a:lnTo>
                    <a:lnTo>
                      <a:pt x="20" y="17"/>
                    </a:lnTo>
                    <a:lnTo>
                      <a:pt x="22" y="15"/>
                    </a:lnTo>
                    <a:lnTo>
                      <a:pt x="24" y="10"/>
                    </a:lnTo>
                    <a:lnTo>
                      <a:pt x="24" y="7"/>
                    </a:lnTo>
                    <a:lnTo>
                      <a:pt x="24" y="7"/>
                    </a:lnTo>
                    <a:lnTo>
                      <a:pt x="22" y="3"/>
                    </a:lnTo>
                    <a:lnTo>
                      <a:pt x="20" y="2"/>
                    </a:lnTo>
                    <a:lnTo>
                      <a:pt x="15" y="0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32" name="Freeform 243"/>
              <p:cNvSpPr>
                <a:spLocks/>
              </p:cNvSpPr>
              <p:nvPr userDrawn="1"/>
            </p:nvSpPr>
            <p:spPr bwMode="auto">
              <a:xfrm>
                <a:off x="3416" y="3935"/>
                <a:ext cx="24" cy="18"/>
              </a:xfrm>
              <a:custGeom>
                <a:avLst/>
                <a:gdLst/>
                <a:ahLst/>
                <a:cxnLst>
                  <a:cxn ang="0">
                    <a:pos x="11" y="0"/>
                  </a:cxn>
                  <a:cxn ang="0">
                    <a:pos x="11" y="0"/>
                  </a:cxn>
                  <a:cxn ang="0">
                    <a:pos x="9" y="0"/>
                  </a:cxn>
                  <a:cxn ang="0">
                    <a:pos x="9" y="0"/>
                  </a:cxn>
                  <a:cxn ang="0">
                    <a:pos x="5" y="2"/>
                  </a:cxn>
                  <a:cxn ang="0">
                    <a:pos x="0" y="5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15"/>
                  </a:cxn>
                  <a:cxn ang="0">
                    <a:pos x="5" y="17"/>
                  </a:cxn>
                  <a:cxn ang="0">
                    <a:pos x="7" y="18"/>
                  </a:cxn>
                  <a:cxn ang="0">
                    <a:pos x="11" y="18"/>
                  </a:cxn>
                  <a:cxn ang="0">
                    <a:pos x="11" y="18"/>
                  </a:cxn>
                  <a:cxn ang="0">
                    <a:pos x="15" y="18"/>
                  </a:cxn>
                  <a:cxn ang="0">
                    <a:pos x="15" y="18"/>
                  </a:cxn>
                  <a:cxn ang="0">
                    <a:pos x="20" y="17"/>
                  </a:cxn>
                  <a:cxn ang="0">
                    <a:pos x="22" y="15"/>
                  </a:cxn>
                  <a:cxn ang="0">
                    <a:pos x="24" y="10"/>
                  </a:cxn>
                  <a:cxn ang="0">
                    <a:pos x="24" y="7"/>
                  </a:cxn>
                  <a:cxn ang="0">
                    <a:pos x="24" y="7"/>
                  </a:cxn>
                  <a:cxn ang="0">
                    <a:pos x="22" y="3"/>
                  </a:cxn>
                  <a:cxn ang="0">
                    <a:pos x="20" y="2"/>
                  </a:cxn>
                  <a:cxn ang="0">
                    <a:pos x="15" y="0"/>
                  </a:cxn>
                  <a:cxn ang="0">
                    <a:pos x="11" y="0"/>
                  </a:cxn>
                </a:cxnLst>
                <a:rect l="0" t="0" r="r" b="b"/>
                <a:pathLst>
                  <a:path w="24" h="18">
                    <a:moveTo>
                      <a:pt x="11" y="0"/>
                    </a:moveTo>
                    <a:lnTo>
                      <a:pt x="11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2"/>
                    </a:lnTo>
                    <a:lnTo>
                      <a:pt x="0" y="5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5"/>
                    </a:lnTo>
                    <a:lnTo>
                      <a:pt x="5" y="17"/>
                    </a:lnTo>
                    <a:lnTo>
                      <a:pt x="7" y="18"/>
                    </a:lnTo>
                    <a:lnTo>
                      <a:pt x="11" y="18"/>
                    </a:lnTo>
                    <a:lnTo>
                      <a:pt x="11" y="18"/>
                    </a:lnTo>
                    <a:lnTo>
                      <a:pt x="15" y="18"/>
                    </a:lnTo>
                    <a:lnTo>
                      <a:pt x="15" y="18"/>
                    </a:lnTo>
                    <a:lnTo>
                      <a:pt x="20" y="17"/>
                    </a:lnTo>
                    <a:lnTo>
                      <a:pt x="22" y="15"/>
                    </a:lnTo>
                    <a:lnTo>
                      <a:pt x="24" y="10"/>
                    </a:lnTo>
                    <a:lnTo>
                      <a:pt x="24" y="7"/>
                    </a:lnTo>
                    <a:lnTo>
                      <a:pt x="24" y="7"/>
                    </a:lnTo>
                    <a:lnTo>
                      <a:pt x="22" y="3"/>
                    </a:lnTo>
                    <a:lnTo>
                      <a:pt x="20" y="2"/>
                    </a:lnTo>
                    <a:lnTo>
                      <a:pt x="15" y="0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33" name="Freeform 244"/>
              <p:cNvSpPr>
                <a:spLocks/>
              </p:cNvSpPr>
              <p:nvPr userDrawn="1"/>
            </p:nvSpPr>
            <p:spPr bwMode="auto">
              <a:xfrm>
                <a:off x="3512" y="3905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5" y="5"/>
                  </a:cxn>
                  <a:cxn ang="0">
                    <a:pos x="0" y="7"/>
                  </a:cxn>
                  <a:cxn ang="0">
                    <a:pos x="0" y="11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5" y="22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5" y="24"/>
                  </a:cxn>
                  <a:cxn ang="0">
                    <a:pos x="15" y="24"/>
                  </a:cxn>
                  <a:cxn ang="0">
                    <a:pos x="20" y="22"/>
                  </a:cxn>
                  <a:cxn ang="0">
                    <a:pos x="24" y="18"/>
                  </a:cxn>
                  <a:cxn ang="0">
                    <a:pos x="24" y="13"/>
                  </a:cxn>
                  <a:cxn ang="0">
                    <a:pos x="24" y="9"/>
                  </a:cxn>
                  <a:cxn ang="0">
                    <a:pos x="24" y="9"/>
                  </a:cxn>
                  <a:cxn ang="0">
                    <a:pos x="20" y="2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5" y="5"/>
                    </a:lnTo>
                    <a:lnTo>
                      <a:pt x="0" y="7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5" y="22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20" y="22"/>
                    </a:lnTo>
                    <a:lnTo>
                      <a:pt x="24" y="18"/>
                    </a:lnTo>
                    <a:lnTo>
                      <a:pt x="24" y="13"/>
                    </a:lnTo>
                    <a:lnTo>
                      <a:pt x="24" y="9"/>
                    </a:lnTo>
                    <a:lnTo>
                      <a:pt x="24" y="9"/>
                    </a:lnTo>
                    <a:lnTo>
                      <a:pt x="20" y="2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34" name="Freeform 245"/>
              <p:cNvSpPr>
                <a:spLocks/>
              </p:cNvSpPr>
              <p:nvPr userDrawn="1"/>
            </p:nvSpPr>
            <p:spPr bwMode="auto">
              <a:xfrm>
                <a:off x="3512" y="3905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5" y="5"/>
                  </a:cxn>
                  <a:cxn ang="0">
                    <a:pos x="0" y="7"/>
                  </a:cxn>
                  <a:cxn ang="0">
                    <a:pos x="0" y="11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5" y="22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5" y="24"/>
                  </a:cxn>
                  <a:cxn ang="0">
                    <a:pos x="15" y="24"/>
                  </a:cxn>
                  <a:cxn ang="0">
                    <a:pos x="20" y="22"/>
                  </a:cxn>
                  <a:cxn ang="0">
                    <a:pos x="24" y="18"/>
                  </a:cxn>
                  <a:cxn ang="0">
                    <a:pos x="24" y="13"/>
                  </a:cxn>
                  <a:cxn ang="0">
                    <a:pos x="24" y="9"/>
                  </a:cxn>
                  <a:cxn ang="0">
                    <a:pos x="24" y="9"/>
                  </a:cxn>
                  <a:cxn ang="0">
                    <a:pos x="20" y="2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5" y="5"/>
                    </a:lnTo>
                    <a:lnTo>
                      <a:pt x="0" y="7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5" y="22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20" y="22"/>
                    </a:lnTo>
                    <a:lnTo>
                      <a:pt x="24" y="18"/>
                    </a:lnTo>
                    <a:lnTo>
                      <a:pt x="24" y="13"/>
                    </a:lnTo>
                    <a:lnTo>
                      <a:pt x="24" y="9"/>
                    </a:lnTo>
                    <a:lnTo>
                      <a:pt x="24" y="9"/>
                    </a:lnTo>
                    <a:lnTo>
                      <a:pt x="20" y="2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35" name="Freeform 246"/>
              <p:cNvSpPr>
                <a:spLocks/>
              </p:cNvSpPr>
              <p:nvPr userDrawn="1"/>
            </p:nvSpPr>
            <p:spPr bwMode="auto">
              <a:xfrm>
                <a:off x="2924" y="3665"/>
                <a:ext cx="48" cy="48"/>
              </a:xfrm>
              <a:custGeom>
                <a:avLst/>
                <a:gdLst/>
                <a:ahLst/>
                <a:cxnLst>
                  <a:cxn ang="0">
                    <a:pos x="23" y="0"/>
                  </a:cxn>
                  <a:cxn ang="0">
                    <a:pos x="23" y="0"/>
                  </a:cxn>
                  <a:cxn ang="0">
                    <a:pos x="15" y="2"/>
                  </a:cxn>
                  <a:cxn ang="0">
                    <a:pos x="6" y="9"/>
                  </a:cxn>
                  <a:cxn ang="0">
                    <a:pos x="6" y="9"/>
                  </a:cxn>
                  <a:cxn ang="0">
                    <a:pos x="2" y="15"/>
                  </a:cxn>
                  <a:cxn ang="0">
                    <a:pos x="0" y="25"/>
                  </a:cxn>
                  <a:cxn ang="0">
                    <a:pos x="2" y="34"/>
                  </a:cxn>
                  <a:cxn ang="0">
                    <a:pos x="6" y="42"/>
                  </a:cxn>
                  <a:cxn ang="0">
                    <a:pos x="6" y="42"/>
                  </a:cxn>
                  <a:cxn ang="0">
                    <a:pos x="15" y="46"/>
                  </a:cxn>
                  <a:cxn ang="0">
                    <a:pos x="23" y="48"/>
                  </a:cxn>
                  <a:cxn ang="0">
                    <a:pos x="23" y="48"/>
                  </a:cxn>
                  <a:cxn ang="0">
                    <a:pos x="34" y="46"/>
                  </a:cxn>
                  <a:cxn ang="0">
                    <a:pos x="42" y="42"/>
                  </a:cxn>
                  <a:cxn ang="0">
                    <a:pos x="42" y="42"/>
                  </a:cxn>
                  <a:cxn ang="0">
                    <a:pos x="46" y="34"/>
                  </a:cxn>
                  <a:cxn ang="0">
                    <a:pos x="48" y="25"/>
                  </a:cxn>
                  <a:cxn ang="0">
                    <a:pos x="46" y="15"/>
                  </a:cxn>
                  <a:cxn ang="0">
                    <a:pos x="42" y="9"/>
                  </a:cxn>
                  <a:cxn ang="0">
                    <a:pos x="42" y="9"/>
                  </a:cxn>
                  <a:cxn ang="0">
                    <a:pos x="34" y="2"/>
                  </a:cxn>
                  <a:cxn ang="0">
                    <a:pos x="23" y="0"/>
                  </a:cxn>
                </a:cxnLst>
                <a:rect l="0" t="0" r="r" b="b"/>
                <a:pathLst>
                  <a:path w="48" h="48">
                    <a:moveTo>
                      <a:pt x="23" y="0"/>
                    </a:moveTo>
                    <a:lnTo>
                      <a:pt x="23" y="0"/>
                    </a:lnTo>
                    <a:lnTo>
                      <a:pt x="15" y="2"/>
                    </a:lnTo>
                    <a:lnTo>
                      <a:pt x="6" y="9"/>
                    </a:lnTo>
                    <a:lnTo>
                      <a:pt x="6" y="9"/>
                    </a:lnTo>
                    <a:lnTo>
                      <a:pt x="2" y="15"/>
                    </a:lnTo>
                    <a:lnTo>
                      <a:pt x="0" y="25"/>
                    </a:lnTo>
                    <a:lnTo>
                      <a:pt x="2" y="34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15" y="46"/>
                    </a:lnTo>
                    <a:lnTo>
                      <a:pt x="23" y="48"/>
                    </a:lnTo>
                    <a:lnTo>
                      <a:pt x="23" y="48"/>
                    </a:lnTo>
                    <a:lnTo>
                      <a:pt x="34" y="46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6" y="34"/>
                    </a:lnTo>
                    <a:lnTo>
                      <a:pt x="48" y="25"/>
                    </a:lnTo>
                    <a:lnTo>
                      <a:pt x="46" y="15"/>
                    </a:lnTo>
                    <a:lnTo>
                      <a:pt x="42" y="9"/>
                    </a:lnTo>
                    <a:lnTo>
                      <a:pt x="42" y="9"/>
                    </a:lnTo>
                    <a:lnTo>
                      <a:pt x="34" y="2"/>
                    </a:lnTo>
                    <a:lnTo>
                      <a:pt x="2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36" name="Freeform 247"/>
              <p:cNvSpPr>
                <a:spLocks/>
              </p:cNvSpPr>
              <p:nvPr userDrawn="1"/>
            </p:nvSpPr>
            <p:spPr bwMode="auto">
              <a:xfrm>
                <a:off x="2924" y="3665"/>
                <a:ext cx="48" cy="48"/>
              </a:xfrm>
              <a:custGeom>
                <a:avLst/>
                <a:gdLst/>
                <a:ahLst/>
                <a:cxnLst>
                  <a:cxn ang="0">
                    <a:pos x="23" y="0"/>
                  </a:cxn>
                  <a:cxn ang="0">
                    <a:pos x="23" y="0"/>
                  </a:cxn>
                  <a:cxn ang="0">
                    <a:pos x="15" y="2"/>
                  </a:cxn>
                  <a:cxn ang="0">
                    <a:pos x="6" y="9"/>
                  </a:cxn>
                  <a:cxn ang="0">
                    <a:pos x="6" y="9"/>
                  </a:cxn>
                  <a:cxn ang="0">
                    <a:pos x="2" y="15"/>
                  </a:cxn>
                  <a:cxn ang="0">
                    <a:pos x="0" y="25"/>
                  </a:cxn>
                  <a:cxn ang="0">
                    <a:pos x="2" y="34"/>
                  </a:cxn>
                  <a:cxn ang="0">
                    <a:pos x="6" y="42"/>
                  </a:cxn>
                  <a:cxn ang="0">
                    <a:pos x="6" y="42"/>
                  </a:cxn>
                  <a:cxn ang="0">
                    <a:pos x="15" y="46"/>
                  </a:cxn>
                  <a:cxn ang="0">
                    <a:pos x="23" y="48"/>
                  </a:cxn>
                  <a:cxn ang="0">
                    <a:pos x="23" y="48"/>
                  </a:cxn>
                  <a:cxn ang="0">
                    <a:pos x="34" y="46"/>
                  </a:cxn>
                  <a:cxn ang="0">
                    <a:pos x="42" y="42"/>
                  </a:cxn>
                  <a:cxn ang="0">
                    <a:pos x="42" y="42"/>
                  </a:cxn>
                  <a:cxn ang="0">
                    <a:pos x="46" y="34"/>
                  </a:cxn>
                  <a:cxn ang="0">
                    <a:pos x="48" y="25"/>
                  </a:cxn>
                  <a:cxn ang="0">
                    <a:pos x="46" y="15"/>
                  </a:cxn>
                  <a:cxn ang="0">
                    <a:pos x="42" y="9"/>
                  </a:cxn>
                  <a:cxn ang="0">
                    <a:pos x="42" y="9"/>
                  </a:cxn>
                  <a:cxn ang="0">
                    <a:pos x="34" y="2"/>
                  </a:cxn>
                  <a:cxn ang="0">
                    <a:pos x="23" y="0"/>
                  </a:cxn>
                </a:cxnLst>
                <a:rect l="0" t="0" r="r" b="b"/>
                <a:pathLst>
                  <a:path w="48" h="48">
                    <a:moveTo>
                      <a:pt x="23" y="0"/>
                    </a:moveTo>
                    <a:lnTo>
                      <a:pt x="23" y="0"/>
                    </a:lnTo>
                    <a:lnTo>
                      <a:pt x="15" y="2"/>
                    </a:lnTo>
                    <a:lnTo>
                      <a:pt x="6" y="9"/>
                    </a:lnTo>
                    <a:lnTo>
                      <a:pt x="6" y="9"/>
                    </a:lnTo>
                    <a:lnTo>
                      <a:pt x="2" y="15"/>
                    </a:lnTo>
                    <a:lnTo>
                      <a:pt x="0" y="25"/>
                    </a:lnTo>
                    <a:lnTo>
                      <a:pt x="2" y="34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15" y="46"/>
                    </a:lnTo>
                    <a:lnTo>
                      <a:pt x="23" y="48"/>
                    </a:lnTo>
                    <a:lnTo>
                      <a:pt x="23" y="48"/>
                    </a:lnTo>
                    <a:lnTo>
                      <a:pt x="34" y="46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6" y="34"/>
                    </a:lnTo>
                    <a:lnTo>
                      <a:pt x="48" y="25"/>
                    </a:lnTo>
                    <a:lnTo>
                      <a:pt x="46" y="15"/>
                    </a:lnTo>
                    <a:lnTo>
                      <a:pt x="42" y="9"/>
                    </a:lnTo>
                    <a:lnTo>
                      <a:pt x="42" y="9"/>
                    </a:lnTo>
                    <a:lnTo>
                      <a:pt x="34" y="2"/>
                    </a:lnTo>
                    <a:lnTo>
                      <a:pt x="2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37" name="Freeform 248"/>
              <p:cNvSpPr>
                <a:spLocks/>
              </p:cNvSpPr>
              <p:nvPr userDrawn="1"/>
            </p:nvSpPr>
            <p:spPr bwMode="auto">
              <a:xfrm>
                <a:off x="2882" y="3599"/>
                <a:ext cx="36" cy="42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1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0" y="28"/>
                  </a:cxn>
                  <a:cxn ang="0">
                    <a:pos x="6" y="36"/>
                  </a:cxn>
                  <a:cxn ang="0">
                    <a:pos x="6" y="36"/>
                  </a:cxn>
                  <a:cxn ang="0">
                    <a:pos x="11" y="40"/>
                  </a:cxn>
                  <a:cxn ang="0">
                    <a:pos x="18" y="42"/>
                  </a:cxn>
                  <a:cxn ang="0">
                    <a:pos x="18" y="42"/>
                  </a:cxn>
                  <a:cxn ang="0">
                    <a:pos x="26" y="40"/>
                  </a:cxn>
                  <a:cxn ang="0">
                    <a:pos x="31" y="36"/>
                  </a:cxn>
                  <a:cxn ang="0">
                    <a:pos x="31" y="36"/>
                  </a:cxn>
                  <a:cxn ang="0">
                    <a:pos x="35" y="28"/>
                  </a:cxn>
                  <a:cxn ang="0">
                    <a:pos x="36" y="22"/>
                  </a:cxn>
                  <a:cxn ang="0">
                    <a:pos x="35" y="14"/>
                  </a:cxn>
                  <a:cxn ang="0">
                    <a:pos x="31" y="6"/>
                  </a:cxn>
                  <a:cxn ang="0">
                    <a:pos x="31" y="6"/>
                  </a:cxn>
                  <a:cxn ang="0">
                    <a:pos x="26" y="2"/>
                  </a:cxn>
                  <a:cxn ang="0">
                    <a:pos x="18" y="0"/>
                  </a:cxn>
                </a:cxnLst>
                <a:rect l="0" t="0" r="r" b="b"/>
                <a:pathLst>
                  <a:path w="36" h="42">
                    <a:moveTo>
                      <a:pt x="18" y="0"/>
                    </a:moveTo>
                    <a:lnTo>
                      <a:pt x="18" y="0"/>
                    </a:lnTo>
                    <a:lnTo>
                      <a:pt x="11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0" y="28"/>
                    </a:lnTo>
                    <a:lnTo>
                      <a:pt x="6" y="36"/>
                    </a:lnTo>
                    <a:lnTo>
                      <a:pt x="6" y="36"/>
                    </a:lnTo>
                    <a:lnTo>
                      <a:pt x="11" y="40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26" y="40"/>
                    </a:lnTo>
                    <a:lnTo>
                      <a:pt x="31" y="36"/>
                    </a:lnTo>
                    <a:lnTo>
                      <a:pt x="31" y="36"/>
                    </a:lnTo>
                    <a:lnTo>
                      <a:pt x="35" y="28"/>
                    </a:lnTo>
                    <a:lnTo>
                      <a:pt x="36" y="22"/>
                    </a:lnTo>
                    <a:lnTo>
                      <a:pt x="35" y="14"/>
                    </a:lnTo>
                    <a:lnTo>
                      <a:pt x="31" y="6"/>
                    </a:lnTo>
                    <a:lnTo>
                      <a:pt x="31" y="6"/>
                    </a:lnTo>
                    <a:lnTo>
                      <a:pt x="26" y="2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38" name="Freeform 249"/>
              <p:cNvSpPr>
                <a:spLocks/>
              </p:cNvSpPr>
              <p:nvPr userDrawn="1"/>
            </p:nvSpPr>
            <p:spPr bwMode="auto">
              <a:xfrm>
                <a:off x="2882" y="3599"/>
                <a:ext cx="36" cy="42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1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0" y="28"/>
                  </a:cxn>
                  <a:cxn ang="0">
                    <a:pos x="6" y="36"/>
                  </a:cxn>
                  <a:cxn ang="0">
                    <a:pos x="6" y="36"/>
                  </a:cxn>
                  <a:cxn ang="0">
                    <a:pos x="11" y="40"/>
                  </a:cxn>
                  <a:cxn ang="0">
                    <a:pos x="18" y="42"/>
                  </a:cxn>
                  <a:cxn ang="0">
                    <a:pos x="18" y="42"/>
                  </a:cxn>
                  <a:cxn ang="0">
                    <a:pos x="26" y="40"/>
                  </a:cxn>
                  <a:cxn ang="0">
                    <a:pos x="31" y="36"/>
                  </a:cxn>
                  <a:cxn ang="0">
                    <a:pos x="31" y="36"/>
                  </a:cxn>
                  <a:cxn ang="0">
                    <a:pos x="35" y="28"/>
                  </a:cxn>
                  <a:cxn ang="0">
                    <a:pos x="36" y="22"/>
                  </a:cxn>
                  <a:cxn ang="0">
                    <a:pos x="35" y="14"/>
                  </a:cxn>
                  <a:cxn ang="0">
                    <a:pos x="31" y="6"/>
                  </a:cxn>
                  <a:cxn ang="0">
                    <a:pos x="31" y="6"/>
                  </a:cxn>
                  <a:cxn ang="0">
                    <a:pos x="26" y="2"/>
                  </a:cxn>
                  <a:cxn ang="0">
                    <a:pos x="18" y="0"/>
                  </a:cxn>
                </a:cxnLst>
                <a:rect l="0" t="0" r="r" b="b"/>
                <a:pathLst>
                  <a:path w="36" h="42">
                    <a:moveTo>
                      <a:pt x="18" y="0"/>
                    </a:moveTo>
                    <a:lnTo>
                      <a:pt x="18" y="0"/>
                    </a:lnTo>
                    <a:lnTo>
                      <a:pt x="11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0" y="28"/>
                    </a:lnTo>
                    <a:lnTo>
                      <a:pt x="6" y="36"/>
                    </a:lnTo>
                    <a:lnTo>
                      <a:pt x="6" y="36"/>
                    </a:lnTo>
                    <a:lnTo>
                      <a:pt x="11" y="40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26" y="40"/>
                    </a:lnTo>
                    <a:lnTo>
                      <a:pt x="31" y="36"/>
                    </a:lnTo>
                    <a:lnTo>
                      <a:pt x="31" y="36"/>
                    </a:lnTo>
                    <a:lnTo>
                      <a:pt x="35" y="28"/>
                    </a:lnTo>
                    <a:lnTo>
                      <a:pt x="36" y="22"/>
                    </a:lnTo>
                    <a:lnTo>
                      <a:pt x="35" y="14"/>
                    </a:lnTo>
                    <a:lnTo>
                      <a:pt x="31" y="6"/>
                    </a:lnTo>
                    <a:lnTo>
                      <a:pt x="31" y="6"/>
                    </a:lnTo>
                    <a:lnTo>
                      <a:pt x="26" y="2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39" name="Freeform 250"/>
              <p:cNvSpPr>
                <a:spLocks/>
              </p:cNvSpPr>
              <p:nvPr userDrawn="1"/>
            </p:nvSpPr>
            <p:spPr bwMode="auto">
              <a:xfrm>
                <a:off x="2846" y="3521"/>
                <a:ext cx="36" cy="42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0" y="2"/>
                  </a:cxn>
                  <a:cxn ang="0">
                    <a:pos x="4" y="7"/>
                  </a:cxn>
                  <a:cxn ang="0">
                    <a:pos x="4" y="7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0" y="29"/>
                  </a:cxn>
                  <a:cxn ang="0">
                    <a:pos x="4" y="36"/>
                  </a:cxn>
                  <a:cxn ang="0">
                    <a:pos x="4" y="36"/>
                  </a:cxn>
                  <a:cxn ang="0">
                    <a:pos x="10" y="40"/>
                  </a:cxn>
                  <a:cxn ang="0">
                    <a:pos x="18" y="42"/>
                  </a:cxn>
                  <a:cxn ang="0">
                    <a:pos x="18" y="42"/>
                  </a:cxn>
                  <a:cxn ang="0">
                    <a:pos x="24" y="40"/>
                  </a:cxn>
                  <a:cxn ang="0">
                    <a:pos x="30" y="36"/>
                  </a:cxn>
                  <a:cxn ang="0">
                    <a:pos x="30" y="36"/>
                  </a:cxn>
                  <a:cxn ang="0">
                    <a:pos x="34" y="29"/>
                  </a:cxn>
                  <a:cxn ang="0">
                    <a:pos x="36" y="22"/>
                  </a:cxn>
                  <a:cxn ang="0">
                    <a:pos x="34" y="14"/>
                  </a:cxn>
                  <a:cxn ang="0">
                    <a:pos x="30" y="7"/>
                  </a:cxn>
                  <a:cxn ang="0">
                    <a:pos x="30" y="7"/>
                  </a:cxn>
                  <a:cxn ang="0">
                    <a:pos x="24" y="2"/>
                  </a:cxn>
                  <a:cxn ang="0">
                    <a:pos x="18" y="0"/>
                  </a:cxn>
                </a:cxnLst>
                <a:rect l="0" t="0" r="r" b="b"/>
                <a:pathLst>
                  <a:path w="36" h="42">
                    <a:moveTo>
                      <a:pt x="18" y="0"/>
                    </a:moveTo>
                    <a:lnTo>
                      <a:pt x="18" y="0"/>
                    </a:lnTo>
                    <a:lnTo>
                      <a:pt x="10" y="2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0" y="29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10" y="40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24" y="40"/>
                    </a:lnTo>
                    <a:lnTo>
                      <a:pt x="30" y="36"/>
                    </a:lnTo>
                    <a:lnTo>
                      <a:pt x="30" y="36"/>
                    </a:lnTo>
                    <a:lnTo>
                      <a:pt x="34" y="29"/>
                    </a:lnTo>
                    <a:lnTo>
                      <a:pt x="36" y="22"/>
                    </a:lnTo>
                    <a:lnTo>
                      <a:pt x="34" y="14"/>
                    </a:lnTo>
                    <a:lnTo>
                      <a:pt x="30" y="7"/>
                    </a:lnTo>
                    <a:lnTo>
                      <a:pt x="30" y="7"/>
                    </a:lnTo>
                    <a:lnTo>
                      <a:pt x="24" y="2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40" name="Freeform 251"/>
              <p:cNvSpPr>
                <a:spLocks/>
              </p:cNvSpPr>
              <p:nvPr userDrawn="1"/>
            </p:nvSpPr>
            <p:spPr bwMode="auto">
              <a:xfrm>
                <a:off x="2846" y="3521"/>
                <a:ext cx="36" cy="42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0" y="2"/>
                  </a:cxn>
                  <a:cxn ang="0">
                    <a:pos x="4" y="7"/>
                  </a:cxn>
                  <a:cxn ang="0">
                    <a:pos x="4" y="7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0" y="29"/>
                  </a:cxn>
                  <a:cxn ang="0">
                    <a:pos x="4" y="36"/>
                  </a:cxn>
                  <a:cxn ang="0">
                    <a:pos x="4" y="36"/>
                  </a:cxn>
                  <a:cxn ang="0">
                    <a:pos x="10" y="40"/>
                  </a:cxn>
                  <a:cxn ang="0">
                    <a:pos x="18" y="42"/>
                  </a:cxn>
                  <a:cxn ang="0">
                    <a:pos x="18" y="42"/>
                  </a:cxn>
                  <a:cxn ang="0">
                    <a:pos x="24" y="40"/>
                  </a:cxn>
                  <a:cxn ang="0">
                    <a:pos x="30" y="36"/>
                  </a:cxn>
                  <a:cxn ang="0">
                    <a:pos x="30" y="36"/>
                  </a:cxn>
                  <a:cxn ang="0">
                    <a:pos x="34" y="29"/>
                  </a:cxn>
                  <a:cxn ang="0">
                    <a:pos x="36" y="22"/>
                  </a:cxn>
                  <a:cxn ang="0">
                    <a:pos x="34" y="14"/>
                  </a:cxn>
                  <a:cxn ang="0">
                    <a:pos x="30" y="7"/>
                  </a:cxn>
                  <a:cxn ang="0">
                    <a:pos x="30" y="7"/>
                  </a:cxn>
                  <a:cxn ang="0">
                    <a:pos x="24" y="2"/>
                  </a:cxn>
                  <a:cxn ang="0">
                    <a:pos x="18" y="0"/>
                  </a:cxn>
                </a:cxnLst>
                <a:rect l="0" t="0" r="r" b="b"/>
                <a:pathLst>
                  <a:path w="36" h="42">
                    <a:moveTo>
                      <a:pt x="18" y="0"/>
                    </a:moveTo>
                    <a:lnTo>
                      <a:pt x="18" y="0"/>
                    </a:lnTo>
                    <a:lnTo>
                      <a:pt x="10" y="2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0" y="29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10" y="40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24" y="40"/>
                    </a:lnTo>
                    <a:lnTo>
                      <a:pt x="30" y="36"/>
                    </a:lnTo>
                    <a:lnTo>
                      <a:pt x="30" y="36"/>
                    </a:lnTo>
                    <a:lnTo>
                      <a:pt x="34" y="29"/>
                    </a:lnTo>
                    <a:lnTo>
                      <a:pt x="36" y="22"/>
                    </a:lnTo>
                    <a:lnTo>
                      <a:pt x="34" y="14"/>
                    </a:lnTo>
                    <a:lnTo>
                      <a:pt x="30" y="7"/>
                    </a:lnTo>
                    <a:lnTo>
                      <a:pt x="30" y="7"/>
                    </a:lnTo>
                    <a:lnTo>
                      <a:pt x="24" y="2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41" name="Freeform 252"/>
              <p:cNvSpPr>
                <a:spLocks/>
              </p:cNvSpPr>
              <p:nvPr userDrawn="1"/>
            </p:nvSpPr>
            <p:spPr bwMode="auto">
              <a:xfrm>
                <a:off x="2822" y="3443"/>
                <a:ext cx="36" cy="36"/>
              </a:xfrm>
              <a:custGeom>
                <a:avLst/>
                <a:gdLst/>
                <a:ahLst/>
                <a:cxnLst>
                  <a:cxn ang="0">
                    <a:pos x="19" y="0"/>
                  </a:cxn>
                  <a:cxn ang="0">
                    <a:pos x="19" y="0"/>
                  </a:cxn>
                  <a:cxn ang="0">
                    <a:pos x="13" y="2"/>
                  </a:cxn>
                  <a:cxn ang="0">
                    <a:pos x="6" y="5"/>
                  </a:cxn>
                  <a:cxn ang="0">
                    <a:pos x="6" y="5"/>
                  </a:cxn>
                  <a:cxn ang="0">
                    <a:pos x="2" y="11"/>
                  </a:cxn>
                  <a:cxn ang="0">
                    <a:pos x="0" y="17"/>
                  </a:cxn>
                  <a:cxn ang="0">
                    <a:pos x="2" y="24"/>
                  </a:cxn>
                  <a:cxn ang="0">
                    <a:pos x="6" y="30"/>
                  </a:cxn>
                  <a:cxn ang="0">
                    <a:pos x="6" y="30"/>
                  </a:cxn>
                  <a:cxn ang="0">
                    <a:pos x="13" y="34"/>
                  </a:cxn>
                  <a:cxn ang="0">
                    <a:pos x="19" y="36"/>
                  </a:cxn>
                  <a:cxn ang="0">
                    <a:pos x="19" y="36"/>
                  </a:cxn>
                  <a:cxn ang="0">
                    <a:pos x="26" y="34"/>
                  </a:cxn>
                  <a:cxn ang="0">
                    <a:pos x="32" y="30"/>
                  </a:cxn>
                  <a:cxn ang="0">
                    <a:pos x="32" y="30"/>
                  </a:cxn>
                  <a:cxn ang="0">
                    <a:pos x="34" y="24"/>
                  </a:cxn>
                  <a:cxn ang="0">
                    <a:pos x="36" y="17"/>
                  </a:cxn>
                  <a:cxn ang="0">
                    <a:pos x="34" y="11"/>
                  </a:cxn>
                  <a:cxn ang="0">
                    <a:pos x="32" y="5"/>
                  </a:cxn>
                  <a:cxn ang="0">
                    <a:pos x="32" y="5"/>
                  </a:cxn>
                  <a:cxn ang="0">
                    <a:pos x="26" y="2"/>
                  </a:cxn>
                  <a:cxn ang="0">
                    <a:pos x="19" y="0"/>
                  </a:cxn>
                </a:cxnLst>
                <a:rect l="0" t="0" r="r" b="b"/>
                <a:pathLst>
                  <a:path w="36" h="36">
                    <a:moveTo>
                      <a:pt x="19" y="0"/>
                    </a:moveTo>
                    <a:lnTo>
                      <a:pt x="19" y="0"/>
                    </a:lnTo>
                    <a:lnTo>
                      <a:pt x="13" y="2"/>
                    </a:lnTo>
                    <a:lnTo>
                      <a:pt x="6" y="5"/>
                    </a:lnTo>
                    <a:lnTo>
                      <a:pt x="6" y="5"/>
                    </a:lnTo>
                    <a:lnTo>
                      <a:pt x="2" y="11"/>
                    </a:lnTo>
                    <a:lnTo>
                      <a:pt x="0" y="17"/>
                    </a:lnTo>
                    <a:lnTo>
                      <a:pt x="2" y="24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13" y="34"/>
                    </a:lnTo>
                    <a:lnTo>
                      <a:pt x="19" y="36"/>
                    </a:lnTo>
                    <a:lnTo>
                      <a:pt x="19" y="36"/>
                    </a:lnTo>
                    <a:lnTo>
                      <a:pt x="26" y="34"/>
                    </a:lnTo>
                    <a:lnTo>
                      <a:pt x="32" y="30"/>
                    </a:lnTo>
                    <a:lnTo>
                      <a:pt x="32" y="30"/>
                    </a:lnTo>
                    <a:lnTo>
                      <a:pt x="34" y="24"/>
                    </a:lnTo>
                    <a:lnTo>
                      <a:pt x="36" y="17"/>
                    </a:lnTo>
                    <a:lnTo>
                      <a:pt x="34" y="11"/>
                    </a:lnTo>
                    <a:lnTo>
                      <a:pt x="32" y="5"/>
                    </a:lnTo>
                    <a:lnTo>
                      <a:pt x="32" y="5"/>
                    </a:lnTo>
                    <a:lnTo>
                      <a:pt x="26" y="2"/>
                    </a:lnTo>
                    <a:lnTo>
                      <a:pt x="1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42" name="Freeform 253"/>
              <p:cNvSpPr>
                <a:spLocks/>
              </p:cNvSpPr>
              <p:nvPr userDrawn="1"/>
            </p:nvSpPr>
            <p:spPr bwMode="auto">
              <a:xfrm>
                <a:off x="2822" y="3443"/>
                <a:ext cx="36" cy="36"/>
              </a:xfrm>
              <a:custGeom>
                <a:avLst/>
                <a:gdLst/>
                <a:ahLst/>
                <a:cxnLst>
                  <a:cxn ang="0">
                    <a:pos x="19" y="0"/>
                  </a:cxn>
                  <a:cxn ang="0">
                    <a:pos x="19" y="0"/>
                  </a:cxn>
                  <a:cxn ang="0">
                    <a:pos x="13" y="2"/>
                  </a:cxn>
                  <a:cxn ang="0">
                    <a:pos x="6" y="5"/>
                  </a:cxn>
                  <a:cxn ang="0">
                    <a:pos x="6" y="5"/>
                  </a:cxn>
                  <a:cxn ang="0">
                    <a:pos x="2" y="11"/>
                  </a:cxn>
                  <a:cxn ang="0">
                    <a:pos x="0" y="17"/>
                  </a:cxn>
                  <a:cxn ang="0">
                    <a:pos x="2" y="24"/>
                  </a:cxn>
                  <a:cxn ang="0">
                    <a:pos x="6" y="30"/>
                  </a:cxn>
                  <a:cxn ang="0">
                    <a:pos x="6" y="30"/>
                  </a:cxn>
                  <a:cxn ang="0">
                    <a:pos x="13" y="34"/>
                  </a:cxn>
                  <a:cxn ang="0">
                    <a:pos x="19" y="36"/>
                  </a:cxn>
                  <a:cxn ang="0">
                    <a:pos x="19" y="36"/>
                  </a:cxn>
                  <a:cxn ang="0">
                    <a:pos x="26" y="34"/>
                  </a:cxn>
                  <a:cxn ang="0">
                    <a:pos x="32" y="30"/>
                  </a:cxn>
                  <a:cxn ang="0">
                    <a:pos x="32" y="30"/>
                  </a:cxn>
                  <a:cxn ang="0">
                    <a:pos x="34" y="24"/>
                  </a:cxn>
                  <a:cxn ang="0">
                    <a:pos x="36" y="17"/>
                  </a:cxn>
                  <a:cxn ang="0">
                    <a:pos x="34" y="11"/>
                  </a:cxn>
                  <a:cxn ang="0">
                    <a:pos x="32" y="5"/>
                  </a:cxn>
                  <a:cxn ang="0">
                    <a:pos x="32" y="5"/>
                  </a:cxn>
                  <a:cxn ang="0">
                    <a:pos x="26" y="2"/>
                  </a:cxn>
                  <a:cxn ang="0">
                    <a:pos x="19" y="0"/>
                  </a:cxn>
                </a:cxnLst>
                <a:rect l="0" t="0" r="r" b="b"/>
                <a:pathLst>
                  <a:path w="36" h="36">
                    <a:moveTo>
                      <a:pt x="19" y="0"/>
                    </a:moveTo>
                    <a:lnTo>
                      <a:pt x="19" y="0"/>
                    </a:lnTo>
                    <a:lnTo>
                      <a:pt x="13" y="2"/>
                    </a:lnTo>
                    <a:lnTo>
                      <a:pt x="6" y="5"/>
                    </a:lnTo>
                    <a:lnTo>
                      <a:pt x="6" y="5"/>
                    </a:lnTo>
                    <a:lnTo>
                      <a:pt x="2" y="11"/>
                    </a:lnTo>
                    <a:lnTo>
                      <a:pt x="0" y="17"/>
                    </a:lnTo>
                    <a:lnTo>
                      <a:pt x="2" y="24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13" y="34"/>
                    </a:lnTo>
                    <a:lnTo>
                      <a:pt x="19" y="36"/>
                    </a:lnTo>
                    <a:lnTo>
                      <a:pt x="19" y="36"/>
                    </a:lnTo>
                    <a:lnTo>
                      <a:pt x="26" y="34"/>
                    </a:lnTo>
                    <a:lnTo>
                      <a:pt x="32" y="30"/>
                    </a:lnTo>
                    <a:lnTo>
                      <a:pt x="32" y="30"/>
                    </a:lnTo>
                    <a:lnTo>
                      <a:pt x="34" y="24"/>
                    </a:lnTo>
                    <a:lnTo>
                      <a:pt x="36" y="17"/>
                    </a:lnTo>
                    <a:lnTo>
                      <a:pt x="34" y="11"/>
                    </a:lnTo>
                    <a:lnTo>
                      <a:pt x="32" y="5"/>
                    </a:lnTo>
                    <a:lnTo>
                      <a:pt x="32" y="5"/>
                    </a:lnTo>
                    <a:lnTo>
                      <a:pt x="26" y="2"/>
                    </a:lnTo>
                    <a:lnTo>
                      <a:pt x="1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43" name="Freeform 254"/>
              <p:cNvSpPr>
                <a:spLocks/>
              </p:cNvSpPr>
              <p:nvPr userDrawn="1"/>
            </p:nvSpPr>
            <p:spPr bwMode="auto">
              <a:xfrm>
                <a:off x="2816" y="3359"/>
                <a:ext cx="30" cy="3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6" y="26"/>
                  </a:cxn>
                  <a:cxn ang="0">
                    <a:pos x="6" y="26"/>
                  </a:cxn>
                  <a:cxn ang="0">
                    <a:pos x="10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22" y="30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30" y="20"/>
                  </a:cxn>
                  <a:cxn ang="0">
                    <a:pos x="30" y="16"/>
                  </a:cxn>
                  <a:cxn ang="0">
                    <a:pos x="30" y="10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0" h="30">
                    <a:moveTo>
                      <a:pt x="16" y="0"/>
                    </a:moveTo>
                    <a:lnTo>
                      <a:pt x="16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10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22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30" y="20"/>
                    </a:lnTo>
                    <a:lnTo>
                      <a:pt x="30" y="16"/>
                    </a:lnTo>
                    <a:lnTo>
                      <a:pt x="30" y="1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2" y="2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44" name="Freeform 255"/>
              <p:cNvSpPr>
                <a:spLocks/>
              </p:cNvSpPr>
              <p:nvPr userDrawn="1"/>
            </p:nvSpPr>
            <p:spPr bwMode="auto">
              <a:xfrm>
                <a:off x="2816" y="3359"/>
                <a:ext cx="30" cy="3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6" y="26"/>
                  </a:cxn>
                  <a:cxn ang="0">
                    <a:pos x="6" y="26"/>
                  </a:cxn>
                  <a:cxn ang="0">
                    <a:pos x="10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22" y="30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30" y="20"/>
                  </a:cxn>
                  <a:cxn ang="0">
                    <a:pos x="30" y="16"/>
                  </a:cxn>
                  <a:cxn ang="0">
                    <a:pos x="30" y="10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0" h="30">
                    <a:moveTo>
                      <a:pt x="16" y="0"/>
                    </a:moveTo>
                    <a:lnTo>
                      <a:pt x="16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10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22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30" y="20"/>
                    </a:lnTo>
                    <a:lnTo>
                      <a:pt x="30" y="16"/>
                    </a:lnTo>
                    <a:lnTo>
                      <a:pt x="30" y="1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2" y="2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45" name="Freeform 256"/>
              <p:cNvSpPr>
                <a:spLocks/>
              </p:cNvSpPr>
              <p:nvPr userDrawn="1"/>
            </p:nvSpPr>
            <p:spPr bwMode="auto">
              <a:xfrm>
                <a:off x="2828" y="3275"/>
                <a:ext cx="24" cy="30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13" y="0"/>
                  </a:cxn>
                  <a:cxn ang="0">
                    <a:pos x="8" y="2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0" y="9"/>
                  </a:cxn>
                  <a:cxn ang="0">
                    <a:pos x="0" y="15"/>
                  </a:cxn>
                  <a:cxn ang="0">
                    <a:pos x="0" y="20"/>
                  </a:cxn>
                  <a:cxn ang="0">
                    <a:pos x="4" y="26"/>
                  </a:cxn>
                  <a:cxn ang="0">
                    <a:pos x="4" y="26"/>
                  </a:cxn>
                  <a:cxn ang="0">
                    <a:pos x="8" y="28"/>
                  </a:cxn>
                  <a:cxn ang="0">
                    <a:pos x="13" y="30"/>
                  </a:cxn>
                  <a:cxn ang="0">
                    <a:pos x="13" y="30"/>
                  </a:cxn>
                  <a:cxn ang="0">
                    <a:pos x="17" y="28"/>
                  </a:cxn>
                  <a:cxn ang="0">
                    <a:pos x="21" y="26"/>
                  </a:cxn>
                  <a:cxn ang="0">
                    <a:pos x="21" y="26"/>
                  </a:cxn>
                  <a:cxn ang="0">
                    <a:pos x="24" y="20"/>
                  </a:cxn>
                  <a:cxn ang="0">
                    <a:pos x="24" y="15"/>
                  </a:cxn>
                  <a:cxn ang="0">
                    <a:pos x="24" y="9"/>
                  </a:cxn>
                  <a:cxn ang="0">
                    <a:pos x="21" y="5"/>
                  </a:cxn>
                  <a:cxn ang="0">
                    <a:pos x="21" y="5"/>
                  </a:cxn>
                  <a:cxn ang="0">
                    <a:pos x="17" y="2"/>
                  </a:cxn>
                  <a:cxn ang="0">
                    <a:pos x="13" y="0"/>
                  </a:cxn>
                </a:cxnLst>
                <a:rect l="0" t="0" r="r" b="b"/>
                <a:pathLst>
                  <a:path w="24" h="30">
                    <a:moveTo>
                      <a:pt x="13" y="0"/>
                    </a:moveTo>
                    <a:lnTo>
                      <a:pt x="13" y="0"/>
                    </a:lnTo>
                    <a:lnTo>
                      <a:pt x="8" y="2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0" y="9"/>
                    </a:lnTo>
                    <a:lnTo>
                      <a:pt x="0" y="15"/>
                    </a:lnTo>
                    <a:lnTo>
                      <a:pt x="0" y="2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8" y="28"/>
                    </a:lnTo>
                    <a:lnTo>
                      <a:pt x="13" y="30"/>
                    </a:lnTo>
                    <a:lnTo>
                      <a:pt x="13" y="30"/>
                    </a:lnTo>
                    <a:lnTo>
                      <a:pt x="17" y="28"/>
                    </a:lnTo>
                    <a:lnTo>
                      <a:pt x="21" y="26"/>
                    </a:lnTo>
                    <a:lnTo>
                      <a:pt x="21" y="26"/>
                    </a:lnTo>
                    <a:lnTo>
                      <a:pt x="24" y="20"/>
                    </a:lnTo>
                    <a:lnTo>
                      <a:pt x="24" y="15"/>
                    </a:lnTo>
                    <a:lnTo>
                      <a:pt x="24" y="9"/>
                    </a:lnTo>
                    <a:lnTo>
                      <a:pt x="21" y="5"/>
                    </a:lnTo>
                    <a:lnTo>
                      <a:pt x="21" y="5"/>
                    </a:lnTo>
                    <a:lnTo>
                      <a:pt x="17" y="2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46" name="Freeform 257"/>
              <p:cNvSpPr>
                <a:spLocks/>
              </p:cNvSpPr>
              <p:nvPr userDrawn="1"/>
            </p:nvSpPr>
            <p:spPr bwMode="auto">
              <a:xfrm>
                <a:off x="2828" y="3275"/>
                <a:ext cx="24" cy="30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13" y="0"/>
                  </a:cxn>
                  <a:cxn ang="0">
                    <a:pos x="8" y="2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0" y="9"/>
                  </a:cxn>
                  <a:cxn ang="0">
                    <a:pos x="0" y="15"/>
                  </a:cxn>
                  <a:cxn ang="0">
                    <a:pos x="0" y="20"/>
                  </a:cxn>
                  <a:cxn ang="0">
                    <a:pos x="4" y="26"/>
                  </a:cxn>
                  <a:cxn ang="0">
                    <a:pos x="4" y="26"/>
                  </a:cxn>
                  <a:cxn ang="0">
                    <a:pos x="8" y="28"/>
                  </a:cxn>
                  <a:cxn ang="0">
                    <a:pos x="13" y="30"/>
                  </a:cxn>
                  <a:cxn ang="0">
                    <a:pos x="13" y="30"/>
                  </a:cxn>
                  <a:cxn ang="0">
                    <a:pos x="17" y="28"/>
                  </a:cxn>
                  <a:cxn ang="0">
                    <a:pos x="21" y="26"/>
                  </a:cxn>
                  <a:cxn ang="0">
                    <a:pos x="21" y="26"/>
                  </a:cxn>
                  <a:cxn ang="0">
                    <a:pos x="24" y="20"/>
                  </a:cxn>
                  <a:cxn ang="0">
                    <a:pos x="24" y="15"/>
                  </a:cxn>
                  <a:cxn ang="0">
                    <a:pos x="24" y="9"/>
                  </a:cxn>
                  <a:cxn ang="0">
                    <a:pos x="21" y="5"/>
                  </a:cxn>
                  <a:cxn ang="0">
                    <a:pos x="21" y="5"/>
                  </a:cxn>
                  <a:cxn ang="0">
                    <a:pos x="17" y="2"/>
                  </a:cxn>
                  <a:cxn ang="0">
                    <a:pos x="13" y="0"/>
                  </a:cxn>
                </a:cxnLst>
                <a:rect l="0" t="0" r="r" b="b"/>
                <a:pathLst>
                  <a:path w="24" h="30">
                    <a:moveTo>
                      <a:pt x="13" y="0"/>
                    </a:moveTo>
                    <a:lnTo>
                      <a:pt x="13" y="0"/>
                    </a:lnTo>
                    <a:lnTo>
                      <a:pt x="8" y="2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0" y="9"/>
                    </a:lnTo>
                    <a:lnTo>
                      <a:pt x="0" y="15"/>
                    </a:lnTo>
                    <a:lnTo>
                      <a:pt x="0" y="2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8" y="28"/>
                    </a:lnTo>
                    <a:lnTo>
                      <a:pt x="13" y="30"/>
                    </a:lnTo>
                    <a:lnTo>
                      <a:pt x="13" y="30"/>
                    </a:lnTo>
                    <a:lnTo>
                      <a:pt x="17" y="28"/>
                    </a:lnTo>
                    <a:lnTo>
                      <a:pt x="21" y="26"/>
                    </a:lnTo>
                    <a:lnTo>
                      <a:pt x="21" y="26"/>
                    </a:lnTo>
                    <a:lnTo>
                      <a:pt x="24" y="20"/>
                    </a:lnTo>
                    <a:lnTo>
                      <a:pt x="24" y="15"/>
                    </a:lnTo>
                    <a:lnTo>
                      <a:pt x="24" y="9"/>
                    </a:lnTo>
                    <a:lnTo>
                      <a:pt x="21" y="5"/>
                    </a:lnTo>
                    <a:lnTo>
                      <a:pt x="21" y="5"/>
                    </a:lnTo>
                    <a:lnTo>
                      <a:pt x="17" y="2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47" name="Freeform 258"/>
              <p:cNvSpPr>
                <a:spLocks/>
              </p:cNvSpPr>
              <p:nvPr userDrawn="1"/>
            </p:nvSpPr>
            <p:spPr bwMode="auto">
              <a:xfrm>
                <a:off x="2852" y="3191"/>
                <a:ext cx="24" cy="3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6" y="3"/>
                  </a:cxn>
                  <a:cxn ang="0">
                    <a:pos x="2" y="5"/>
                  </a:cxn>
                  <a:cxn ang="0">
                    <a:pos x="2" y="5"/>
                  </a:cxn>
                  <a:cxn ang="0">
                    <a:pos x="0" y="9"/>
                  </a:cxn>
                  <a:cxn ang="0">
                    <a:pos x="0" y="14"/>
                  </a:cxn>
                  <a:cxn ang="0">
                    <a:pos x="0" y="21"/>
                  </a:cxn>
                  <a:cxn ang="0">
                    <a:pos x="2" y="26"/>
                  </a:cxn>
                  <a:cxn ang="0">
                    <a:pos x="2" y="26"/>
                  </a:cxn>
                  <a:cxn ang="0">
                    <a:pos x="6" y="28"/>
                  </a:cxn>
                  <a:cxn ang="0">
                    <a:pos x="12" y="30"/>
                  </a:cxn>
                  <a:cxn ang="0">
                    <a:pos x="12" y="30"/>
                  </a:cxn>
                  <a:cxn ang="0">
                    <a:pos x="16" y="28"/>
                  </a:cxn>
                  <a:cxn ang="0">
                    <a:pos x="20" y="26"/>
                  </a:cxn>
                  <a:cxn ang="0">
                    <a:pos x="20" y="26"/>
                  </a:cxn>
                  <a:cxn ang="0">
                    <a:pos x="22" y="21"/>
                  </a:cxn>
                  <a:cxn ang="0">
                    <a:pos x="24" y="14"/>
                  </a:cxn>
                  <a:cxn ang="0">
                    <a:pos x="22" y="9"/>
                  </a:cxn>
                  <a:cxn ang="0">
                    <a:pos x="20" y="5"/>
                  </a:cxn>
                  <a:cxn ang="0">
                    <a:pos x="20" y="5"/>
                  </a:cxn>
                  <a:cxn ang="0">
                    <a:pos x="16" y="3"/>
                  </a:cxn>
                  <a:cxn ang="0">
                    <a:pos x="12" y="0"/>
                  </a:cxn>
                </a:cxnLst>
                <a:rect l="0" t="0" r="r" b="b"/>
                <a:pathLst>
                  <a:path w="24" h="30">
                    <a:moveTo>
                      <a:pt x="12" y="0"/>
                    </a:moveTo>
                    <a:lnTo>
                      <a:pt x="12" y="0"/>
                    </a:lnTo>
                    <a:lnTo>
                      <a:pt x="6" y="3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0" y="9"/>
                    </a:lnTo>
                    <a:lnTo>
                      <a:pt x="0" y="14"/>
                    </a:lnTo>
                    <a:lnTo>
                      <a:pt x="0" y="21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6" y="28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28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2" y="21"/>
                    </a:lnTo>
                    <a:lnTo>
                      <a:pt x="24" y="14"/>
                    </a:lnTo>
                    <a:lnTo>
                      <a:pt x="22" y="9"/>
                    </a:lnTo>
                    <a:lnTo>
                      <a:pt x="20" y="5"/>
                    </a:lnTo>
                    <a:lnTo>
                      <a:pt x="20" y="5"/>
                    </a:lnTo>
                    <a:lnTo>
                      <a:pt x="16" y="3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48" name="Freeform 259"/>
              <p:cNvSpPr>
                <a:spLocks/>
              </p:cNvSpPr>
              <p:nvPr userDrawn="1"/>
            </p:nvSpPr>
            <p:spPr bwMode="auto">
              <a:xfrm>
                <a:off x="2852" y="3191"/>
                <a:ext cx="24" cy="3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6" y="3"/>
                  </a:cxn>
                  <a:cxn ang="0">
                    <a:pos x="2" y="5"/>
                  </a:cxn>
                  <a:cxn ang="0">
                    <a:pos x="2" y="5"/>
                  </a:cxn>
                  <a:cxn ang="0">
                    <a:pos x="0" y="9"/>
                  </a:cxn>
                  <a:cxn ang="0">
                    <a:pos x="0" y="14"/>
                  </a:cxn>
                  <a:cxn ang="0">
                    <a:pos x="0" y="21"/>
                  </a:cxn>
                  <a:cxn ang="0">
                    <a:pos x="2" y="26"/>
                  </a:cxn>
                  <a:cxn ang="0">
                    <a:pos x="2" y="26"/>
                  </a:cxn>
                  <a:cxn ang="0">
                    <a:pos x="6" y="28"/>
                  </a:cxn>
                  <a:cxn ang="0">
                    <a:pos x="12" y="30"/>
                  </a:cxn>
                  <a:cxn ang="0">
                    <a:pos x="12" y="30"/>
                  </a:cxn>
                  <a:cxn ang="0">
                    <a:pos x="16" y="28"/>
                  </a:cxn>
                  <a:cxn ang="0">
                    <a:pos x="20" y="26"/>
                  </a:cxn>
                  <a:cxn ang="0">
                    <a:pos x="20" y="26"/>
                  </a:cxn>
                  <a:cxn ang="0">
                    <a:pos x="22" y="21"/>
                  </a:cxn>
                  <a:cxn ang="0">
                    <a:pos x="24" y="14"/>
                  </a:cxn>
                  <a:cxn ang="0">
                    <a:pos x="22" y="9"/>
                  </a:cxn>
                  <a:cxn ang="0">
                    <a:pos x="20" y="5"/>
                  </a:cxn>
                  <a:cxn ang="0">
                    <a:pos x="20" y="5"/>
                  </a:cxn>
                  <a:cxn ang="0">
                    <a:pos x="16" y="3"/>
                  </a:cxn>
                  <a:cxn ang="0">
                    <a:pos x="12" y="0"/>
                  </a:cxn>
                </a:cxnLst>
                <a:rect l="0" t="0" r="r" b="b"/>
                <a:pathLst>
                  <a:path w="24" h="30">
                    <a:moveTo>
                      <a:pt x="12" y="0"/>
                    </a:moveTo>
                    <a:lnTo>
                      <a:pt x="12" y="0"/>
                    </a:lnTo>
                    <a:lnTo>
                      <a:pt x="6" y="3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0" y="9"/>
                    </a:lnTo>
                    <a:lnTo>
                      <a:pt x="0" y="14"/>
                    </a:lnTo>
                    <a:lnTo>
                      <a:pt x="0" y="21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6" y="28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28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2" y="21"/>
                    </a:lnTo>
                    <a:lnTo>
                      <a:pt x="24" y="14"/>
                    </a:lnTo>
                    <a:lnTo>
                      <a:pt x="22" y="9"/>
                    </a:lnTo>
                    <a:lnTo>
                      <a:pt x="20" y="5"/>
                    </a:lnTo>
                    <a:lnTo>
                      <a:pt x="20" y="5"/>
                    </a:lnTo>
                    <a:lnTo>
                      <a:pt x="16" y="3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49" name="Freeform 260"/>
              <p:cNvSpPr>
                <a:spLocks/>
              </p:cNvSpPr>
              <p:nvPr userDrawn="1"/>
            </p:nvSpPr>
            <p:spPr bwMode="auto">
              <a:xfrm>
                <a:off x="2888" y="3119"/>
                <a:ext cx="24" cy="18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13" y="0"/>
                  </a:cxn>
                  <a:cxn ang="0">
                    <a:pos x="9" y="0"/>
                  </a:cxn>
                  <a:cxn ang="0">
                    <a:pos x="5" y="3"/>
                  </a:cxn>
                  <a:cxn ang="0">
                    <a:pos x="5" y="3"/>
                  </a:cxn>
                  <a:cxn ang="0">
                    <a:pos x="2" y="5"/>
                  </a:cxn>
                  <a:cxn ang="0">
                    <a:pos x="0" y="10"/>
                  </a:cxn>
                  <a:cxn ang="0">
                    <a:pos x="2" y="13"/>
                  </a:cxn>
                  <a:cxn ang="0">
                    <a:pos x="5" y="15"/>
                  </a:cxn>
                  <a:cxn ang="0">
                    <a:pos x="5" y="15"/>
                  </a:cxn>
                  <a:cxn ang="0">
                    <a:pos x="9" y="18"/>
                  </a:cxn>
                  <a:cxn ang="0">
                    <a:pos x="13" y="18"/>
                  </a:cxn>
                  <a:cxn ang="0">
                    <a:pos x="13" y="18"/>
                  </a:cxn>
                  <a:cxn ang="0">
                    <a:pos x="18" y="18"/>
                  </a:cxn>
                  <a:cxn ang="0">
                    <a:pos x="22" y="15"/>
                  </a:cxn>
                  <a:cxn ang="0">
                    <a:pos x="22" y="15"/>
                  </a:cxn>
                  <a:cxn ang="0">
                    <a:pos x="24" y="13"/>
                  </a:cxn>
                  <a:cxn ang="0">
                    <a:pos x="24" y="10"/>
                  </a:cxn>
                  <a:cxn ang="0">
                    <a:pos x="24" y="5"/>
                  </a:cxn>
                  <a:cxn ang="0">
                    <a:pos x="22" y="3"/>
                  </a:cxn>
                  <a:cxn ang="0">
                    <a:pos x="22" y="3"/>
                  </a:cxn>
                  <a:cxn ang="0">
                    <a:pos x="18" y="0"/>
                  </a:cxn>
                  <a:cxn ang="0">
                    <a:pos x="13" y="0"/>
                  </a:cxn>
                </a:cxnLst>
                <a:rect l="0" t="0" r="r" b="b"/>
                <a:pathLst>
                  <a:path w="24" h="18">
                    <a:moveTo>
                      <a:pt x="13" y="0"/>
                    </a:moveTo>
                    <a:lnTo>
                      <a:pt x="13" y="0"/>
                    </a:lnTo>
                    <a:lnTo>
                      <a:pt x="9" y="0"/>
                    </a:lnTo>
                    <a:lnTo>
                      <a:pt x="5" y="3"/>
                    </a:lnTo>
                    <a:lnTo>
                      <a:pt x="5" y="3"/>
                    </a:lnTo>
                    <a:lnTo>
                      <a:pt x="2" y="5"/>
                    </a:lnTo>
                    <a:lnTo>
                      <a:pt x="0" y="10"/>
                    </a:lnTo>
                    <a:lnTo>
                      <a:pt x="2" y="13"/>
                    </a:lnTo>
                    <a:lnTo>
                      <a:pt x="5" y="15"/>
                    </a:lnTo>
                    <a:lnTo>
                      <a:pt x="5" y="15"/>
                    </a:lnTo>
                    <a:lnTo>
                      <a:pt x="9" y="18"/>
                    </a:lnTo>
                    <a:lnTo>
                      <a:pt x="13" y="18"/>
                    </a:lnTo>
                    <a:lnTo>
                      <a:pt x="13" y="18"/>
                    </a:lnTo>
                    <a:lnTo>
                      <a:pt x="18" y="18"/>
                    </a:lnTo>
                    <a:lnTo>
                      <a:pt x="22" y="15"/>
                    </a:lnTo>
                    <a:lnTo>
                      <a:pt x="22" y="15"/>
                    </a:lnTo>
                    <a:lnTo>
                      <a:pt x="24" y="13"/>
                    </a:lnTo>
                    <a:lnTo>
                      <a:pt x="24" y="10"/>
                    </a:lnTo>
                    <a:lnTo>
                      <a:pt x="24" y="5"/>
                    </a:lnTo>
                    <a:lnTo>
                      <a:pt x="22" y="3"/>
                    </a:lnTo>
                    <a:lnTo>
                      <a:pt x="22" y="3"/>
                    </a:lnTo>
                    <a:lnTo>
                      <a:pt x="18" y="0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50" name="Freeform 261"/>
              <p:cNvSpPr>
                <a:spLocks/>
              </p:cNvSpPr>
              <p:nvPr userDrawn="1"/>
            </p:nvSpPr>
            <p:spPr bwMode="auto">
              <a:xfrm>
                <a:off x="2888" y="3119"/>
                <a:ext cx="24" cy="18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13" y="0"/>
                  </a:cxn>
                  <a:cxn ang="0">
                    <a:pos x="9" y="0"/>
                  </a:cxn>
                  <a:cxn ang="0">
                    <a:pos x="5" y="3"/>
                  </a:cxn>
                  <a:cxn ang="0">
                    <a:pos x="5" y="3"/>
                  </a:cxn>
                  <a:cxn ang="0">
                    <a:pos x="2" y="5"/>
                  </a:cxn>
                  <a:cxn ang="0">
                    <a:pos x="0" y="10"/>
                  </a:cxn>
                  <a:cxn ang="0">
                    <a:pos x="2" y="13"/>
                  </a:cxn>
                  <a:cxn ang="0">
                    <a:pos x="5" y="15"/>
                  </a:cxn>
                  <a:cxn ang="0">
                    <a:pos x="5" y="15"/>
                  </a:cxn>
                  <a:cxn ang="0">
                    <a:pos x="9" y="18"/>
                  </a:cxn>
                  <a:cxn ang="0">
                    <a:pos x="13" y="18"/>
                  </a:cxn>
                  <a:cxn ang="0">
                    <a:pos x="13" y="18"/>
                  </a:cxn>
                  <a:cxn ang="0">
                    <a:pos x="18" y="18"/>
                  </a:cxn>
                  <a:cxn ang="0">
                    <a:pos x="22" y="15"/>
                  </a:cxn>
                  <a:cxn ang="0">
                    <a:pos x="22" y="15"/>
                  </a:cxn>
                  <a:cxn ang="0">
                    <a:pos x="24" y="13"/>
                  </a:cxn>
                  <a:cxn ang="0">
                    <a:pos x="24" y="10"/>
                  </a:cxn>
                  <a:cxn ang="0">
                    <a:pos x="24" y="5"/>
                  </a:cxn>
                  <a:cxn ang="0">
                    <a:pos x="22" y="3"/>
                  </a:cxn>
                  <a:cxn ang="0">
                    <a:pos x="22" y="3"/>
                  </a:cxn>
                  <a:cxn ang="0">
                    <a:pos x="18" y="0"/>
                  </a:cxn>
                  <a:cxn ang="0">
                    <a:pos x="13" y="0"/>
                  </a:cxn>
                </a:cxnLst>
                <a:rect l="0" t="0" r="r" b="b"/>
                <a:pathLst>
                  <a:path w="24" h="18">
                    <a:moveTo>
                      <a:pt x="13" y="0"/>
                    </a:moveTo>
                    <a:lnTo>
                      <a:pt x="13" y="0"/>
                    </a:lnTo>
                    <a:lnTo>
                      <a:pt x="9" y="0"/>
                    </a:lnTo>
                    <a:lnTo>
                      <a:pt x="5" y="3"/>
                    </a:lnTo>
                    <a:lnTo>
                      <a:pt x="5" y="3"/>
                    </a:lnTo>
                    <a:lnTo>
                      <a:pt x="2" y="5"/>
                    </a:lnTo>
                    <a:lnTo>
                      <a:pt x="0" y="10"/>
                    </a:lnTo>
                    <a:lnTo>
                      <a:pt x="2" y="13"/>
                    </a:lnTo>
                    <a:lnTo>
                      <a:pt x="5" y="15"/>
                    </a:lnTo>
                    <a:lnTo>
                      <a:pt x="5" y="15"/>
                    </a:lnTo>
                    <a:lnTo>
                      <a:pt x="9" y="18"/>
                    </a:lnTo>
                    <a:lnTo>
                      <a:pt x="13" y="18"/>
                    </a:lnTo>
                    <a:lnTo>
                      <a:pt x="13" y="18"/>
                    </a:lnTo>
                    <a:lnTo>
                      <a:pt x="18" y="18"/>
                    </a:lnTo>
                    <a:lnTo>
                      <a:pt x="22" y="15"/>
                    </a:lnTo>
                    <a:lnTo>
                      <a:pt x="22" y="15"/>
                    </a:lnTo>
                    <a:lnTo>
                      <a:pt x="24" y="13"/>
                    </a:lnTo>
                    <a:lnTo>
                      <a:pt x="24" y="10"/>
                    </a:lnTo>
                    <a:lnTo>
                      <a:pt x="24" y="5"/>
                    </a:lnTo>
                    <a:lnTo>
                      <a:pt x="22" y="3"/>
                    </a:lnTo>
                    <a:lnTo>
                      <a:pt x="22" y="3"/>
                    </a:lnTo>
                    <a:lnTo>
                      <a:pt x="18" y="0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51" name="Freeform 262"/>
              <p:cNvSpPr>
                <a:spLocks/>
              </p:cNvSpPr>
              <p:nvPr userDrawn="1"/>
            </p:nvSpPr>
            <p:spPr bwMode="auto">
              <a:xfrm>
                <a:off x="2942" y="3047"/>
                <a:ext cx="18" cy="18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0" y="13"/>
                  </a:cxn>
                  <a:cxn ang="0">
                    <a:pos x="2" y="17"/>
                  </a:cxn>
                  <a:cxn ang="0">
                    <a:pos x="2" y="17"/>
                  </a:cxn>
                  <a:cxn ang="0">
                    <a:pos x="6" y="18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2" y="18"/>
                  </a:cxn>
                  <a:cxn ang="0">
                    <a:pos x="16" y="17"/>
                  </a:cxn>
                  <a:cxn ang="0">
                    <a:pos x="16" y="17"/>
                  </a:cxn>
                  <a:cxn ang="0">
                    <a:pos x="18" y="13"/>
                  </a:cxn>
                  <a:cxn ang="0">
                    <a:pos x="18" y="9"/>
                  </a:cxn>
                  <a:cxn ang="0">
                    <a:pos x="18" y="8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2" y="2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9"/>
                    </a:lnTo>
                    <a:lnTo>
                      <a:pt x="0" y="13"/>
                    </a:lnTo>
                    <a:lnTo>
                      <a:pt x="2" y="17"/>
                    </a:lnTo>
                    <a:lnTo>
                      <a:pt x="2" y="17"/>
                    </a:lnTo>
                    <a:lnTo>
                      <a:pt x="6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6" y="17"/>
                    </a:lnTo>
                    <a:lnTo>
                      <a:pt x="16" y="17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18" y="8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2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52" name="Freeform 263"/>
              <p:cNvSpPr>
                <a:spLocks/>
              </p:cNvSpPr>
              <p:nvPr userDrawn="1"/>
            </p:nvSpPr>
            <p:spPr bwMode="auto">
              <a:xfrm>
                <a:off x="2942" y="3047"/>
                <a:ext cx="18" cy="18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0" y="13"/>
                  </a:cxn>
                  <a:cxn ang="0">
                    <a:pos x="2" y="17"/>
                  </a:cxn>
                  <a:cxn ang="0">
                    <a:pos x="2" y="17"/>
                  </a:cxn>
                  <a:cxn ang="0">
                    <a:pos x="6" y="18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2" y="18"/>
                  </a:cxn>
                  <a:cxn ang="0">
                    <a:pos x="16" y="17"/>
                  </a:cxn>
                  <a:cxn ang="0">
                    <a:pos x="16" y="17"/>
                  </a:cxn>
                  <a:cxn ang="0">
                    <a:pos x="18" y="13"/>
                  </a:cxn>
                  <a:cxn ang="0">
                    <a:pos x="18" y="9"/>
                  </a:cxn>
                  <a:cxn ang="0">
                    <a:pos x="18" y="8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2" y="2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9"/>
                    </a:lnTo>
                    <a:lnTo>
                      <a:pt x="0" y="13"/>
                    </a:lnTo>
                    <a:lnTo>
                      <a:pt x="2" y="17"/>
                    </a:lnTo>
                    <a:lnTo>
                      <a:pt x="2" y="17"/>
                    </a:lnTo>
                    <a:lnTo>
                      <a:pt x="6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6" y="17"/>
                    </a:lnTo>
                    <a:lnTo>
                      <a:pt x="16" y="17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18" y="8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2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53" name="Freeform 264"/>
              <p:cNvSpPr>
                <a:spLocks/>
              </p:cNvSpPr>
              <p:nvPr userDrawn="1"/>
            </p:nvSpPr>
            <p:spPr bwMode="auto">
              <a:xfrm>
                <a:off x="3002" y="2987"/>
                <a:ext cx="18" cy="18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4" y="14"/>
                  </a:cxn>
                  <a:cxn ang="0">
                    <a:pos x="4" y="14"/>
                  </a:cxn>
                  <a:cxn ang="0">
                    <a:pos x="6" y="16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6"/>
                  </a:cxn>
                  <a:cxn ang="0">
                    <a:pos x="16" y="14"/>
                  </a:cxn>
                  <a:cxn ang="0">
                    <a:pos x="16" y="14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8" y="4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6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2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54" name="Freeform 265"/>
              <p:cNvSpPr>
                <a:spLocks/>
              </p:cNvSpPr>
              <p:nvPr userDrawn="1"/>
            </p:nvSpPr>
            <p:spPr bwMode="auto">
              <a:xfrm>
                <a:off x="3002" y="2987"/>
                <a:ext cx="18" cy="18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4" y="14"/>
                  </a:cxn>
                  <a:cxn ang="0">
                    <a:pos x="4" y="14"/>
                  </a:cxn>
                  <a:cxn ang="0">
                    <a:pos x="6" y="16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6"/>
                  </a:cxn>
                  <a:cxn ang="0">
                    <a:pos x="16" y="14"/>
                  </a:cxn>
                  <a:cxn ang="0">
                    <a:pos x="16" y="14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8" y="4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6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2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55" name="Freeform 266"/>
              <p:cNvSpPr>
                <a:spLocks/>
              </p:cNvSpPr>
              <p:nvPr userDrawn="1"/>
            </p:nvSpPr>
            <p:spPr bwMode="auto">
              <a:xfrm>
                <a:off x="2984" y="3731"/>
                <a:ext cx="48" cy="42"/>
              </a:xfrm>
              <a:custGeom>
                <a:avLst/>
                <a:gdLst/>
                <a:ahLst/>
                <a:cxnLst>
                  <a:cxn ang="0">
                    <a:pos x="25" y="0"/>
                  </a:cxn>
                  <a:cxn ang="0">
                    <a:pos x="25" y="0"/>
                  </a:cxn>
                  <a:cxn ang="0">
                    <a:pos x="17" y="0"/>
                  </a:cxn>
                  <a:cxn ang="0">
                    <a:pos x="9" y="6"/>
                  </a:cxn>
                  <a:cxn ang="0">
                    <a:pos x="9" y="6"/>
                  </a:cxn>
                  <a:cxn ang="0">
                    <a:pos x="2" y="13"/>
                  </a:cxn>
                  <a:cxn ang="0">
                    <a:pos x="0" y="20"/>
                  </a:cxn>
                  <a:cxn ang="0">
                    <a:pos x="2" y="28"/>
                  </a:cxn>
                  <a:cxn ang="0">
                    <a:pos x="9" y="35"/>
                  </a:cxn>
                  <a:cxn ang="0">
                    <a:pos x="9" y="35"/>
                  </a:cxn>
                  <a:cxn ang="0">
                    <a:pos x="17" y="41"/>
                  </a:cxn>
                  <a:cxn ang="0">
                    <a:pos x="25" y="42"/>
                  </a:cxn>
                  <a:cxn ang="0">
                    <a:pos x="25" y="42"/>
                  </a:cxn>
                  <a:cxn ang="0">
                    <a:pos x="34" y="41"/>
                  </a:cxn>
                  <a:cxn ang="0">
                    <a:pos x="42" y="35"/>
                  </a:cxn>
                  <a:cxn ang="0">
                    <a:pos x="42" y="35"/>
                  </a:cxn>
                  <a:cxn ang="0">
                    <a:pos x="46" y="28"/>
                  </a:cxn>
                  <a:cxn ang="0">
                    <a:pos x="48" y="20"/>
                  </a:cxn>
                  <a:cxn ang="0">
                    <a:pos x="46" y="13"/>
                  </a:cxn>
                  <a:cxn ang="0">
                    <a:pos x="42" y="6"/>
                  </a:cxn>
                  <a:cxn ang="0">
                    <a:pos x="42" y="6"/>
                  </a:cxn>
                  <a:cxn ang="0">
                    <a:pos x="34" y="0"/>
                  </a:cxn>
                  <a:cxn ang="0">
                    <a:pos x="25" y="0"/>
                  </a:cxn>
                </a:cxnLst>
                <a:rect l="0" t="0" r="r" b="b"/>
                <a:pathLst>
                  <a:path w="48" h="42">
                    <a:moveTo>
                      <a:pt x="25" y="0"/>
                    </a:moveTo>
                    <a:lnTo>
                      <a:pt x="25" y="0"/>
                    </a:lnTo>
                    <a:lnTo>
                      <a:pt x="17" y="0"/>
                    </a:lnTo>
                    <a:lnTo>
                      <a:pt x="9" y="6"/>
                    </a:lnTo>
                    <a:lnTo>
                      <a:pt x="9" y="6"/>
                    </a:lnTo>
                    <a:lnTo>
                      <a:pt x="2" y="13"/>
                    </a:lnTo>
                    <a:lnTo>
                      <a:pt x="0" y="20"/>
                    </a:lnTo>
                    <a:lnTo>
                      <a:pt x="2" y="28"/>
                    </a:lnTo>
                    <a:lnTo>
                      <a:pt x="9" y="35"/>
                    </a:lnTo>
                    <a:lnTo>
                      <a:pt x="9" y="35"/>
                    </a:lnTo>
                    <a:lnTo>
                      <a:pt x="17" y="41"/>
                    </a:lnTo>
                    <a:lnTo>
                      <a:pt x="25" y="42"/>
                    </a:lnTo>
                    <a:lnTo>
                      <a:pt x="25" y="42"/>
                    </a:lnTo>
                    <a:lnTo>
                      <a:pt x="34" y="41"/>
                    </a:lnTo>
                    <a:lnTo>
                      <a:pt x="42" y="35"/>
                    </a:lnTo>
                    <a:lnTo>
                      <a:pt x="42" y="35"/>
                    </a:lnTo>
                    <a:lnTo>
                      <a:pt x="46" y="28"/>
                    </a:lnTo>
                    <a:lnTo>
                      <a:pt x="48" y="20"/>
                    </a:lnTo>
                    <a:lnTo>
                      <a:pt x="46" y="13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34" y="0"/>
                    </a:lnTo>
                    <a:lnTo>
                      <a:pt x="2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56" name="Freeform 267"/>
              <p:cNvSpPr>
                <a:spLocks/>
              </p:cNvSpPr>
              <p:nvPr userDrawn="1"/>
            </p:nvSpPr>
            <p:spPr bwMode="auto">
              <a:xfrm>
                <a:off x="2984" y="3731"/>
                <a:ext cx="48" cy="42"/>
              </a:xfrm>
              <a:custGeom>
                <a:avLst/>
                <a:gdLst/>
                <a:ahLst/>
                <a:cxnLst>
                  <a:cxn ang="0">
                    <a:pos x="25" y="0"/>
                  </a:cxn>
                  <a:cxn ang="0">
                    <a:pos x="25" y="0"/>
                  </a:cxn>
                  <a:cxn ang="0">
                    <a:pos x="17" y="0"/>
                  </a:cxn>
                  <a:cxn ang="0">
                    <a:pos x="9" y="6"/>
                  </a:cxn>
                  <a:cxn ang="0">
                    <a:pos x="9" y="6"/>
                  </a:cxn>
                  <a:cxn ang="0">
                    <a:pos x="2" y="13"/>
                  </a:cxn>
                  <a:cxn ang="0">
                    <a:pos x="0" y="20"/>
                  </a:cxn>
                  <a:cxn ang="0">
                    <a:pos x="2" y="28"/>
                  </a:cxn>
                  <a:cxn ang="0">
                    <a:pos x="9" y="35"/>
                  </a:cxn>
                  <a:cxn ang="0">
                    <a:pos x="9" y="35"/>
                  </a:cxn>
                  <a:cxn ang="0">
                    <a:pos x="17" y="41"/>
                  </a:cxn>
                  <a:cxn ang="0">
                    <a:pos x="25" y="42"/>
                  </a:cxn>
                  <a:cxn ang="0">
                    <a:pos x="25" y="42"/>
                  </a:cxn>
                  <a:cxn ang="0">
                    <a:pos x="34" y="41"/>
                  </a:cxn>
                  <a:cxn ang="0">
                    <a:pos x="42" y="35"/>
                  </a:cxn>
                  <a:cxn ang="0">
                    <a:pos x="42" y="35"/>
                  </a:cxn>
                  <a:cxn ang="0">
                    <a:pos x="46" y="28"/>
                  </a:cxn>
                  <a:cxn ang="0">
                    <a:pos x="48" y="20"/>
                  </a:cxn>
                  <a:cxn ang="0">
                    <a:pos x="46" y="13"/>
                  </a:cxn>
                  <a:cxn ang="0">
                    <a:pos x="42" y="6"/>
                  </a:cxn>
                  <a:cxn ang="0">
                    <a:pos x="42" y="6"/>
                  </a:cxn>
                  <a:cxn ang="0">
                    <a:pos x="34" y="0"/>
                  </a:cxn>
                  <a:cxn ang="0">
                    <a:pos x="25" y="0"/>
                  </a:cxn>
                </a:cxnLst>
                <a:rect l="0" t="0" r="r" b="b"/>
                <a:pathLst>
                  <a:path w="48" h="42">
                    <a:moveTo>
                      <a:pt x="25" y="0"/>
                    </a:moveTo>
                    <a:lnTo>
                      <a:pt x="25" y="0"/>
                    </a:lnTo>
                    <a:lnTo>
                      <a:pt x="17" y="0"/>
                    </a:lnTo>
                    <a:lnTo>
                      <a:pt x="9" y="6"/>
                    </a:lnTo>
                    <a:lnTo>
                      <a:pt x="9" y="6"/>
                    </a:lnTo>
                    <a:lnTo>
                      <a:pt x="2" y="13"/>
                    </a:lnTo>
                    <a:lnTo>
                      <a:pt x="0" y="20"/>
                    </a:lnTo>
                    <a:lnTo>
                      <a:pt x="2" y="28"/>
                    </a:lnTo>
                    <a:lnTo>
                      <a:pt x="9" y="35"/>
                    </a:lnTo>
                    <a:lnTo>
                      <a:pt x="9" y="35"/>
                    </a:lnTo>
                    <a:lnTo>
                      <a:pt x="17" y="41"/>
                    </a:lnTo>
                    <a:lnTo>
                      <a:pt x="25" y="42"/>
                    </a:lnTo>
                    <a:lnTo>
                      <a:pt x="25" y="42"/>
                    </a:lnTo>
                    <a:lnTo>
                      <a:pt x="34" y="41"/>
                    </a:lnTo>
                    <a:lnTo>
                      <a:pt x="42" y="35"/>
                    </a:lnTo>
                    <a:lnTo>
                      <a:pt x="42" y="35"/>
                    </a:lnTo>
                    <a:lnTo>
                      <a:pt x="46" y="28"/>
                    </a:lnTo>
                    <a:lnTo>
                      <a:pt x="48" y="20"/>
                    </a:lnTo>
                    <a:lnTo>
                      <a:pt x="46" y="13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34" y="0"/>
                    </a:lnTo>
                    <a:lnTo>
                      <a:pt x="2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57" name="Freeform 268"/>
              <p:cNvSpPr>
                <a:spLocks/>
              </p:cNvSpPr>
              <p:nvPr userDrawn="1"/>
            </p:nvSpPr>
            <p:spPr bwMode="auto">
              <a:xfrm>
                <a:off x="3062" y="3779"/>
                <a:ext cx="36" cy="42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1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0" y="30"/>
                  </a:cxn>
                  <a:cxn ang="0">
                    <a:pos x="6" y="36"/>
                  </a:cxn>
                  <a:cxn ang="0">
                    <a:pos x="6" y="36"/>
                  </a:cxn>
                  <a:cxn ang="0">
                    <a:pos x="11" y="40"/>
                  </a:cxn>
                  <a:cxn ang="0">
                    <a:pos x="18" y="42"/>
                  </a:cxn>
                  <a:cxn ang="0">
                    <a:pos x="18" y="42"/>
                  </a:cxn>
                  <a:cxn ang="0">
                    <a:pos x="26" y="40"/>
                  </a:cxn>
                  <a:cxn ang="0">
                    <a:pos x="31" y="36"/>
                  </a:cxn>
                  <a:cxn ang="0">
                    <a:pos x="31" y="36"/>
                  </a:cxn>
                  <a:cxn ang="0">
                    <a:pos x="35" y="30"/>
                  </a:cxn>
                  <a:cxn ang="0">
                    <a:pos x="36" y="22"/>
                  </a:cxn>
                  <a:cxn ang="0">
                    <a:pos x="35" y="14"/>
                  </a:cxn>
                  <a:cxn ang="0">
                    <a:pos x="31" y="6"/>
                  </a:cxn>
                  <a:cxn ang="0">
                    <a:pos x="31" y="6"/>
                  </a:cxn>
                  <a:cxn ang="0">
                    <a:pos x="26" y="2"/>
                  </a:cxn>
                  <a:cxn ang="0">
                    <a:pos x="18" y="0"/>
                  </a:cxn>
                </a:cxnLst>
                <a:rect l="0" t="0" r="r" b="b"/>
                <a:pathLst>
                  <a:path w="36" h="42">
                    <a:moveTo>
                      <a:pt x="18" y="0"/>
                    </a:moveTo>
                    <a:lnTo>
                      <a:pt x="18" y="0"/>
                    </a:lnTo>
                    <a:lnTo>
                      <a:pt x="11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0" y="30"/>
                    </a:lnTo>
                    <a:lnTo>
                      <a:pt x="6" y="36"/>
                    </a:lnTo>
                    <a:lnTo>
                      <a:pt x="6" y="36"/>
                    </a:lnTo>
                    <a:lnTo>
                      <a:pt x="11" y="40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26" y="40"/>
                    </a:lnTo>
                    <a:lnTo>
                      <a:pt x="31" y="36"/>
                    </a:lnTo>
                    <a:lnTo>
                      <a:pt x="31" y="36"/>
                    </a:lnTo>
                    <a:lnTo>
                      <a:pt x="35" y="30"/>
                    </a:lnTo>
                    <a:lnTo>
                      <a:pt x="36" y="22"/>
                    </a:lnTo>
                    <a:lnTo>
                      <a:pt x="35" y="14"/>
                    </a:lnTo>
                    <a:lnTo>
                      <a:pt x="31" y="6"/>
                    </a:lnTo>
                    <a:lnTo>
                      <a:pt x="31" y="6"/>
                    </a:lnTo>
                    <a:lnTo>
                      <a:pt x="26" y="2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58" name="Freeform 269"/>
              <p:cNvSpPr>
                <a:spLocks/>
              </p:cNvSpPr>
              <p:nvPr userDrawn="1"/>
            </p:nvSpPr>
            <p:spPr bwMode="auto">
              <a:xfrm>
                <a:off x="3062" y="3779"/>
                <a:ext cx="36" cy="42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1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0" y="30"/>
                  </a:cxn>
                  <a:cxn ang="0">
                    <a:pos x="6" y="36"/>
                  </a:cxn>
                  <a:cxn ang="0">
                    <a:pos x="6" y="36"/>
                  </a:cxn>
                  <a:cxn ang="0">
                    <a:pos x="11" y="40"/>
                  </a:cxn>
                  <a:cxn ang="0">
                    <a:pos x="18" y="42"/>
                  </a:cxn>
                  <a:cxn ang="0">
                    <a:pos x="18" y="42"/>
                  </a:cxn>
                  <a:cxn ang="0">
                    <a:pos x="26" y="40"/>
                  </a:cxn>
                  <a:cxn ang="0">
                    <a:pos x="31" y="36"/>
                  </a:cxn>
                  <a:cxn ang="0">
                    <a:pos x="31" y="36"/>
                  </a:cxn>
                  <a:cxn ang="0">
                    <a:pos x="35" y="30"/>
                  </a:cxn>
                  <a:cxn ang="0">
                    <a:pos x="36" y="22"/>
                  </a:cxn>
                  <a:cxn ang="0">
                    <a:pos x="35" y="14"/>
                  </a:cxn>
                  <a:cxn ang="0">
                    <a:pos x="31" y="6"/>
                  </a:cxn>
                  <a:cxn ang="0">
                    <a:pos x="31" y="6"/>
                  </a:cxn>
                  <a:cxn ang="0">
                    <a:pos x="26" y="2"/>
                  </a:cxn>
                  <a:cxn ang="0">
                    <a:pos x="18" y="0"/>
                  </a:cxn>
                </a:cxnLst>
                <a:rect l="0" t="0" r="r" b="b"/>
                <a:pathLst>
                  <a:path w="36" h="42">
                    <a:moveTo>
                      <a:pt x="18" y="0"/>
                    </a:moveTo>
                    <a:lnTo>
                      <a:pt x="18" y="0"/>
                    </a:lnTo>
                    <a:lnTo>
                      <a:pt x="11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0" y="30"/>
                    </a:lnTo>
                    <a:lnTo>
                      <a:pt x="6" y="36"/>
                    </a:lnTo>
                    <a:lnTo>
                      <a:pt x="6" y="36"/>
                    </a:lnTo>
                    <a:lnTo>
                      <a:pt x="11" y="40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26" y="40"/>
                    </a:lnTo>
                    <a:lnTo>
                      <a:pt x="31" y="36"/>
                    </a:lnTo>
                    <a:lnTo>
                      <a:pt x="31" y="36"/>
                    </a:lnTo>
                    <a:lnTo>
                      <a:pt x="35" y="30"/>
                    </a:lnTo>
                    <a:lnTo>
                      <a:pt x="36" y="22"/>
                    </a:lnTo>
                    <a:lnTo>
                      <a:pt x="35" y="14"/>
                    </a:lnTo>
                    <a:lnTo>
                      <a:pt x="31" y="6"/>
                    </a:lnTo>
                    <a:lnTo>
                      <a:pt x="31" y="6"/>
                    </a:lnTo>
                    <a:lnTo>
                      <a:pt x="26" y="2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59" name="Freeform 270"/>
              <p:cNvSpPr>
                <a:spLocks/>
              </p:cNvSpPr>
              <p:nvPr userDrawn="1"/>
            </p:nvSpPr>
            <p:spPr bwMode="auto">
              <a:xfrm>
                <a:off x="3140" y="3821"/>
                <a:ext cx="36" cy="36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10"/>
                  </a:cxn>
                  <a:cxn ang="0">
                    <a:pos x="0" y="18"/>
                  </a:cxn>
                  <a:cxn ang="0">
                    <a:pos x="0" y="24"/>
                  </a:cxn>
                  <a:cxn ang="0">
                    <a:pos x="4" y="30"/>
                  </a:cxn>
                  <a:cxn ang="0">
                    <a:pos x="4" y="30"/>
                  </a:cxn>
                  <a:cxn ang="0">
                    <a:pos x="10" y="34"/>
                  </a:cxn>
                  <a:cxn ang="0">
                    <a:pos x="18" y="36"/>
                  </a:cxn>
                  <a:cxn ang="0">
                    <a:pos x="18" y="36"/>
                  </a:cxn>
                  <a:cxn ang="0">
                    <a:pos x="24" y="34"/>
                  </a:cxn>
                  <a:cxn ang="0">
                    <a:pos x="30" y="30"/>
                  </a:cxn>
                  <a:cxn ang="0">
                    <a:pos x="30" y="30"/>
                  </a:cxn>
                  <a:cxn ang="0">
                    <a:pos x="34" y="24"/>
                  </a:cxn>
                  <a:cxn ang="0">
                    <a:pos x="36" y="18"/>
                  </a:cxn>
                  <a:cxn ang="0">
                    <a:pos x="34" y="10"/>
                  </a:cxn>
                  <a:cxn ang="0">
                    <a:pos x="30" y="4"/>
                  </a:cxn>
                  <a:cxn ang="0">
                    <a:pos x="30" y="4"/>
                  </a:cxn>
                  <a:cxn ang="0">
                    <a:pos x="24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6">
                    <a:moveTo>
                      <a:pt x="18" y="0"/>
                    </a:moveTo>
                    <a:lnTo>
                      <a:pt x="18" y="0"/>
                    </a:lnTo>
                    <a:lnTo>
                      <a:pt x="10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10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10" y="34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24" y="34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4" y="24"/>
                    </a:lnTo>
                    <a:lnTo>
                      <a:pt x="36" y="18"/>
                    </a:lnTo>
                    <a:lnTo>
                      <a:pt x="34" y="10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24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60" name="Freeform 271"/>
              <p:cNvSpPr>
                <a:spLocks/>
              </p:cNvSpPr>
              <p:nvPr userDrawn="1"/>
            </p:nvSpPr>
            <p:spPr bwMode="auto">
              <a:xfrm>
                <a:off x="3140" y="3821"/>
                <a:ext cx="36" cy="36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10"/>
                  </a:cxn>
                  <a:cxn ang="0">
                    <a:pos x="0" y="18"/>
                  </a:cxn>
                  <a:cxn ang="0">
                    <a:pos x="0" y="24"/>
                  </a:cxn>
                  <a:cxn ang="0">
                    <a:pos x="4" y="30"/>
                  </a:cxn>
                  <a:cxn ang="0">
                    <a:pos x="4" y="30"/>
                  </a:cxn>
                  <a:cxn ang="0">
                    <a:pos x="10" y="34"/>
                  </a:cxn>
                  <a:cxn ang="0">
                    <a:pos x="18" y="36"/>
                  </a:cxn>
                  <a:cxn ang="0">
                    <a:pos x="18" y="36"/>
                  </a:cxn>
                  <a:cxn ang="0">
                    <a:pos x="24" y="34"/>
                  </a:cxn>
                  <a:cxn ang="0">
                    <a:pos x="30" y="30"/>
                  </a:cxn>
                  <a:cxn ang="0">
                    <a:pos x="30" y="30"/>
                  </a:cxn>
                  <a:cxn ang="0">
                    <a:pos x="34" y="24"/>
                  </a:cxn>
                  <a:cxn ang="0">
                    <a:pos x="36" y="18"/>
                  </a:cxn>
                  <a:cxn ang="0">
                    <a:pos x="34" y="10"/>
                  </a:cxn>
                  <a:cxn ang="0">
                    <a:pos x="30" y="4"/>
                  </a:cxn>
                  <a:cxn ang="0">
                    <a:pos x="30" y="4"/>
                  </a:cxn>
                  <a:cxn ang="0">
                    <a:pos x="24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6">
                    <a:moveTo>
                      <a:pt x="18" y="0"/>
                    </a:moveTo>
                    <a:lnTo>
                      <a:pt x="18" y="0"/>
                    </a:lnTo>
                    <a:lnTo>
                      <a:pt x="10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10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10" y="34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24" y="34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4" y="24"/>
                    </a:lnTo>
                    <a:lnTo>
                      <a:pt x="36" y="18"/>
                    </a:lnTo>
                    <a:lnTo>
                      <a:pt x="34" y="10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24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61" name="Freeform 272"/>
              <p:cNvSpPr>
                <a:spLocks/>
              </p:cNvSpPr>
              <p:nvPr userDrawn="1"/>
            </p:nvSpPr>
            <p:spPr bwMode="auto">
              <a:xfrm>
                <a:off x="3224" y="3845"/>
                <a:ext cx="36" cy="30"/>
              </a:xfrm>
              <a:custGeom>
                <a:avLst/>
                <a:gdLst/>
                <a:ahLst/>
                <a:cxnLst>
                  <a:cxn ang="0">
                    <a:pos x="17" y="0"/>
                  </a:cxn>
                  <a:cxn ang="0">
                    <a:pos x="17" y="0"/>
                  </a:cxn>
                  <a:cxn ang="0">
                    <a:pos x="11" y="0"/>
                  </a:cxn>
                  <a:cxn ang="0">
                    <a:pos x="5" y="4"/>
                  </a:cxn>
                  <a:cxn ang="0">
                    <a:pos x="5" y="4"/>
                  </a:cxn>
                  <a:cxn ang="0">
                    <a:pos x="2" y="9"/>
                  </a:cxn>
                  <a:cxn ang="0">
                    <a:pos x="0" y="15"/>
                  </a:cxn>
                  <a:cxn ang="0">
                    <a:pos x="2" y="21"/>
                  </a:cxn>
                  <a:cxn ang="0">
                    <a:pos x="5" y="26"/>
                  </a:cxn>
                  <a:cxn ang="0">
                    <a:pos x="5" y="26"/>
                  </a:cxn>
                  <a:cxn ang="0">
                    <a:pos x="11" y="30"/>
                  </a:cxn>
                  <a:cxn ang="0">
                    <a:pos x="17" y="30"/>
                  </a:cxn>
                  <a:cxn ang="0">
                    <a:pos x="17" y="30"/>
                  </a:cxn>
                  <a:cxn ang="0">
                    <a:pos x="24" y="30"/>
                  </a:cxn>
                  <a:cxn ang="0">
                    <a:pos x="30" y="26"/>
                  </a:cxn>
                  <a:cxn ang="0">
                    <a:pos x="30" y="26"/>
                  </a:cxn>
                  <a:cxn ang="0">
                    <a:pos x="34" y="21"/>
                  </a:cxn>
                  <a:cxn ang="0">
                    <a:pos x="36" y="15"/>
                  </a:cxn>
                  <a:cxn ang="0">
                    <a:pos x="34" y="9"/>
                  </a:cxn>
                  <a:cxn ang="0">
                    <a:pos x="30" y="4"/>
                  </a:cxn>
                  <a:cxn ang="0">
                    <a:pos x="30" y="4"/>
                  </a:cxn>
                  <a:cxn ang="0">
                    <a:pos x="24" y="0"/>
                  </a:cxn>
                  <a:cxn ang="0">
                    <a:pos x="17" y="0"/>
                  </a:cxn>
                </a:cxnLst>
                <a:rect l="0" t="0" r="r" b="b"/>
                <a:pathLst>
                  <a:path w="36" h="30">
                    <a:moveTo>
                      <a:pt x="17" y="0"/>
                    </a:moveTo>
                    <a:lnTo>
                      <a:pt x="17" y="0"/>
                    </a:lnTo>
                    <a:lnTo>
                      <a:pt x="11" y="0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2" y="9"/>
                    </a:lnTo>
                    <a:lnTo>
                      <a:pt x="0" y="15"/>
                    </a:lnTo>
                    <a:lnTo>
                      <a:pt x="2" y="21"/>
                    </a:lnTo>
                    <a:lnTo>
                      <a:pt x="5" y="26"/>
                    </a:lnTo>
                    <a:lnTo>
                      <a:pt x="5" y="26"/>
                    </a:lnTo>
                    <a:lnTo>
                      <a:pt x="11" y="30"/>
                    </a:lnTo>
                    <a:lnTo>
                      <a:pt x="17" y="30"/>
                    </a:lnTo>
                    <a:lnTo>
                      <a:pt x="17" y="30"/>
                    </a:lnTo>
                    <a:lnTo>
                      <a:pt x="24" y="30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4" y="21"/>
                    </a:lnTo>
                    <a:lnTo>
                      <a:pt x="36" y="15"/>
                    </a:lnTo>
                    <a:lnTo>
                      <a:pt x="34" y="9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24" y="0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62" name="Freeform 273"/>
              <p:cNvSpPr>
                <a:spLocks/>
              </p:cNvSpPr>
              <p:nvPr userDrawn="1"/>
            </p:nvSpPr>
            <p:spPr bwMode="auto">
              <a:xfrm>
                <a:off x="3224" y="3845"/>
                <a:ext cx="36" cy="30"/>
              </a:xfrm>
              <a:custGeom>
                <a:avLst/>
                <a:gdLst/>
                <a:ahLst/>
                <a:cxnLst>
                  <a:cxn ang="0">
                    <a:pos x="17" y="0"/>
                  </a:cxn>
                  <a:cxn ang="0">
                    <a:pos x="17" y="0"/>
                  </a:cxn>
                  <a:cxn ang="0">
                    <a:pos x="11" y="0"/>
                  </a:cxn>
                  <a:cxn ang="0">
                    <a:pos x="5" y="4"/>
                  </a:cxn>
                  <a:cxn ang="0">
                    <a:pos x="5" y="4"/>
                  </a:cxn>
                  <a:cxn ang="0">
                    <a:pos x="2" y="9"/>
                  </a:cxn>
                  <a:cxn ang="0">
                    <a:pos x="0" y="15"/>
                  </a:cxn>
                  <a:cxn ang="0">
                    <a:pos x="2" y="21"/>
                  </a:cxn>
                  <a:cxn ang="0">
                    <a:pos x="5" y="26"/>
                  </a:cxn>
                  <a:cxn ang="0">
                    <a:pos x="5" y="26"/>
                  </a:cxn>
                  <a:cxn ang="0">
                    <a:pos x="11" y="30"/>
                  </a:cxn>
                  <a:cxn ang="0">
                    <a:pos x="17" y="30"/>
                  </a:cxn>
                  <a:cxn ang="0">
                    <a:pos x="17" y="30"/>
                  </a:cxn>
                  <a:cxn ang="0">
                    <a:pos x="24" y="30"/>
                  </a:cxn>
                  <a:cxn ang="0">
                    <a:pos x="30" y="26"/>
                  </a:cxn>
                  <a:cxn ang="0">
                    <a:pos x="30" y="26"/>
                  </a:cxn>
                  <a:cxn ang="0">
                    <a:pos x="34" y="21"/>
                  </a:cxn>
                  <a:cxn ang="0">
                    <a:pos x="36" y="15"/>
                  </a:cxn>
                  <a:cxn ang="0">
                    <a:pos x="34" y="9"/>
                  </a:cxn>
                  <a:cxn ang="0">
                    <a:pos x="30" y="4"/>
                  </a:cxn>
                  <a:cxn ang="0">
                    <a:pos x="30" y="4"/>
                  </a:cxn>
                  <a:cxn ang="0">
                    <a:pos x="24" y="0"/>
                  </a:cxn>
                  <a:cxn ang="0">
                    <a:pos x="17" y="0"/>
                  </a:cxn>
                </a:cxnLst>
                <a:rect l="0" t="0" r="r" b="b"/>
                <a:pathLst>
                  <a:path w="36" h="30">
                    <a:moveTo>
                      <a:pt x="17" y="0"/>
                    </a:moveTo>
                    <a:lnTo>
                      <a:pt x="17" y="0"/>
                    </a:lnTo>
                    <a:lnTo>
                      <a:pt x="11" y="0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2" y="9"/>
                    </a:lnTo>
                    <a:lnTo>
                      <a:pt x="0" y="15"/>
                    </a:lnTo>
                    <a:lnTo>
                      <a:pt x="2" y="21"/>
                    </a:lnTo>
                    <a:lnTo>
                      <a:pt x="5" y="26"/>
                    </a:lnTo>
                    <a:lnTo>
                      <a:pt x="5" y="26"/>
                    </a:lnTo>
                    <a:lnTo>
                      <a:pt x="11" y="30"/>
                    </a:lnTo>
                    <a:lnTo>
                      <a:pt x="17" y="30"/>
                    </a:lnTo>
                    <a:lnTo>
                      <a:pt x="17" y="30"/>
                    </a:lnTo>
                    <a:lnTo>
                      <a:pt x="24" y="30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4" y="21"/>
                    </a:lnTo>
                    <a:lnTo>
                      <a:pt x="36" y="15"/>
                    </a:lnTo>
                    <a:lnTo>
                      <a:pt x="34" y="9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24" y="0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63" name="Freeform 274"/>
              <p:cNvSpPr>
                <a:spLocks/>
              </p:cNvSpPr>
              <p:nvPr userDrawn="1"/>
            </p:nvSpPr>
            <p:spPr bwMode="auto">
              <a:xfrm>
                <a:off x="3308" y="3851"/>
                <a:ext cx="30" cy="3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6" y="26"/>
                  </a:cxn>
                  <a:cxn ang="0">
                    <a:pos x="6" y="26"/>
                  </a:cxn>
                  <a:cxn ang="0">
                    <a:pos x="10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22" y="30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30" y="20"/>
                  </a:cxn>
                  <a:cxn ang="0">
                    <a:pos x="30" y="16"/>
                  </a:cxn>
                  <a:cxn ang="0">
                    <a:pos x="30" y="10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0" h="30">
                    <a:moveTo>
                      <a:pt x="16" y="0"/>
                    </a:moveTo>
                    <a:lnTo>
                      <a:pt x="16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10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22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30" y="20"/>
                    </a:lnTo>
                    <a:lnTo>
                      <a:pt x="30" y="16"/>
                    </a:lnTo>
                    <a:lnTo>
                      <a:pt x="30" y="1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2" y="2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64" name="Freeform 275"/>
              <p:cNvSpPr>
                <a:spLocks/>
              </p:cNvSpPr>
              <p:nvPr userDrawn="1"/>
            </p:nvSpPr>
            <p:spPr bwMode="auto">
              <a:xfrm>
                <a:off x="3308" y="3851"/>
                <a:ext cx="30" cy="3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6" y="26"/>
                  </a:cxn>
                  <a:cxn ang="0">
                    <a:pos x="6" y="26"/>
                  </a:cxn>
                  <a:cxn ang="0">
                    <a:pos x="10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22" y="30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30" y="20"/>
                  </a:cxn>
                  <a:cxn ang="0">
                    <a:pos x="30" y="16"/>
                  </a:cxn>
                  <a:cxn ang="0">
                    <a:pos x="30" y="10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0" h="30">
                    <a:moveTo>
                      <a:pt x="16" y="0"/>
                    </a:moveTo>
                    <a:lnTo>
                      <a:pt x="16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10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22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30" y="20"/>
                    </a:lnTo>
                    <a:lnTo>
                      <a:pt x="30" y="16"/>
                    </a:lnTo>
                    <a:lnTo>
                      <a:pt x="30" y="1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2" y="2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65" name="Freeform 276"/>
              <p:cNvSpPr>
                <a:spLocks/>
              </p:cNvSpPr>
              <p:nvPr userDrawn="1"/>
            </p:nvSpPr>
            <p:spPr bwMode="auto">
              <a:xfrm>
                <a:off x="3398" y="3845"/>
                <a:ext cx="24" cy="30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13" y="0"/>
                  </a:cxn>
                  <a:cxn ang="0">
                    <a:pos x="8" y="2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0" y="9"/>
                  </a:cxn>
                  <a:cxn ang="0">
                    <a:pos x="0" y="15"/>
                  </a:cxn>
                  <a:cxn ang="0">
                    <a:pos x="0" y="20"/>
                  </a:cxn>
                  <a:cxn ang="0">
                    <a:pos x="4" y="26"/>
                  </a:cxn>
                  <a:cxn ang="0">
                    <a:pos x="4" y="26"/>
                  </a:cxn>
                  <a:cxn ang="0">
                    <a:pos x="8" y="28"/>
                  </a:cxn>
                  <a:cxn ang="0">
                    <a:pos x="13" y="30"/>
                  </a:cxn>
                  <a:cxn ang="0">
                    <a:pos x="13" y="30"/>
                  </a:cxn>
                  <a:cxn ang="0">
                    <a:pos x="17" y="28"/>
                  </a:cxn>
                  <a:cxn ang="0">
                    <a:pos x="23" y="26"/>
                  </a:cxn>
                  <a:cxn ang="0">
                    <a:pos x="23" y="26"/>
                  </a:cxn>
                  <a:cxn ang="0">
                    <a:pos x="24" y="20"/>
                  </a:cxn>
                  <a:cxn ang="0">
                    <a:pos x="24" y="15"/>
                  </a:cxn>
                  <a:cxn ang="0">
                    <a:pos x="24" y="9"/>
                  </a:cxn>
                  <a:cxn ang="0">
                    <a:pos x="23" y="5"/>
                  </a:cxn>
                  <a:cxn ang="0">
                    <a:pos x="23" y="5"/>
                  </a:cxn>
                  <a:cxn ang="0">
                    <a:pos x="17" y="2"/>
                  </a:cxn>
                  <a:cxn ang="0">
                    <a:pos x="13" y="0"/>
                  </a:cxn>
                </a:cxnLst>
                <a:rect l="0" t="0" r="r" b="b"/>
                <a:pathLst>
                  <a:path w="24" h="30">
                    <a:moveTo>
                      <a:pt x="13" y="0"/>
                    </a:moveTo>
                    <a:lnTo>
                      <a:pt x="13" y="0"/>
                    </a:lnTo>
                    <a:lnTo>
                      <a:pt x="8" y="2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0" y="9"/>
                    </a:lnTo>
                    <a:lnTo>
                      <a:pt x="0" y="15"/>
                    </a:lnTo>
                    <a:lnTo>
                      <a:pt x="0" y="2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8" y="28"/>
                    </a:lnTo>
                    <a:lnTo>
                      <a:pt x="13" y="30"/>
                    </a:lnTo>
                    <a:lnTo>
                      <a:pt x="13" y="30"/>
                    </a:lnTo>
                    <a:lnTo>
                      <a:pt x="17" y="28"/>
                    </a:lnTo>
                    <a:lnTo>
                      <a:pt x="23" y="26"/>
                    </a:lnTo>
                    <a:lnTo>
                      <a:pt x="23" y="26"/>
                    </a:lnTo>
                    <a:lnTo>
                      <a:pt x="24" y="20"/>
                    </a:lnTo>
                    <a:lnTo>
                      <a:pt x="24" y="15"/>
                    </a:lnTo>
                    <a:lnTo>
                      <a:pt x="24" y="9"/>
                    </a:lnTo>
                    <a:lnTo>
                      <a:pt x="23" y="5"/>
                    </a:lnTo>
                    <a:lnTo>
                      <a:pt x="23" y="5"/>
                    </a:lnTo>
                    <a:lnTo>
                      <a:pt x="17" y="2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66" name="Freeform 277"/>
              <p:cNvSpPr>
                <a:spLocks/>
              </p:cNvSpPr>
              <p:nvPr userDrawn="1"/>
            </p:nvSpPr>
            <p:spPr bwMode="auto">
              <a:xfrm>
                <a:off x="3398" y="3845"/>
                <a:ext cx="24" cy="30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13" y="0"/>
                  </a:cxn>
                  <a:cxn ang="0">
                    <a:pos x="8" y="2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0" y="9"/>
                  </a:cxn>
                  <a:cxn ang="0">
                    <a:pos x="0" y="15"/>
                  </a:cxn>
                  <a:cxn ang="0">
                    <a:pos x="0" y="20"/>
                  </a:cxn>
                  <a:cxn ang="0">
                    <a:pos x="4" y="26"/>
                  </a:cxn>
                  <a:cxn ang="0">
                    <a:pos x="4" y="26"/>
                  </a:cxn>
                  <a:cxn ang="0">
                    <a:pos x="8" y="28"/>
                  </a:cxn>
                  <a:cxn ang="0">
                    <a:pos x="13" y="30"/>
                  </a:cxn>
                  <a:cxn ang="0">
                    <a:pos x="13" y="30"/>
                  </a:cxn>
                  <a:cxn ang="0">
                    <a:pos x="17" y="28"/>
                  </a:cxn>
                  <a:cxn ang="0">
                    <a:pos x="23" y="26"/>
                  </a:cxn>
                  <a:cxn ang="0">
                    <a:pos x="23" y="26"/>
                  </a:cxn>
                  <a:cxn ang="0">
                    <a:pos x="24" y="20"/>
                  </a:cxn>
                  <a:cxn ang="0">
                    <a:pos x="24" y="15"/>
                  </a:cxn>
                  <a:cxn ang="0">
                    <a:pos x="24" y="9"/>
                  </a:cxn>
                  <a:cxn ang="0">
                    <a:pos x="23" y="5"/>
                  </a:cxn>
                  <a:cxn ang="0">
                    <a:pos x="23" y="5"/>
                  </a:cxn>
                  <a:cxn ang="0">
                    <a:pos x="17" y="2"/>
                  </a:cxn>
                  <a:cxn ang="0">
                    <a:pos x="13" y="0"/>
                  </a:cxn>
                </a:cxnLst>
                <a:rect l="0" t="0" r="r" b="b"/>
                <a:pathLst>
                  <a:path w="24" h="30">
                    <a:moveTo>
                      <a:pt x="13" y="0"/>
                    </a:moveTo>
                    <a:lnTo>
                      <a:pt x="13" y="0"/>
                    </a:lnTo>
                    <a:lnTo>
                      <a:pt x="8" y="2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0" y="9"/>
                    </a:lnTo>
                    <a:lnTo>
                      <a:pt x="0" y="15"/>
                    </a:lnTo>
                    <a:lnTo>
                      <a:pt x="0" y="2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8" y="28"/>
                    </a:lnTo>
                    <a:lnTo>
                      <a:pt x="13" y="30"/>
                    </a:lnTo>
                    <a:lnTo>
                      <a:pt x="13" y="30"/>
                    </a:lnTo>
                    <a:lnTo>
                      <a:pt x="17" y="28"/>
                    </a:lnTo>
                    <a:lnTo>
                      <a:pt x="23" y="26"/>
                    </a:lnTo>
                    <a:lnTo>
                      <a:pt x="23" y="26"/>
                    </a:lnTo>
                    <a:lnTo>
                      <a:pt x="24" y="20"/>
                    </a:lnTo>
                    <a:lnTo>
                      <a:pt x="24" y="15"/>
                    </a:lnTo>
                    <a:lnTo>
                      <a:pt x="24" y="9"/>
                    </a:lnTo>
                    <a:lnTo>
                      <a:pt x="23" y="5"/>
                    </a:lnTo>
                    <a:lnTo>
                      <a:pt x="23" y="5"/>
                    </a:lnTo>
                    <a:lnTo>
                      <a:pt x="17" y="2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67" name="Freeform 278"/>
              <p:cNvSpPr>
                <a:spLocks/>
              </p:cNvSpPr>
              <p:nvPr userDrawn="1"/>
            </p:nvSpPr>
            <p:spPr bwMode="auto">
              <a:xfrm>
                <a:off x="3482" y="3827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4" y="20"/>
                  </a:cxn>
                  <a:cxn ang="0">
                    <a:pos x="4" y="20"/>
                  </a:cxn>
                  <a:cxn ang="0">
                    <a:pos x="8" y="22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2"/>
                  </a:cxn>
                  <a:cxn ang="0">
                    <a:pos x="20" y="20"/>
                  </a:cxn>
                  <a:cxn ang="0">
                    <a:pos x="20" y="20"/>
                  </a:cxn>
                  <a:cxn ang="0">
                    <a:pos x="24" y="16"/>
                  </a:cxn>
                  <a:cxn ang="0">
                    <a:pos x="24" y="12"/>
                  </a:cxn>
                  <a:cxn ang="0">
                    <a:pos x="24" y="8"/>
                  </a:cxn>
                  <a:cxn ang="0">
                    <a:pos x="20" y="4"/>
                  </a:cxn>
                  <a:cxn ang="0">
                    <a:pos x="20" y="4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8" y="22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2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24" y="16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68" name="Freeform 279"/>
              <p:cNvSpPr>
                <a:spLocks/>
              </p:cNvSpPr>
              <p:nvPr userDrawn="1"/>
            </p:nvSpPr>
            <p:spPr bwMode="auto">
              <a:xfrm>
                <a:off x="3482" y="3827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4" y="20"/>
                  </a:cxn>
                  <a:cxn ang="0">
                    <a:pos x="4" y="20"/>
                  </a:cxn>
                  <a:cxn ang="0">
                    <a:pos x="8" y="22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2"/>
                  </a:cxn>
                  <a:cxn ang="0">
                    <a:pos x="20" y="20"/>
                  </a:cxn>
                  <a:cxn ang="0">
                    <a:pos x="20" y="20"/>
                  </a:cxn>
                  <a:cxn ang="0">
                    <a:pos x="24" y="16"/>
                  </a:cxn>
                  <a:cxn ang="0">
                    <a:pos x="24" y="12"/>
                  </a:cxn>
                  <a:cxn ang="0">
                    <a:pos x="24" y="8"/>
                  </a:cxn>
                  <a:cxn ang="0">
                    <a:pos x="20" y="4"/>
                  </a:cxn>
                  <a:cxn ang="0">
                    <a:pos x="20" y="4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8" y="22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2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24" y="16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69" name="Freeform 280"/>
              <p:cNvSpPr>
                <a:spLocks/>
              </p:cNvSpPr>
              <p:nvPr userDrawn="1"/>
            </p:nvSpPr>
            <p:spPr bwMode="auto">
              <a:xfrm>
                <a:off x="3560" y="3791"/>
                <a:ext cx="24" cy="18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2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0" y="7"/>
                  </a:cxn>
                  <a:cxn ang="0">
                    <a:pos x="0" y="10"/>
                  </a:cxn>
                  <a:cxn ang="0">
                    <a:pos x="0" y="13"/>
                  </a:cxn>
                  <a:cxn ang="0">
                    <a:pos x="3" y="17"/>
                  </a:cxn>
                  <a:cxn ang="0">
                    <a:pos x="3" y="17"/>
                  </a:cxn>
                  <a:cxn ang="0">
                    <a:pos x="8" y="18"/>
                  </a:cxn>
                  <a:cxn ang="0">
                    <a:pos x="12" y="18"/>
                  </a:cxn>
                  <a:cxn ang="0">
                    <a:pos x="12" y="18"/>
                  </a:cxn>
                  <a:cxn ang="0">
                    <a:pos x="17" y="18"/>
                  </a:cxn>
                  <a:cxn ang="0">
                    <a:pos x="22" y="17"/>
                  </a:cxn>
                  <a:cxn ang="0">
                    <a:pos x="22" y="17"/>
                  </a:cxn>
                  <a:cxn ang="0">
                    <a:pos x="24" y="13"/>
                  </a:cxn>
                  <a:cxn ang="0">
                    <a:pos x="24" y="10"/>
                  </a:cxn>
                  <a:cxn ang="0">
                    <a:pos x="24" y="7"/>
                  </a:cxn>
                  <a:cxn ang="0">
                    <a:pos x="22" y="3"/>
                  </a:cxn>
                  <a:cxn ang="0">
                    <a:pos x="22" y="3"/>
                  </a:cxn>
                  <a:cxn ang="0">
                    <a:pos x="17" y="2"/>
                  </a:cxn>
                  <a:cxn ang="0">
                    <a:pos x="12" y="0"/>
                  </a:cxn>
                </a:cxnLst>
                <a:rect l="0" t="0" r="r" b="b"/>
                <a:pathLst>
                  <a:path w="24" h="18">
                    <a:moveTo>
                      <a:pt x="12" y="0"/>
                    </a:moveTo>
                    <a:lnTo>
                      <a:pt x="12" y="0"/>
                    </a:lnTo>
                    <a:lnTo>
                      <a:pt x="8" y="2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0" y="7"/>
                    </a:lnTo>
                    <a:lnTo>
                      <a:pt x="0" y="10"/>
                    </a:lnTo>
                    <a:lnTo>
                      <a:pt x="0" y="13"/>
                    </a:lnTo>
                    <a:lnTo>
                      <a:pt x="3" y="17"/>
                    </a:lnTo>
                    <a:lnTo>
                      <a:pt x="3" y="17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7" y="18"/>
                    </a:lnTo>
                    <a:lnTo>
                      <a:pt x="22" y="17"/>
                    </a:lnTo>
                    <a:lnTo>
                      <a:pt x="22" y="17"/>
                    </a:lnTo>
                    <a:lnTo>
                      <a:pt x="24" y="13"/>
                    </a:lnTo>
                    <a:lnTo>
                      <a:pt x="24" y="10"/>
                    </a:lnTo>
                    <a:lnTo>
                      <a:pt x="24" y="7"/>
                    </a:lnTo>
                    <a:lnTo>
                      <a:pt x="22" y="3"/>
                    </a:lnTo>
                    <a:lnTo>
                      <a:pt x="22" y="3"/>
                    </a:lnTo>
                    <a:lnTo>
                      <a:pt x="17" y="2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70" name="Freeform 281"/>
              <p:cNvSpPr>
                <a:spLocks/>
              </p:cNvSpPr>
              <p:nvPr userDrawn="1"/>
            </p:nvSpPr>
            <p:spPr bwMode="auto">
              <a:xfrm>
                <a:off x="3560" y="3791"/>
                <a:ext cx="24" cy="18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2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0" y="7"/>
                  </a:cxn>
                  <a:cxn ang="0">
                    <a:pos x="0" y="10"/>
                  </a:cxn>
                  <a:cxn ang="0">
                    <a:pos x="0" y="13"/>
                  </a:cxn>
                  <a:cxn ang="0">
                    <a:pos x="3" y="17"/>
                  </a:cxn>
                  <a:cxn ang="0">
                    <a:pos x="3" y="17"/>
                  </a:cxn>
                  <a:cxn ang="0">
                    <a:pos x="8" y="18"/>
                  </a:cxn>
                  <a:cxn ang="0">
                    <a:pos x="12" y="18"/>
                  </a:cxn>
                  <a:cxn ang="0">
                    <a:pos x="12" y="18"/>
                  </a:cxn>
                  <a:cxn ang="0">
                    <a:pos x="17" y="18"/>
                  </a:cxn>
                  <a:cxn ang="0">
                    <a:pos x="22" y="17"/>
                  </a:cxn>
                  <a:cxn ang="0">
                    <a:pos x="22" y="17"/>
                  </a:cxn>
                  <a:cxn ang="0">
                    <a:pos x="24" y="13"/>
                  </a:cxn>
                  <a:cxn ang="0">
                    <a:pos x="24" y="10"/>
                  </a:cxn>
                  <a:cxn ang="0">
                    <a:pos x="24" y="7"/>
                  </a:cxn>
                  <a:cxn ang="0">
                    <a:pos x="22" y="3"/>
                  </a:cxn>
                  <a:cxn ang="0">
                    <a:pos x="22" y="3"/>
                  </a:cxn>
                  <a:cxn ang="0">
                    <a:pos x="17" y="2"/>
                  </a:cxn>
                  <a:cxn ang="0">
                    <a:pos x="12" y="0"/>
                  </a:cxn>
                </a:cxnLst>
                <a:rect l="0" t="0" r="r" b="b"/>
                <a:pathLst>
                  <a:path w="24" h="18">
                    <a:moveTo>
                      <a:pt x="12" y="0"/>
                    </a:moveTo>
                    <a:lnTo>
                      <a:pt x="12" y="0"/>
                    </a:lnTo>
                    <a:lnTo>
                      <a:pt x="8" y="2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0" y="7"/>
                    </a:lnTo>
                    <a:lnTo>
                      <a:pt x="0" y="10"/>
                    </a:lnTo>
                    <a:lnTo>
                      <a:pt x="0" y="13"/>
                    </a:lnTo>
                    <a:lnTo>
                      <a:pt x="3" y="17"/>
                    </a:lnTo>
                    <a:lnTo>
                      <a:pt x="3" y="17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7" y="18"/>
                    </a:lnTo>
                    <a:lnTo>
                      <a:pt x="22" y="17"/>
                    </a:lnTo>
                    <a:lnTo>
                      <a:pt x="22" y="17"/>
                    </a:lnTo>
                    <a:lnTo>
                      <a:pt x="24" y="13"/>
                    </a:lnTo>
                    <a:lnTo>
                      <a:pt x="24" y="10"/>
                    </a:lnTo>
                    <a:lnTo>
                      <a:pt x="24" y="7"/>
                    </a:lnTo>
                    <a:lnTo>
                      <a:pt x="22" y="3"/>
                    </a:lnTo>
                    <a:lnTo>
                      <a:pt x="22" y="3"/>
                    </a:lnTo>
                    <a:lnTo>
                      <a:pt x="17" y="2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71" name="Freeform 282"/>
              <p:cNvSpPr>
                <a:spLocks/>
              </p:cNvSpPr>
              <p:nvPr userDrawn="1"/>
            </p:nvSpPr>
            <p:spPr bwMode="auto">
              <a:xfrm>
                <a:off x="3632" y="3743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6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6"/>
                  </a:cxn>
                  <a:cxn ang="0">
                    <a:pos x="0" y="9"/>
                  </a:cxn>
                  <a:cxn ang="0">
                    <a:pos x="2" y="13"/>
                  </a:cxn>
                  <a:cxn ang="0">
                    <a:pos x="4" y="17"/>
                  </a:cxn>
                  <a:cxn ang="0">
                    <a:pos x="4" y="17"/>
                  </a:cxn>
                  <a:cxn ang="0">
                    <a:pos x="6" y="18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3" y="18"/>
                  </a:cxn>
                  <a:cxn ang="0">
                    <a:pos x="17" y="17"/>
                  </a:cxn>
                  <a:cxn ang="0">
                    <a:pos x="17" y="17"/>
                  </a:cxn>
                  <a:cxn ang="0">
                    <a:pos x="18" y="13"/>
                  </a:cxn>
                  <a:cxn ang="0">
                    <a:pos x="18" y="9"/>
                  </a:cxn>
                  <a:cxn ang="0">
                    <a:pos x="18" y="6"/>
                  </a:cxn>
                  <a:cxn ang="0">
                    <a:pos x="17" y="4"/>
                  </a:cxn>
                  <a:cxn ang="0">
                    <a:pos x="17" y="4"/>
                  </a:cxn>
                  <a:cxn ang="0">
                    <a:pos x="13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2" y="13"/>
                    </a:lnTo>
                    <a:lnTo>
                      <a:pt x="4" y="17"/>
                    </a:lnTo>
                    <a:lnTo>
                      <a:pt x="4" y="17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8"/>
                    </a:lnTo>
                    <a:lnTo>
                      <a:pt x="17" y="17"/>
                    </a:lnTo>
                    <a:lnTo>
                      <a:pt x="17" y="17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7" y="4"/>
                    </a:lnTo>
                    <a:lnTo>
                      <a:pt x="17" y="4"/>
                    </a:lnTo>
                    <a:lnTo>
                      <a:pt x="13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72" name="Freeform 283"/>
              <p:cNvSpPr>
                <a:spLocks/>
              </p:cNvSpPr>
              <p:nvPr userDrawn="1"/>
            </p:nvSpPr>
            <p:spPr bwMode="auto">
              <a:xfrm>
                <a:off x="3632" y="3743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6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6"/>
                  </a:cxn>
                  <a:cxn ang="0">
                    <a:pos x="0" y="9"/>
                  </a:cxn>
                  <a:cxn ang="0">
                    <a:pos x="2" y="13"/>
                  </a:cxn>
                  <a:cxn ang="0">
                    <a:pos x="4" y="17"/>
                  </a:cxn>
                  <a:cxn ang="0">
                    <a:pos x="4" y="17"/>
                  </a:cxn>
                  <a:cxn ang="0">
                    <a:pos x="6" y="18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3" y="18"/>
                  </a:cxn>
                  <a:cxn ang="0">
                    <a:pos x="17" y="17"/>
                  </a:cxn>
                  <a:cxn ang="0">
                    <a:pos x="17" y="17"/>
                  </a:cxn>
                  <a:cxn ang="0">
                    <a:pos x="18" y="13"/>
                  </a:cxn>
                  <a:cxn ang="0">
                    <a:pos x="18" y="9"/>
                  </a:cxn>
                  <a:cxn ang="0">
                    <a:pos x="18" y="6"/>
                  </a:cxn>
                  <a:cxn ang="0">
                    <a:pos x="17" y="4"/>
                  </a:cxn>
                  <a:cxn ang="0">
                    <a:pos x="17" y="4"/>
                  </a:cxn>
                  <a:cxn ang="0">
                    <a:pos x="13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2" y="13"/>
                    </a:lnTo>
                    <a:lnTo>
                      <a:pt x="4" y="17"/>
                    </a:lnTo>
                    <a:lnTo>
                      <a:pt x="4" y="17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8"/>
                    </a:lnTo>
                    <a:lnTo>
                      <a:pt x="17" y="17"/>
                    </a:lnTo>
                    <a:lnTo>
                      <a:pt x="17" y="17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7" y="4"/>
                    </a:lnTo>
                    <a:lnTo>
                      <a:pt x="17" y="4"/>
                    </a:lnTo>
                    <a:lnTo>
                      <a:pt x="13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73" name="Freeform 284"/>
              <p:cNvSpPr>
                <a:spLocks/>
              </p:cNvSpPr>
              <p:nvPr userDrawn="1"/>
            </p:nvSpPr>
            <p:spPr bwMode="auto">
              <a:xfrm>
                <a:off x="3692" y="3683"/>
                <a:ext cx="18" cy="18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6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8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18" y="12"/>
                  </a:cxn>
                  <a:cxn ang="0">
                    <a:pos x="18" y="10"/>
                  </a:cxn>
                  <a:cxn ang="0">
                    <a:pos x="18" y="6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2" y="2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6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8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8" y="12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2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74" name="Freeform 285"/>
              <p:cNvSpPr>
                <a:spLocks/>
              </p:cNvSpPr>
              <p:nvPr userDrawn="1"/>
            </p:nvSpPr>
            <p:spPr bwMode="auto">
              <a:xfrm>
                <a:off x="3692" y="3683"/>
                <a:ext cx="18" cy="18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6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8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18" y="12"/>
                  </a:cxn>
                  <a:cxn ang="0">
                    <a:pos x="18" y="10"/>
                  </a:cxn>
                  <a:cxn ang="0">
                    <a:pos x="18" y="6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2" y="2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6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8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8" y="12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2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75" name="Freeform 286"/>
              <p:cNvSpPr>
                <a:spLocks/>
              </p:cNvSpPr>
              <p:nvPr userDrawn="1"/>
            </p:nvSpPr>
            <p:spPr bwMode="auto">
              <a:xfrm>
                <a:off x="3164" y="3749"/>
                <a:ext cx="36" cy="36"/>
              </a:xfrm>
              <a:custGeom>
                <a:avLst/>
                <a:gdLst/>
                <a:ahLst/>
                <a:cxnLst>
                  <a:cxn ang="0">
                    <a:pos x="17" y="0"/>
                  </a:cxn>
                  <a:cxn ang="0">
                    <a:pos x="17" y="0"/>
                  </a:cxn>
                  <a:cxn ang="0">
                    <a:pos x="12" y="2"/>
                  </a:cxn>
                  <a:cxn ang="0">
                    <a:pos x="8" y="4"/>
                  </a:cxn>
                  <a:cxn ang="0">
                    <a:pos x="2" y="9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0" y="20"/>
                  </a:cxn>
                  <a:cxn ang="0">
                    <a:pos x="2" y="27"/>
                  </a:cxn>
                  <a:cxn ang="0">
                    <a:pos x="6" y="33"/>
                  </a:cxn>
                  <a:cxn ang="0">
                    <a:pos x="14" y="36"/>
                  </a:cxn>
                  <a:cxn ang="0">
                    <a:pos x="14" y="36"/>
                  </a:cxn>
                  <a:cxn ang="0">
                    <a:pos x="17" y="36"/>
                  </a:cxn>
                  <a:cxn ang="0">
                    <a:pos x="17" y="36"/>
                  </a:cxn>
                  <a:cxn ang="0">
                    <a:pos x="25" y="35"/>
                  </a:cxn>
                  <a:cxn ang="0">
                    <a:pos x="29" y="33"/>
                  </a:cxn>
                  <a:cxn ang="0">
                    <a:pos x="32" y="29"/>
                  </a:cxn>
                  <a:cxn ang="0">
                    <a:pos x="36" y="24"/>
                  </a:cxn>
                  <a:cxn ang="0">
                    <a:pos x="36" y="24"/>
                  </a:cxn>
                  <a:cxn ang="0">
                    <a:pos x="36" y="17"/>
                  </a:cxn>
                  <a:cxn ang="0">
                    <a:pos x="34" y="9"/>
                  </a:cxn>
                  <a:cxn ang="0">
                    <a:pos x="29" y="4"/>
                  </a:cxn>
                  <a:cxn ang="0">
                    <a:pos x="23" y="2"/>
                  </a:cxn>
                  <a:cxn ang="0">
                    <a:pos x="23" y="2"/>
                  </a:cxn>
                  <a:cxn ang="0">
                    <a:pos x="17" y="0"/>
                  </a:cxn>
                </a:cxnLst>
                <a:rect l="0" t="0" r="r" b="b"/>
                <a:pathLst>
                  <a:path w="36" h="36">
                    <a:moveTo>
                      <a:pt x="17" y="0"/>
                    </a:moveTo>
                    <a:lnTo>
                      <a:pt x="17" y="0"/>
                    </a:lnTo>
                    <a:lnTo>
                      <a:pt x="12" y="2"/>
                    </a:lnTo>
                    <a:lnTo>
                      <a:pt x="8" y="4"/>
                    </a:lnTo>
                    <a:lnTo>
                      <a:pt x="2" y="9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0" y="20"/>
                    </a:lnTo>
                    <a:lnTo>
                      <a:pt x="2" y="27"/>
                    </a:lnTo>
                    <a:lnTo>
                      <a:pt x="6" y="33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7" y="36"/>
                    </a:lnTo>
                    <a:lnTo>
                      <a:pt x="17" y="36"/>
                    </a:lnTo>
                    <a:lnTo>
                      <a:pt x="25" y="35"/>
                    </a:lnTo>
                    <a:lnTo>
                      <a:pt x="29" y="33"/>
                    </a:lnTo>
                    <a:lnTo>
                      <a:pt x="32" y="29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17"/>
                    </a:lnTo>
                    <a:lnTo>
                      <a:pt x="34" y="9"/>
                    </a:lnTo>
                    <a:lnTo>
                      <a:pt x="29" y="4"/>
                    </a:lnTo>
                    <a:lnTo>
                      <a:pt x="23" y="2"/>
                    </a:lnTo>
                    <a:lnTo>
                      <a:pt x="23" y="2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76" name="Freeform 287"/>
              <p:cNvSpPr>
                <a:spLocks/>
              </p:cNvSpPr>
              <p:nvPr userDrawn="1"/>
            </p:nvSpPr>
            <p:spPr bwMode="auto">
              <a:xfrm>
                <a:off x="3164" y="3749"/>
                <a:ext cx="36" cy="36"/>
              </a:xfrm>
              <a:custGeom>
                <a:avLst/>
                <a:gdLst/>
                <a:ahLst/>
                <a:cxnLst>
                  <a:cxn ang="0">
                    <a:pos x="17" y="0"/>
                  </a:cxn>
                  <a:cxn ang="0">
                    <a:pos x="17" y="0"/>
                  </a:cxn>
                  <a:cxn ang="0">
                    <a:pos x="12" y="2"/>
                  </a:cxn>
                  <a:cxn ang="0">
                    <a:pos x="8" y="4"/>
                  </a:cxn>
                  <a:cxn ang="0">
                    <a:pos x="2" y="9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0" y="20"/>
                  </a:cxn>
                  <a:cxn ang="0">
                    <a:pos x="2" y="27"/>
                  </a:cxn>
                  <a:cxn ang="0">
                    <a:pos x="6" y="33"/>
                  </a:cxn>
                  <a:cxn ang="0">
                    <a:pos x="14" y="36"/>
                  </a:cxn>
                  <a:cxn ang="0">
                    <a:pos x="14" y="36"/>
                  </a:cxn>
                  <a:cxn ang="0">
                    <a:pos x="17" y="36"/>
                  </a:cxn>
                  <a:cxn ang="0">
                    <a:pos x="17" y="36"/>
                  </a:cxn>
                  <a:cxn ang="0">
                    <a:pos x="25" y="35"/>
                  </a:cxn>
                  <a:cxn ang="0">
                    <a:pos x="29" y="33"/>
                  </a:cxn>
                  <a:cxn ang="0">
                    <a:pos x="32" y="29"/>
                  </a:cxn>
                  <a:cxn ang="0">
                    <a:pos x="36" y="24"/>
                  </a:cxn>
                  <a:cxn ang="0">
                    <a:pos x="36" y="24"/>
                  </a:cxn>
                  <a:cxn ang="0">
                    <a:pos x="36" y="17"/>
                  </a:cxn>
                  <a:cxn ang="0">
                    <a:pos x="34" y="9"/>
                  </a:cxn>
                  <a:cxn ang="0">
                    <a:pos x="29" y="4"/>
                  </a:cxn>
                  <a:cxn ang="0">
                    <a:pos x="23" y="2"/>
                  </a:cxn>
                  <a:cxn ang="0">
                    <a:pos x="23" y="2"/>
                  </a:cxn>
                  <a:cxn ang="0">
                    <a:pos x="17" y="0"/>
                  </a:cxn>
                </a:cxnLst>
                <a:rect l="0" t="0" r="r" b="b"/>
                <a:pathLst>
                  <a:path w="36" h="36">
                    <a:moveTo>
                      <a:pt x="17" y="0"/>
                    </a:moveTo>
                    <a:lnTo>
                      <a:pt x="17" y="0"/>
                    </a:lnTo>
                    <a:lnTo>
                      <a:pt x="12" y="2"/>
                    </a:lnTo>
                    <a:lnTo>
                      <a:pt x="8" y="4"/>
                    </a:lnTo>
                    <a:lnTo>
                      <a:pt x="2" y="9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0" y="20"/>
                    </a:lnTo>
                    <a:lnTo>
                      <a:pt x="2" y="27"/>
                    </a:lnTo>
                    <a:lnTo>
                      <a:pt x="6" y="33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7" y="36"/>
                    </a:lnTo>
                    <a:lnTo>
                      <a:pt x="17" y="36"/>
                    </a:lnTo>
                    <a:lnTo>
                      <a:pt x="25" y="35"/>
                    </a:lnTo>
                    <a:lnTo>
                      <a:pt x="29" y="33"/>
                    </a:lnTo>
                    <a:lnTo>
                      <a:pt x="32" y="29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17"/>
                    </a:lnTo>
                    <a:lnTo>
                      <a:pt x="34" y="9"/>
                    </a:lnTo>
                    <a:lnTo>
                      <a:pt x="29" y="4"/>
                    </a:lnTo>
                    <a:lnTo>
                      <a:pt x="23" y="2"/>
                    </a:lnTo>
                    <a:lnTo>
                      <a:pt x="23" y="2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77" name="Freeform 288"/>
              <p:cNvSpPr>
                <a:spLocks/>
              </p:cNvSpPr>
              <p:nvPr userDrawn="1"/>
            </p:nvSpPr>
            <p:spPr bwMode="auto">
              <a:xfrm>
                <a:off x="3098" y="3719"/>
                <a:ext cx="36" cy="36"/>
              </a:xfrm>
              <a:custGeom>
                <a:avLst/>
                <a:gdLst/>
                <a:ahLst/>
                <a:cxnLst>
                  <a:cxn ang="0">
                    <a:pos x="17" y="0"/>
                  </a:cxn>
                  <a:cxn ang="0">
                    <a:pos x="17" y="0"/>
                  </a:cxn>
                  <a:cxn ang="0">
                    <a:pos x="13" y="0"/>
                  </a:cxn>
                  <a:cxn ang="0">
                    <a:pos x="6" y="5"/>
                  </a:cxn>
                  <a:cxn ang="0">
                    <a:pos x="2" y="9"/>
                  </a:cxn>
                  <a:cxn ang="0">
                    <a:pos x="0" y="13"/>
                  </a:cxn>
                  <a:cxn ang="0">
                    <a:pos x="0" y="13"/>
                  </a:cxn>
                  <a:cxn ang="0">
                    <a:pos x="0" y="21"/>
                  </a:cxn>
                  <a:cxn ang="0">
                    <a:pos x="2" y="28"/>
                  </a:cxn>
                  <a:cxn ang="0">
                    <a:pos x="6" y="34"/>
                  </a:cxn>
                  <a:cxn ang="0">
                    <a:pos x="13" y="36"/>
                  </a:cxn>
                  <a:cxn ang="0">
                    <a:pos x="13" y="36"/>
                  </a:cxn>
                  <a:cxn ang="0">
                    <a:pos x="17" y="36"/>
                  </a:cxn>
                  <a:cxn ang="0">
                    <a:pos x="17" y="36"/>
                  </a:cxn>
                  <a:cxn ang="0">
                    <a:pos x="24" y="36"/>
                  </a:cxn>
                  <a:cxn ang="0">
                    <a:pos x="30" y="34"/>
                  </a:cxn>
                  <a:cxn ang="0">
                    <a:pos x="34" y="30"/>
                  </a:cxn>
                  <a:cxn ang="0">
                    <a:pos x="36" y="24"/>
                  </a:cxn>
                  <a:cxn ang="0">
                    <a:pos x="36" y="24"/>
                  </a:cxn>
                  <a:cxn ang="0">
                    <a:pos x="36" y="17"/>
                  </a:cxn>
                  <a:cxn ang="0">
                    <a:pos x="34" y="9"/>
                  </a:cxn>
                  <a:cxn ang="0">
                    <a:pos x="30" y="5"/>
                  </a:cxn>
                  <a:cxn ang="0">
                    <a:pos x="24" y="0"/>
                  </a:cxn>
                  <a:cxn ang="0">
                    <a:pos x="24" y="0"/>
                  </a:cxn>
                  <a:cxn ang="0">
                    <a:pos x="17" y="0"/>
                  </a:cxn>
                </a:cxnLst>
                <a:rect l="0" t="0" r="r" b="b"/>
                <a:pathLst>
                  <a:path w="36" h="36">
                    <a:moveTo>
                      <a:pt x="17" y="0"/>
                    </a:moveTo>
                    <a:lnTo>
                      <a:pt x="17" y="0"/>
                    </a:lnTo>
                    <a:lnTo>
                      <a:pt x="13" y="0"/>
                    </a:lnTo>
                    <a:lnTo>
                      <a:pt x="6" y="5"/>
                    </a:lnTo>
                    <a:lnTo>
                      <a:pt x="2" y="9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21"/>
                    </a:lnTo>
                    <a:lnTo>
                      <a:pt x="2" y="28"/>
                    </a:lnTo>
                    <a:lnTo>
                      <a:pt x="6" y="34"/>
                    </a:lnTo>
                    <a:lnTo>
                      <a:pt x="13" y="36"/>
                    </a:lnTo>
                    <a:lnTo>
                      <a:pt x="13" y="36"/>
                    </a:lnTo>
                    <a:lnTo>
                      <a:pt x="17" y="36"/>
                    </a:lnTo>
                    <a:lnTo>
                      <a:pt x="17" y="36"/>
                    </a:lnTo>
                    <a:lnTo>
                      <a:pt x="24" y="36"/>
                    </a:lnTo>
                    <a:lnTo>
                      <a:pt x="30" y="34"/>
                    </a:lnTo>
                    <a:lnTo>
                      <a:pt x="34" y="30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17"/>
                    </a:lnTo>
                    <a:lnTo>
                      <a:pt x="34" y="9"/>
                    </a:lnTo>
                    <a:lnTo>
                      <a:pt x="30" y="5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78" name="Freeform 289"/>
              <p:cNvSpPr>
                <a:spLocks/>
              </p:cNvSpPr>
              <p:nvPr userDrawn="1"/>
            </p:nvSpPr>
            <p:spPr bwMode="auto">
              <a:xfrm>
                <a:off x="3098" y="3719"/>
                <a:ext cx="36" cy="36"/>
              </a:xfrm>
              <a:custGeom>
                <a:avLst/>
                <a:gdLst/>
                <a:ahLst/>
                <a:cxnLst>
                  <a:cxn ang="0">
                    <a:pos x="17" y="0"/>
                  </a:cxn>
                  <a:cxn ang="0">
                    <a:pos x="17" y="0"/>
                  </a:cxn>
                  <a:cxn ang="0">
                    <a:pos x="13" y="0"/>
                  </a:cxn>
                  <a:cxn ang="0">
                    <a:pos x="6" y="5"/>
                  </a:cxn>
                  <a:cxn ang="0">
                    <a:pos x="2" y="9"/>
                  </a:cxn>
                  <a:cxn ang="0">
                    <a:pos x="0" y="13"/>
                  </a:cxn>
                  <a:cxn ang="0">
                    <a:pos x="0" y="13"/>
                  </a:cxn>
                  <a:cxn ang="0">
                    <a:pos x="0" y="21"/>
                  </a:cxn>
                  <a:cxn ang="0">
                    <a:pos x="2" y="28"/>
                  </a:cxn>
                  <a:cxn ang="0">
                    <a:pos x="6" y="34"/>
                  </a:cxn>
                  <a:cxn ang="0">
                    <a:pos x="13" y="36"/>
                  </a:cxn>
                  <a:cxn ang="0">
                    <a:pos x="13" y="36"/>
                  </a:cxn>
                  <a:cxn ang="0">
                    <a:pos x="17" y="36"/>
                  </a:cxn>
                  <a:cxn ang="0">
                    <a:pos x="17" y="36"/>
                  </a:cxn>
                  <a:cxn ang="0">
                    <a:pos x="24" y="36"/>
                  </a:cxn>
                  <a:cxn ang="0">
                    <a:pos x="30" y="34"/>
                  </a:cxn>
                  <a:cxn ang="0">
                    <a:pos x="34" y="30"/>
                  </a:cxn>
                  <a:cxn ang="0">
                    <a:pos x="36" y="24"/>
                  </a:cxn>
                  <a:cxn ang="0">
                    <a:pos x="36" y="24"/>
                  </a:cxn>
                  <a:cxn ang="0">
                    <a:pos x="36" y="17"/>
                  </a:cxn>
                  <a:cxn ang="0">
                    <a:pos x="34" y="9"/>
                  </a:cxn>
                  <a:cxn ang="0">
                    <a:pos x="30" y="5"/>
                  </a:cxn>
                  <a:cxn ang="0">
                    <a:pos x="24" y="0"/>
                  </a:cxn>
                  <a:cxn ang="0">
                    <a:pos x="24" y="0"/>
                  </a:cxn>
                  <a:cxn ang="0">
                    <a:pos x="17" y="0"/>
                  </a:cxn>
                </a:cxnLst>
                <a:rect l="0" t="0" r="r" b="b"/>
                <a:pathLst>
                  <a:path w="36" h="36">
                    <a:moveTo>
                      <a:pt x="17" y="0"/>
                    </a:moveTo>
                    <a:lnTo>
                      <a:pt x="17" y="0"/>
                    </a:lnTo>
                    <a:lnTo>
                      <a:pt x="13" y="0"/>
                    </a:lnTo>
                    <a:lnTo>
                      <a:pt x="6" y="5"/>
                    </a:lnTo>
                    <a:lnTo>
                      <a:pt x="2" y="9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21"/>
                    </a:lnTo>
                    <a:lnTo>
                      <a:pt x="2" y="28"/>
                    </a:lnTo>
                    <a:lnTo>
                      <a:pt x="6" y="34"/>
                    </a:lnTo>
                    <a:lnTo>
                      <a:pt x="13" y="36"/>
                    </a:lnTo>
                    <a:lnTo>
                      <a:pt x="13" y="36"/>
                    </a:lnTo>
                    <a:lnTo>
                      <a:pt x="17" y="36"/>
                    </a:lnTo>
                    <a:lnTo>
                      <a:pt x="17" y="36"/>
                    </a:lnTo>
                    <a:lnTo>
                      <a:pt x="24" y="36"/>
                    </a:lnTo>
                    <a:lnTo>
                      <a:pt x="30" y="34"/>
                    </a:lnTo>
                    <a:lnTo>
                      <a:pt x="34" y="30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17"/>
                    </a:lnTo>
                    <a:lnTo>
                      <a:pt x="34" y="9"/>
                    </a:lnTo>
                    <a:lnTo>
                      <a:pt x="30" y="5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79" name="Freeform 290"/>
              <p:cNvSpPr>
                <a:spLocks/>
              </p:cNvSpPr>
              <p:nvPr userDrawn="1"/>
            </p:nvSpPr>
            <p:spPr bwMode="auto">
              <a:xfrm>
                <a:off x="3044" y="3677"/>
                <a:ext cx="30" cy="36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0"/>
                  </a:cxn>
                  <a:cxn ang="0">
                    <a:pos x="6" y="5"/>
                  </a:cxn>
                  <a:cxn ang="0">
                    <a:pos x="2" y="7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20"/>
                  </a:cxn>
                  <a:cxn ang="0">
                    <a:pos x="2" y="27"/>
                  </a:cxn>
                  <a:cxn ang="0">
                    <a:pos x="6" y="32"/>
                  </a:cxn>
                  <a:cxn ang="0">
                    <a:pos x="12" y="34"/>
                  </a:cxn>
                  <a:cxn ang="0">
                    <a:pos x="12" y="34"/>
                  </a:cxn>
                  <a:cxn ang="0">
                    <a:pos x="16" y="36"/>
                  </a:cxn>
                  <a:cxn ang="0">
                    <a:pos x="16" y="36"/>
                  </a:cxn>
                  <a:cxn ang="0">
                    <a:pos x="20" y="34"/>
                  </a:cxn>
                  <a:cxn ang="0">
                    <a:pos x="24" y="32"/>
                  </a:cxn>
                  <a:cxn ang="0">
                    <a:pos x="28" y="27"/>
                  </a:cxn>
                  <a:cxn ang="0">
                    <a:pos x="30" y="23"/>
                  </a:cxn>
                  <a:cxn ang="0">
                    <a:pos x="30" y="23"/>
                  </a:cxn>
                  <a:cxn ang="0">
                    <a:pos x="30" y="16"/>
                  </a:cxn>
                  <a:cxn ang="0">
                    <a:pos x="28" y="9"/>
                  </a:cxn>
                  <a:cxn ang="0">
                    <a:pos x="24" y="5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6" y="0"/>
                  </a:cxn>
                </a:cxnLst>
                <a:rect l="0" t="0" r="r" b="b"/>
                <a:pathLst>
                  <a:path w="30" h="36">
                    <a:moveTo>
                      <a:pt x="16" y="0"/>
                    </a:moveTo>
                    <a:lnTo>
                      <a:pt x="16" y="0"/>
                    </a:lnTo>
                    <a:lnTo>
                      <a:pt x="10" y="0"/>
                    </a:lnTo>
                    <a:lnTo>
                      <a:pt x="6" y="5"/>
                    </a:lnTo>
                    <a:lnTo>
                      <a:pt x="2" y="7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20"/>
                    </a:lnTo>
                    <a:lnTo>
                      <a:pt x="2" y="27"/>
                    </a:lnTo>
                    <a:lnTo>
                      <a:pt x="6" y="32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20" y="34"/>
                    </a:lnTo>
                    <a:lnTo>
                      <a:pt x="24" y="32"/>
                    </a:lnTo>
                    <a:lnTo>
                      <a:pt x="28" y="27"/>
                    </a:lnTo>
                    <a:lnTo>
                      <a:pt x="30" y="23"/>
                    </a:lnTo>
                    <a:lnTo>
                      <a:pt x="30" y="23"/>
                    </a:lnTo>
                    <a:lnTo>
                      <a:pt x="30" y="16"/>
                    </a:lnTo>
                    <a:lnTo>
                      <a:pt x="28" y="9"/>
                    </a:lnTo>
                    <a:lnTo>
                      <a:pt x="24" y="5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80" name="Freeform 291"/>
              <p:cNvSpPr>
                <a:spLocks/>
              </p:cNvSpPr>
              <p:nvPr userDrawn="1"/>
            </p:nvSpPr>
            <p:spPr bwMode="auto">
              <a:xfrm>
                <a:off x="3044" y="3677"/>
                <a:ext cx="30" cy="36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0"/>
                  </a:cxn>
                  <a:cxn ang="0">
                    <a:pos x="6" y="5"/>
                  </a:cxn>
                  <a:cxn ang="0">
                    <a:pos x="2" y="7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20"/>
                  </a:cxn>
                  <a:cxn ang="0">
                    <a:pos x="2" y="27"/>
                  </a:cxn>
                  <a:cxn ang="0">
                    <a:pos x="6" y="32"/>
                  </a:cxn>
                  <a:cxn ang="0">
                    <a:pos x="12" y="34"/>
                  </a:cxn>
                  <a:cxn ang="0">
                    <a:pos x="12" y="34"/>
                  </a:cxn>
                  <a:cxn ang="0">
                    <a:pos x="16" y="36"/>
                  </a:cxn>
                  <a:cxn ang="0">
                    <a:pos x="16" y="36"/>
                  </a:cxn>
                  <a:cxn ang="0">
                    <a:pos x="20" y="34"/>
                  </a:cxn>
                  <a:cxn ang="0">
                    <a:pos x="24" y="32"/>
                  </a:cxn>
                  <a:cxn ang="0">
                    <a:pos x="28" y="27"/>
                  </a:cxn>
                  <a:cxn ang="0">
                    <a:pos x="30" y="23"/>
                  </a:cxn>
                  <a:cxn ang="0">
                    <a:pos x="30" y="23"/>
                  </a:cxn>
                  <a:cxn ang="0">
                    <a:pos x="30" y="16"/>
                  </a:cxn>
                  <a:cxn ang="0">
                    <a:pos x="28" y="9"/>
                  </a:cxn>
                  <a:cxn ang="0">
                    <a:pos x="24" y="5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6" y="0"/>
                  </a:cxn>
                </a:cxnLst>
                <a:rect l="0" t="0" r="r" b="b"/>
                <a:pathLst>
                  <a:path w="30" h="36">
                    <a:moveTo>
                      <a:pt x="16" y="0"/>
                    </a:moveTo>
                    <a:lnTo>
                      <a:pt x="16" y="0"/>
                    </a:lnTo>
                    <a:lnTo>
                      <a:pt x="10" y="0"/>
                    </a:lnTo>
                    <a:lnTo>
                      <a:pt x="6" y="5"/>
                    </a:lnTo>
                    <a:lnTo>
                      <a:pt x="2" y="7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20"/>
                    </a:lnTo>
                    <a:lnTo>
                      <a:pt x="2" y="27"/>
                    </a:lnTo>
                    <a:lnTo>
                      <a:pt x="6" y="32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20" y="34"/>
                    </a:lnTo>
                    <a:lnTo>
                      <a:pt x="24" y="32"/>
                    </a:lnTo>
                    <a:lnTo>
                      <a:pt x="28" y="27"/>
                    </a:lnTo>
                    <a:lnTo>
                      <a:pt x="30" y="23"/>
                    </a:lnTo>
                    <a:lnTo>
                      <a:pt x="30" y="23"/>
                    </a:lnTo>
                    <a:lnTo>
                      <a:pt x="30" y="16"/>
                    </a:lnTo>
                    <a:lnTo>
                      <a:pt x="28" y="9"/>
                    </a:lnTo>
                    <a:lnTo>
                      <a:pt x="24" y="5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81" name="Freeform 292"/>
              <p:cNvSpPr>
                <a:spLocks/>
              </p:cNvSpPr>
              <p:nvPr userDrawn="1"/>
            </p:nvSpPr>
            <p:spPr bwMode="auto">
              <a:xfrm>
                <a:off x="2990" y="3629"/>
                <a:ext cx="30" cy="30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9" y="0"/>
                  </a:cxn>
                  <a:cxn ang="0">
                    <a:pos x="5" y="2"/>
                  </a:cxn>
                  <a:cxn ang="0">
                    <a:pos x="2" y="7"/>
                  </a:cxn>
                  <a:cxn ang="0">
                    <a:pos x="0" y="11"/>
                  </a:cxn>
                  <a:cxn ang="0">
                    <a:pos x="0" y="11"/>
                  </a:cxn>
                  <a:cxn ang="0">
                    <a:pos x="0" y="17"/>
                  </a:cxn>
                  <a:cxn ang="0">
                    <a:pos x="2" y="24"/>
                  </a:cxn>
                  <a:cxn ang="0">
                    <a:pos x="5" y="28"/>
                  </a:cxn>
                  <a:cxn ang="0">
                    <a:pos x="11" y="30"/>
                  </a:cxn>
                  <a:cxn ang="0">
                    <a:pos x="11" y="30"/>
                  </a:cxn>
                  <a:cxn ang="0">
                    <a:pos x="15" y="30"/>
                  </a:cxn>
                  <a:cxn ang="0">
                    <a:pos x="15" y="30"/>
                  </a:cxn>
                  <a:cxn ang="0">
                    <a:pos x="20" y="30"/>
                  </a:cxn>
                  <a:cxn ang="0">
                    <a:pos x="24" y="28"/>
                  </a:cxn>
                  <a:cxn ang="0">
                    <a:pos x="28" y="24"/>
                  </a:cxn>
                  <a:cxn ang="0">
                    <a:pos x="30" y="20"/>
                  </a:cxn>
                  <a:cxn ang="0">
                    <a:pos x="30" y="20"/>
                  </a:cxn>
                  <a:cxn ang="0">
                    <a:pos x="30" y="13"/>
                  </a:cxn>
                  <a:cxn ang="0">
                    <a:pos x="28" y="7"/>
                  </a:cxn>
                  <a:cxn ang="0">
                    <a:pos x="24" y="2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5" y="0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5" y="0"/>
                    </a:lnTo>
                    <a:lnTo>
                      <a:pt x="9" y="0"/>
                    </a:lnTo>
                    <a:lnTo>
                      <a:pt x="5" y="2"/>
                    </a:lnTo>
                    <a:lnTo>
                      <a:pt x="2" y="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17"/>
                    </a:lnTo>
                    <a:lnTo>
                      <a:pt x="2" y="24"/>
                    </a:lnTo>
                    <a:lnTo>
                      <a:pt x="5" y="28"/>
                    </a:lnTo>
                    <a:lnTo>
                      <a:pt x="11" y="30"/>
                    </a:lnTo>
                    <a:lnTo>
                      <a:pt x="11" y="30"/>
                    </a:lnTo>
                    <a:lnTo>
                      <a:pt x="15" y="30"/>
                    </a:lnTo>
                    <a:lnTo>
                      <a:pt x="15" y="30"/>
                    </a:lnTo>
                    <a:lnTo>
                      <a:pt x="20" y="30"/>
                    </a:lnTo>
                    <a:lnTo>
                      <a:pt x="24" y="28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13"/>
                    </a:lnTo>
                    <a:lnTo>
                      <a:pt x="28" y="7"/>
                    </a:lnTo>
                    <a:lnTo>
                      <a:pt x="24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82" name="Freeform 293"/>
              <p:cNvSpPr>
                <a:spLocks/>
              </p:cNvSpPr>
              <p:nvPr userDrawn="1"/>
            </p:nvSpPr>
            <p:spPr bwMode="auto">
              <a:xfrm>
                <a:off x="2990" y="3629"/>
                <a:ext cx="30" cy="30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9" y="0"/>
                  </a:cxn>
                  <a:cxn ang="0">
                    <a:pos x="5" y="2"/>
                  </a:cxn>
                  <a:cxn ang="0">
                    <a:pos x="2" y="7"/>
                  </a:cxn>
                  <a:cxn ang="0">
                    <a:pos x="0" y="11"/>
                  </a:cxn>
                  <a:cxn ang="0">
                    <a:pos x="0" y="11"/>
                  </a:cxn>
                  <a:cxn ang="0">
                    <a:pos x="0" y="17"/>
                  </a:cxn>
                  <a:cxn ang="0">
                    <a:pos x="2" y="24"/>
                  </a:cxn>
                  <a:cxn ang="0">
                    <a:pos x="5" y="28"/>
                  </a:cxn>
                  <a:cxn ang="0">
                    <a:pos x="11" y="30"/>
                  </a:cxn>
                  <a:cxn ang="0">
                    <a:pos x="11" y="30"/>
                  </a:cxn>
                  <a:cxn ang="0">
                    <a:pos x="15" y="30"/>
                  </a:cxn>
                  <a:cxn ang="0">
                    <a:pos x="15" y="30"/>
                  </a:cxn>
                  <a:cxn ang="0">
                    <a:pos x="20" y="30"/>
                  </a:cxn>
                  <a:cxn ang="0">
                    <a:pos x="24" y="28"/>
                  </a:cxn>
                  <a:cxn ang="0">
                    <a:pos x="28" y="24"/>
                  </a:cxn>
                  <a:cxn ang="0">
                    <a:pos x="30" y="20"/>
                  </a:cxn>
                  <a:cxn ang="0">
                    <a:pos x="30" y="20"/>
                  </a:cxn>
                  <a:cxn ang="0">
                    <a:pos x="30" y="13"/>
                  </a:cxn>
                  <a:cxn ang="0">
                    <a:pos x="28" y="7"/>
                  </a:cxn>
                  <a:cxn ang="0">
                    <a:pos x="24" y="2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5" y="0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5" y="0"/>
                    </a:lnTo>
                    <a:lnTo>
                      <a:pt x="9" y="0"/>
                    </a:lnTo>
                    <a:lnTo>
                      <a:pt x="5" y="2"/>
                    </a:lnTo>
                    <a:lnTo>
                      <a:pt x="2" y="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17"/>
                    </a:lnTo>
                    <a:lnTo>
                      <a:pt x="2" y="24"/>
                    </a:lnTo>
                    <a:lnTo>
                      <a:pt x="5" y="28"/>
                    </a:lnTo>
                    <a:lnTo>
                      <a:pt x="11" y="30"/>
                    </a:lnTo>
                    <a:lnTo>
                      <a:pt x="11" y="30"/>
                    </a:lnTo>
                    <a:lnTo>
                      <a:pt x="15" y="30"/>
                    </a:lnTo>
                    <a:lnTo>
                      <a:pt x="15" y="30"/>
                    </a:lnTo>
                    <a:lnTo>
                      <a:pt x="20" y="30"/>
                    </a:lnTo>
                    <a:lnTo>
                      <a:pt x="24" y="28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13"/>
                    </a:lnTo>
                    <a:lnTo>
                      <a:pt x="28" y="7"/>
                    </a:lnTo>
                    <a:lnTo>
                      <a:pt x="24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83" name="Freeform 294"/>
              <p:cNvSpPr>
                <a:spLocks/>
              </p:cNvSpPr>
              <p:nvPr userDrawn="1"/>
            </p:nvSpPr>
            <p:spPr bwMode="auto">
              <a:xfrm>
                <a:off x="2954" y="3569"/>
                <a:ext cx="24" cy="3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3"/>
                  </a:cxn>
                  <a:cxn ang="0">
                    <a:pos x="2" y="7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17"/>
                  </a:cxn>
                  <a:cxn ang="0">
                    <a:pos x="0" y="21"/>
                  </a:cxn>
                  <a:cxn ang="0">
                    <a:pos x="4" y="26"/>
                  </a:cxn>
                  <a:cxn ang="0">
                    <a:pos x="8" y="28"/>
                  </a:cxn>
                  <a:cxn ang="0">
                    <a:pos x="8" y="28"/>
                  </a:cxn>
                  <a:cxn ang="0">
                    <a:pos x="12" y="30"/>
                  </a:cxn>
                  <a:cxn ang="0">
                    <a:pos x="12" y="30"/>
                  </a:cxn>
                  <a:cxn ang="0">
                    <a:pos x="16" y="28"/>
                  </a:cxn>
                  <a:cxn ang="0">
                    <a:pos x="20" y="26"/>
                  </a:cxn>
                  <a:cxn ang="0">
                    <a:pos x="22" y="23"/>
                  </a:cxn>
                  <a:cxn ang="0">
                    <a:pos x="24" y="19"/>
                  </a:cxn>
                  <a:cxn ang="0">
                    <a:pos x="24" y="19"/>
                  </a:cxn>
                  <a:cxn ang="0">
                    <a:pos x="24" y="12"/>
                  </a:cxn>
                  <a:cxn ang="0">
                    <a:pos x="22" y="7"/>
                  </a:cxn>
                  <a:cxn ang="0">
                    <a:pos x="20" y="3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30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3"/>
                    </a:lnTo>
                    <a:lnTo>
                      <a:pt x="2" y="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7"/>
                    </a:lnTo>
                    <a:lnTo>
                      <a:pt x="0" y="21"/>
                    </a:lnTo>
                    <a:lnTo>
                      <a:pt x="4" y="26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28"/>
                    </a:lnTo>
                    <a:lnTo>
                      <a:pt x="20" y="26"/>
                    </a:lnTo>
                    <a:lnTo>
                      <a:pt x="22" y="23"/>
                    </a:lnTo>
                    <a:lnTo>
                      <a:pt x="24" y="19"/>
                    </a:lnTo>
                    <a:lnTo>
                      <a:pt x="24" y="19"/>
                    </a:lnTo>
                    <a:lnTo>
                      <a:pt x="24" y="12"/>
                    </a:lnTo>
                    <a:lnTo>
                      <a:pt x="22" y="7"/>
                    </a:lnTo>
                    <a:lnTo>
                      <a:pt x="20" y="3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84" name="Freeform 295"/>
              <p:cNvSpPr>
                <a:spLocks/>
              </p:cNvSpPr>
              <p:nvPr userDrawn="1"/>
            </p:nvSpPr>
            <p:spPr bwMode="auto">
              <a:xfrm>
                <a:off x="2954" y="3569"/>
                <a:ext cx="24" cy="3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3"/>
                  </a:cxn>
                  <a:cxn ang="0">
                    <a:pos x="2" y="7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17"/>
                  </a:cxn>
                  <a:cxn ang="0">
                    <a:pos x="0" y="21"/>
                  </a:cxn>
                  <a:cxn ang="0">
                    <a:pos x="4" y="26"/>
                  </a:cxn>
                  <a:cxn ang="0">
                    <a:pos x="8" y="28"/>
                  </a:cxn>
                  <a:cxn ang="0">
                    <a:pos x="8" y="28"/>
                  </a:cxn>
                  <a:cxn ang="0">
                    <a:pos x="12" y="30"/>
                  </a:cxn>
                  <a:cxn ang="0">
                    <a:pos x="12" y="30"/>
                  </a:cxn>
                  <a:cxn ang="0">
                    <a:pos x="16" y="28"/>
                  </a:cxn>
                  <a:cxn ang="0">
                    <a:pos x="20" y="26"/>
                  </a:cxn>
                  <a:cxn ang="0">
                    <a:pos x="22" y="23"/>
                  </a:cxn>
                  <a:cxn ang="0">
                    <a:pos x="24" y="19"/>
                  </a:cxn>
                  <a:cxn ang="0">
                    <a:pos x="24" y="19"/>
                  </a:cxn>
                  <a:cxn ang="0">
                    <a:pos x="24" y="12"/>
                  </a:cxn>
                  <a:cxn ang="0">
                    <a:pos x="22" y="7"/>
                  </a:cxn>
                  <a:cxn ang="0">
                    <a:pos x="20" y="3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30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3"/>
                    </a:lnTo>
                    <a:lnTo>
                      <a:pt x="2" y="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7"/>
                    </a:lnTo>
                    <a:lnTo>
                      <a:pt x="0" y="21"/>
                    </a:lnTo>
                    <a:lnTo>
                      <a:pt x="4" y="26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28"/>
                    </a:lnTo>
                    <a:lnTo>
                      <a:pt x="20" y="26"/>
                    </a:lnTo>
                    <a:lnTo>
                      <a:pt x="22" y="23"/>
                    </a:lnTo>
                    <a:lnTo>
                      <a:pt x="24" y="19"/>
                    </a:lnTo>
                    <a:lnTo>
                      <a:pt x="24" y="19"/>
                    </a:lnTo>
                    <a:lnTo>
                      <a:pt x="24" y="12"/>
                    </a:lnTo>
                    <a:lnTo>
                      <a:pt x="22" y="7"/>
                    </a:lnTo>
                    <a:lnTo>
                      <a:pt x="20" y="3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85" name="Freeform 296"/>
              <p:cNvSpPr>
                <a:spLocks/>
              </p:cNvSpPr>
              <p:nvPr userDrawn="1"/>
            </p:nvSpPr>
            <p:spPr bwMode="auto">
              <a:xfrm>
                <a:off x="2924" y="3503"/>
                <a:ext cx="18" cy="24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7" y="2"/>
                  </a:cxn>
                  <a:cxn ang="0">
                    <a:pos x="3" y="4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3" y="22"/>
                  </a:cxn>
                  <a:cxn ang="0">
                    <a:pos x="7" y="24"/>
                  </a:cxn>
                  <a:cxn ang="0">
                    <a:pos x="7" y="24"/>
                  </a:cxn>
                  <a:cxn ang="0">
                    <a:pos x="8" y="24"/>
                  </a:cxn>
                  <a:cxn ang="0">
                    <a:pos x="8" y="24"/>
                  </a:cxn>
                  <a:cxn ang="0">
                    <a:pos x="12" y="24"/>
                  </a:cxn>
                  <a:cxn ang="0">
                    <a:pos x="15" y="22"/>
                  </a:cxn>
                  <a:cxn ang="0">
                    <a:pos x="17" y="18"/>
                  </a:cxn>
                  <a:cxn ang="0">
                    <a:pos x="18" y="16"/>
                  </a:cxn>
                  <a:cxn ang="0">
                    <a:pos x="18" y="16"/>
                  </a:cxn>
                  <a:cxn ang="0">
                    <a:pos x="18" y="10"/>
                  </a:cxn>
                  <a:cxn ang="0">
                    <a:pos x="17" y="6"/>
                  </a:cxn>
                  <a:cxn ang="0">
                    <a:pos x="15" y="4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8" y="0"/>
                  </a:cxn>
                </a:cxnLst>
                <a:rect l="0" t="0" r="r" b="b"/>
                <a:pathLst>
                  <a:path w="18" h="24">
                    <a:moveTo>
                      <a:pt x="8" y="0"/>
                    </a:moveTo>
                    <a:lnTo>
                      <a:pt x="8" y="0"/>
                    </a:lnTo>
                    <a:lnTo>
                      <a:pt x="7" y="2"/>
                    </a:lnTo>
                    <a:lnTo>
                      <a:pt x="3" y="4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3" y="22"/>
                    </a:lnTo>
                    <a:lnTo>
                      <a:pt x="7" y="24"/>
                    </a:lnTo>
                    <a:lnTo>
                      <a:pt x="7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5" y="22"/>
                    </a:lnTo>
                    <a:lnTo>
                      <a:pt x="17" y="18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0"/>
                    </a:lnTo>
                    <a:lnTo>
                      <a:pt x="17" y="6"/>
                    </a:lnTo>
                    <a:lnTo>
                      <a:pt x="15" y="4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86" name="Freeform 297"/>
              <p:cNvSpPr>
                <a:spLocks/>
              </p:cNvSpPr>
              <p:nvPr userDrawn="1"/>
            </p:nvSpPr>
            <p:spPr bwMode="auto">
              <a:xfrm>
                <a:off x="2924" y="3503"/>
                <a:ext cx="18" cy="24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7" y="2"/>
                  </a:cxn>
                  <a:cxn ang="0">
                    <a:pos x="3" y="4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3" y="22"/>
                  </a:cxn>
                  <a:cxn ang="0">
                    <a:pos x="7" y="24"/>
                  </a:cxn>
                  <a:cxn ang="0">
                    <a:pos x="7" y="24"/>
                  </a:cxn>
                  <a:cxn ang="0">
                    <a:pos x="8" y="24"/>
                  </a:cxn>
                  <a:cxn ang="0">
                    <a:pos x="8" y="24"/>
                  </a:cxn>
                  <a:cxn ang="0">
                    <a:pos x="12" y="24"/>
                  </a:cxn>
                  <a:cxn ang="0">
                    <a:pos x="15" y="22"/>
                  </a:cxn>
                  <a:cxn ang="0">
                    <a:pos x="17" y="18"/>
                  </a:cxn>
                  <a:cxn ang="0">
                    <a:pos x="18" y="16"/>
                  </a:cxn>
                  <a:cxn ang="0">
                    <a:pos x="18" y="16"/>
                  </a:cxn>
                  <a:cxn ang="0">
                    <a:pos x="18" y="10"/>
                  </a:cxn>
                  <a:cxn ang="0">
                    <a:pos x="17" y="6"/>
                  </a:cxn>
                  <a:cxn ang="0">
                    <a:pos x="15" y="4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8" y="0"/>
                  </a:cxn>
                </a:cxnLst>
                <a:rect l="0" t="0" r="r" b="b"/>
                <a:pathLst>
                  <a:path w="18" h="24">
                    <a:moveTo>
                      <a:pt x="8" y="0"/>
                    </a:moveTo>
                    <a:lnTo>
                      <a:pt x="8" y="0"/>
                    </a:lnTo>
                    <a:lnTo>
                      <a:pt x="7" y="2"/>
                    </a:lnTo>
                    <a:lnTo>
                      <a:pt x="3" y="4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3" y="22"/>
                    </a:lnTo>
                    <a:lnTo>
                      <a:pt x="7" y="24"/>
                    </a:lnTo>
                    <a:lnTo>
                      <a:pt x="7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5" y="22"/>
                    </a:lnTo>
                    <a:lnTo>
                      <a:pt x="17" y="18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0"/>
                    </a:lnTo>
                    <a:lnTo>
                      <a:pt x="17" y="6"/>
                    </a:lnTo>
                    <a:lnTo>
                      <a:pt x="15" y="4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87" name="Freeform 298"/>
              <p:cNvSpPr>
                <a:spLocks/>
              </p:cNvSpPr>
              <p:nvPr userDrawn="1"/>
            </p:nvSpPr>
            <p:spPr bwMode="auto">
              <a:xfrm>
                <a:off x="2906" y="3437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4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1"/>
                  </a:cxn>
                  <a:cxn ang="0">
                    <a:pos x="2" y="13"/>
                  </a:cxn>
                  <a:cxn ang="0">
                    <a:pos x="4" y="17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5" y="17"/>
                  </a:cxn>
                  <a:cxn ang="0">
                    <a:pos x="18" y="11"/>
                  </a:cxn>
                  <a:cxn ang="0">
                    <a:pos x="18" y="11"/>
                  </a:cxn>
                  <a:cxn ang="0">
                    <a:pos x="18" y="8"/>
                  </a:cxn>
                  <a:cxn ang="0">
                    <a:pos x="17" y="4"/>
                  </a:cxn>
                  <a:cxn ang="0">
                    <a:pos x="15" y="2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4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1"/>
                    </a:lnTo>
                    <a:lnTo>
                      <a:pt x="2" y="13"/>
                    </a:lnTo>
                    <a:lnTo>
                      <a:pt x="4" y="17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5" y="17"/>
                    </a:lnTo>
                    <a:lnTo>
                      <a:pt x="18" y="11"/>
                    </a:lnTo>
                    <a:lnTo>
                      <a:pt x="18" y="11"/>
                    </a:lnTo>
                    <a:lnTo>
                      <a:pt x="18" y="8"/>
                    </a:lnTo>
                    <a:lnTo>
                      <a:pt x="17" y="4"/>
                    </a:lnTo>
                    <a:lnTo>
                      <a:pt x="15" y="2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88" name="Freeform 299"/>
              <p:cNvSpPr>
                <a:spLocks/>
              </p:cNvSpPr>
              <p:nvPr userDrawn="1"/>
            </p:nvSpPr>
            <p:spPr bwMode="auto">
              <a:xfrm>
                <a:off x="2906" y="3437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4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1"/>
                  </a:cxn>
                  <a:cxn ang="0">
                    <a:pos x="2" y="13"/>
                  </a:cxn>
                  <a:cxn ang="0">
                    <a:pos x="4" y="17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5" y="17"/>
                  </a:cxn>
                  <a:cxn ang="0">
                    <a:pos x="18" y="11"/>
                  </a:cxn>
                  <a:cxn ang="0">
                    <a:pos x="18" y="11"/>
                  </a:cxn>
                  <a:cxn ang="0">
                    <a:pos x="18" y="8"/>
                  </a:cxn>
                  <a:cxn ang="0">
                    <a:pos x="17" y="4"/>
                  </a:cxn>
                  <a:cxn ang="0">
                    <a:pos x="15" y="2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4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1"/>
                    </a:lnTo>
                    <a:lnTo>
                      <a:pt x="2" y="13"/>
                    </a:lnTo>
                    <a:lnTo>
                      <a:pt x="4" y="17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5" y="17"/>
                    </a:lnTo>
                    <a:lnTo>
                      <a:pt x="18" y="11"/>
                    </a:lnTo>
                    <a:lnTo>
                      <a:pt x="18" y="11"/>
                    </a:lnTo>
                    <a:lnTo>
                      <a:pt x="18" y="8"/>
                    </a:lnTo>
                    <a:lnTo>
                      <a:pt x="17" y="4"/>
                    </a:lnTo>
                    <a:lnTo>
                      <a:pt x="15" y="2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89" name="Freeform 300"/>
              <p:cNvSpPr>
                <a:spLocks/>
              </p:cNvSpPr>
              <p:nvPr userDrawn="1"/>
            </p:nvSpPr>
            <p:spPr bwMode="auto">
              <a:xfrm>
                <a:off x="2900" y="3365"/>
                <a:ext cx="18" cy="18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6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6" y="16"/>
                  </a:cxn>
                  <a:cxn ang="0">
                    <a:pos x="18" y="12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8" y="4"/>
                  </a:cxn>
                  <a:cxn ang="0">
                    <a:pos x="16" y="2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6" y="16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16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90" name="Freeform 301"/>
              <p:cNvSpPr>
                <a:spLocks/>
              </p:cNvSpPr>
              <p:nvPr userDrawn="1"/>
            </p:nvSpPr>
            <p:spPr bwMode="auto">
              <a:xfrm>
                <a:off x="2900" y="3365"/>
                <a:ext cx="18" cy="18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6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6" y="16"/>
                  </a:cxn>
                  <a:cxn ang="0">
                    <a:pos x="18" y="12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8" y="4"/>
                  </a:cxn>
                  <a:cxn ang="0">
                    <a:pos x="16" y="2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6" y="16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16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91" name="Freeform 302"/>
              <p:cNvSpPr>
                <a:spLocks/>
              </p:cNvSpPr>
              <p:nvPr userDrawn="1"/>
            </p:nvSpPr>
            <p:spPr bwMode="auto">
              <a:xfrm>
                <a:off x="2906" y="3293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2" y="2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0" y="11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7" y="18"/>
                  </a:cxn>
                  <a:cxn ang="0">
                    <a:pos x="7" y="18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6" y="18"/>
                  </a:cxn>
                  <a:cxn ang="0">
                    <a:pos x="18" y="11"/>
                  </a:cxn>
                  <a:cxn ang="0">
                    <a:pos x="18" y="11"/>
                  </a:cxn>
                  <a:cxn ang="0">
                    <a:pos x="18" y="9"/>
                  </a:cxn>
                  <a:cxn ang="0">
                    <a:pos x="18" y="5"/>
                  </a:cxn>
                  <a:cxn ang="0">
                    <a:pos x="16" y="2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2" y="2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0" y="11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7" y="18"/>
                    </a:lnTo>
                    <a:lnTo>
                      <a:pt x="7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6" y="18"/>
                    </a:lnTo>
                    <a:lnTo>
                      <a:pt x="18" y="11"/>
                    </a:lnTo>
                    <a:lnTo>
                      <a:pt x="18" y="11"/>
                    </a:lnTo>
                    <a:lnTo>
                      <a:pt x="18" y="9"/>
                    </a:lnTo>
                    <a:lnTo>
                      <a:pt x="18" y="5"/>
                    </a:lnTo>
                    <a:lnTo>
                      <a:pt x="16" y="2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92" name="Freeform 303"/>
              <p:cNvSpPr>
                <a:spLocks/>
              </p:cNvSpPr>
              <p:nvPr userDrawn="1"/>
            </p:nvSpPr>
            <p:spPr bwMode="auto">
              <a:xfrm>
                <a:off x="2906" y="3293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2" y="2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0" y="11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7" y="18"/>
                  </a:cxn>
                  <a:cxn ang="0">
                    <a:pos x="7" y="18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6" y="18"/>
                  </a:cxn>
                  <a:cxn ang="0">
                    <a:pos x="18" y="11"/>
                  </a:cxn>
                  <a:cxn ang="0">
                    <a:pos x="18" y="11"/>
                  </a:cxn>
                  <a:cxn ang="0">
                    <a:pos x="18" y="9"/>
                  </a:cxn>
                  <a:cxn ang="0">
                    <a:pos x="18" y="5"/>
                  </a:cxn>
                  <a:cxn ang="0">
                    <a:pos x="16" y="2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2" y="2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0" y="11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7" y="18"/>
                    </a:lnTo>
                    <a:lnTo>
                      <a:pt x="7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6" y="18"/>
                    </a:lnTo>
                    <a:lnTo>
                      <a:pt x="18" y="11"/>
                    </a:lnTo>
                    <a:lnTo>
                      <a:pt x="18" y="11"/>
                    </a:lnTo>
                    <a:lnTo>
                      <a:pt x="18" y="9"/>
                    </a:lnTo>
                    <a:lnTo>
                      <a:pt x="18" y="5"/>
                    </a:lnTo>
                    <a:lnTo>
                      <a:pt x="16" y="2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93" name="Freeform 304"/>
              <p:cNvSpPr>
                <a:spLocks/>
              </p:cNvSpPr>
              <p:nvPr userDrawn="1"/>
            </p:nvSpPr>
            <p:spPr bwMode="auto">
              <a:xfrm>
                <a:off x="2924" y="3221"/>
                <a:ext cx="18" cy="18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3" y="2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0" y="14"/>
                  </a:cxn>
                  <a:cxn ang="0">
                    <a:pos x="5" y="18"/>
                  </a:cxn>
                  <a:cxn ang="0">
                    <a:pos x="5" y="18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6" y="16"/>
                  </a:cxn>
                  <a:cxn ang="0">
                    <a:pos x="18" y="11"/>
                  </a:cxn>
                  <a:cxn ang="0">
                    <a:pos x="18" y="11"/>
                  </a:cxn>
                  <a:cxn ang="0">
                    <a:pos x="18" y="5"/>
                  </a:cxn>
                  <a:cxn ang="0">
                    <a:pos x="16" y="2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8" y="0"/>
                  </a:cxn>
                </a:cxnLst>
                <a:rect l="0" t="0" r="r" b="b"/>
                <a:pathLst>
                  <a:path w="18" h="18">
                    <a:moveTo>
                      <a:pt x="8" y="0"/>
                    </a:moveTo>
                    <a:lnTo>
                      <a:pt x="8" y="0"/>
                    </a:lnTo>
                    <a:lnTo>
                      <a:pt x="3" y="2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0" y="14"/>
                    </a:lnTo>
                    <a:lnTo>
                      <a:pt x="5" y="18"/>
                    </a:lnTo>
                    <a:lnTo>
                      <a:pt x="5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6" y="16"/>
                    </a:lnTo>
                    <a:lnTo>
                      <a:pt x="18" y="11"/>
                    </a:lnTo>
                    <a:lnTo>
                      <a:pt x="18" y="11"/>
                    </a:lnTo>
                    <a:lnTo>
                      <a:pt x="18" y="5"/>
                    </a:lnTo>
                    <a:lnTo>
                      <a:pt x="16" y="2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94" name="Freeform 305"/>
              <p:cNvSpPr>
                <a:spLocks/>
              </p:cNvSpPr>
              <p:nvPr userDrawn="1"/>
            </p:nvSpPr>
            <p:spPr bwMode="auto">
              <a:xfrm>
                <a:off x="2924" y="3221"/>
                <a:ext cx="18" cy="18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3" y="2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0" y="14"/>
                  </a:cxn>
                  <a:cxn ang="0">
                    <a:pos x="5" y="18"/>
                  </a:cxn>
                  <a:cxn ang="0">
                    <a:pos x="5" y="18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6" y="16"/>
                  </a:cxn>
                  <a:cxn ang="0">
                    <a:pos x="18" y="11"/>
                  </a:cxn>
                  <a:cxn ang="0">
                    <a:pos x="18" y="11"/>
                  </a:cxn>
                  <a:cxn ang="0">
                    <a:pos x="18" y="5"/>
                  </a:cxn>
                  <a:cxn ang="0">
                    <a:pos x="16" y="2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8" y="0"/>
                  </a:cxn>
                </a:cxnLst>
                <a:rect l="0" t="0" r="r" b="b"/>
                <a:pathLst>
                  <a:path w="18" h="18">
                    <a:moveTo>
                      <a:pt x="8" y="0"/>
                    </a:moveTo>
                    <a:lnTo>
                      <a:pt x="8" y="0"/>
                    </a:lnTo>
                    <a:lnTo>
                      <a:pt x="3" y="2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0" y="14"/>
                    </a:lnTo>
                    <a:lnTo>
                      <a:pt x="5" y="18"/>
                    </a:lnTo>
                    <a:lnTo>
                      <a:pt x="5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6" y="16"/>
                    </a:lnTo>
                    <a:lnTo>
                      <a:pt x="18" y="11"/>
                    </a:lnTo>
                    <a:lnTo>
                      <a:pt x="18" y="11"/>
                    </a:lnTo>
                    <a:lnTo>
                      <a:pt x="18" y="5"/>
                    </a:lnTo>
                    <a:lnTo>
                      <a:pt x="16" y="2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95" name="Freeform 306"/>
              <p:cNvSpPr>
                <a:spLocks/>
              </p:cNvSpPr>
              <p:nvPr userDrawn="1"/>
            </p:nvSpPr>
            <p:spPr bwMode="auto">
              <a:xfrm>
                <a:off x="3236" y="3767"/>
                <a:ext cx="36" cy="36"/>
              </a:xfrm>
              <a:custGeom>
                <a:avLst/>
                <a:gdLst/>
                <a:ahLst/>
                <a:cxnLst>
                  <a:cxn ang="0">
                    <a:pos x="19" y="0"/>
                  </a:cxn>
                  <a:cxn ang="0">
                    <a:pos x="19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4" y="8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21"/>
                  </a:cxn>
                  <a:cxn ang="0">
                    <a:pos x="2" y="27"/>
                  </a:cxn>
                  <a:cxn ang="0">
                    <a:pos x="8" y="32"/>
                  </a:cxn>
                  <a:cxn ang="0">
                    <a:pos x="14" y="36"/>
                  </a:cxn>
                  <a:cxn ang="0">
                    <a:pos x="14" y="36"/>
                  </a:cxn>
                  <a:cxn ang="0">
                    <a:pos x="19" y="36"/>
                  </a:cxn>
                  <a:cxn ang="0">
                    <a:pos x="19" y="36"/>
                  </a:cxn>
                  <a:cxn ang="0">
                    <a:pos x="25" y="36"/>
                  </a:cxn>
                  <a:cxn ang="0">
                    <a:pos x="30" y="32"/>
                  </a:cxn>
                  <a:cxn ang="0">
                    <a:pos x="34" y="29"/>
                  </a:cxn>
                  <a:cxn ang="0">
                    <a:pos x="36" y="23"/>
                  </a:cxn>
                  <a:cxn ang="0">
                    <a:pos x="36" y="23"/>
                  </a:cxn>
                  <a:cxn ang="0">
                    <a:pos x="36" y="15"/>
                  </a:cxn>
                  <a:cxn ang="0">
                    <a:pos x="34" y="10"/>
                  </a:cxn>
                  <a:cxn ang="0">
                    <a:pos x="30" y="4"/>
                  </a:cxn>
                  <a:cxn ang="0">
                    <a:pos x="23" y="0"/>
                  </a:cxn>
                  <a:cxn ang="0">
                    <a:pos x="23" y="0"/>
                  </a:cxn>
                  <a:cxn ang="0">
                    <a:pos x="19" y="0"/>
                  </a:cxn>
                </a:cxnLst>
                <a:rect l="0" t="0" r="r" b="b"/>
                <a:pathLst>
                  <a:path w="36" h="36">
                    <a:moveTo>
                      <a:pt x="19" y="0"/>
                    </a:moveTo>
                    <a:lnTo>
                      <a:pt x="19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4" y="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21"/>
                    </a:lnTo>
                    <a:lnTo>
                      <a:pt x="2" y="27"/>
                    </a:lnTo>
                    <a:lnTo>
                      <a:pt x="8" y="32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9" y="36"/>
                    </a:lnTo>
                    <a:lnTo>
                      <a:pt x="19" y="36"/>
                    </a:lnTo>
                    <a:lnTo>
                      <a:pt x="25" y="36"/>
                    </a:lnTo>
                    <a:lnTo>
                      <a:pt x="30" y="32"/>
                    </a:lnTo>
                    <a:lnTo>
                      <a:pt x="34" y="29"/>
                    </a:lnTo>
                    <a:lnTo>
                      <a:pt x="36" y="23"/>
                    </a:lnTo>
                    <a:lnTo>
                      <a:pt x="36" y="23"/>
                    </a:lnTo>
                    <a:lnTo>
                      <a:pt x="36" y="15"/>
                    </a:lnTo>
                    <a:lnTo>
                      <a:pt x="34" y="10"/>
                    </a:lnTo>
                    <a:lnTo>
                      <a:pt x="30" y="4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1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96" name="Freeform 307"/>
              <p:cNvSpPr>
                <a:spLocks/>
              </p:cNvSpPr>
              <p:nvPr userDrawn="1"/>
            </p:nvSpPr>
            <p:spPr bwMode="auto">
              <a:xfrm>
                <a:off x="3236" y="3767"/>
                <a:ext cx="36" cy="36"/>
              </a:xfrm>
              <a:custGeom>
                <a:avLst/>
                <a:gdLst/>
                <a:ahLst/>
                <a:cxnLst>
                  <a:cxn ang="0">
                    <a:pos x="19" y="0"/>
                  </a:cxn>
                  <a:cxn ang="0">
                    <a:pos x="19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4" y="8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21"/>
                  </a:cxn>
                  <a:cxn ang="0">
                    <a:pos x="2" y="27"/>
                  </a:cxn>
                  <a:cxn ang="0">
                    <a:pos x="8" y="32"/>
                  </a:cxn>
                  <a:cxn ang="0">
                    <a:pos x="14" y="36"/>
                  </a:cxn>
                  <a:cxn ang="0">
                    <a:pos x="14" y="36"/>
                  </a:cxn>
                  <a:cxn ang="0">
                    <a:pos x="19" y="36"/>
                  </a:cxn>
                  <a:cxn ang="0">
                    <a:pos x="19" y="36"/>
                  </a:cxn>
                  <a:cxn ang="0">
                    <a:pos x="25" y="36"/>
                  </a:cxn>
                  <a:cxn ang="0">
                    <a:pos x="30" y="32"/>
                  </a:cxn>
                  <a:cxn ang="0">
                    <a:pos x="34" y="29"/>
                  </a:cxn>
                  <a:cxn ang="0">
                    <a:pos x="36" y="23"/>
                  </a:cxn>
                  <a:cxn ang="0">
                    <a:pos x="36" y="23"/>
                  </a:cxn>
                  <a:cxn ang="0">
                    <a:pos x="36" y="15"/>
                  </a:cxn>
                  <a:cxn ang="0">
                    <a:pos x="34" y="10"/>
                  </a:cxn>
                  <a:cxn ang="0">
                    <a:pos x="30" y="4"/>
                  </a:cxn>
                  <a:cxn ang="0">
                    <a:pos x="23" y="0"/>
                  </a:cxn>
                  <a:cxn ang="0">
                    <a:pos x="23" y="0"/>
                  </a:cxn>
                  <a:cxn ang="0">
                    <a:pos x="19" y="0"/>
                  </a:cxn>
                </a:cxnLst>
                <a:rect l="0" t="0" r="r" b="b"/>
                <a:pathLst>
                  <a:path w="36" h="36">
                    <a:moveTo>
                      <a:pt x="19" y="0"/>
                    </a:moveTo>
                    <a:lnTo>
                      <a:pt x="19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4" y="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21"/>
                    </a:lnTo>
                    <a:lnTo>
                      <a:pt x="2" y="27"/>
                    </a:lnTo>
                    <a:lnTo>
                      <a:pt x="8" y="32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9" y="36"/>
                    </a:lnTo>
                    <a:lnTo>
                      <a:pt x="19" y="36"/>
                    </a:lnTo>
                    <a:lnTo>
                      <a:pt x="25" y="36"/>
                    </a:lnTo>
                    <a:lnTo>
                      <a:pt x="30" y="32"/>
                    </a:lnTo>
                    <a:lnTo>
                      <a:pt x="34" y="29"/>
                    </a:lnTo>
                    <a:lnTo>
                      <a:pt x="36" y="23"/>
                    </a:lnTo>
                    <a:lnTo>
                      <a:pt x="36" y="23"/>
                    </a:lnTo>
                    <a:lnTo>
                      <a:pt x="36" y="15"/>
                    </a:lnTo>
                    <a:lnTo>
                      <a:pt x="34" y="10"/>
                    </a:lnTo>
                    <a:lnTo>
                      <a:pt x="30" y="4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1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97" name="Freeform 308"/>
              <p:cNvSpPr>
                <a:spLocks/>
              </p:cNvSpPr>
              <p:nvPr userDrawn="1"/>
            </p:nvSpPr>
            <p:spPr bwMode="auto">
              <a:xfrm>
                <a:off x="3308" y="3773"/>
                <a:ext cx="36" cy="36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0"/>
                  </a:cxn>
                  <a:cxn ang="0">
                    <a:pos x="8" y="5"/>
                  </a:cxn>
                  <a:cxn ang="0">
                    <a:pos x="4" y="9"/>
                  </a:cxn>
                  <a:cxn ang="0">
                    <a:pos x="2" y="13"/>
                  </a:cxn>
                  <a:cxn ang="0">
                    <a:pos x="2" y="13"/>
                  </a:cxn>
                  <a:cxn ang="0">
                    <a:pos x="0" y="21"/>
                  </a:cxn>
                  <a:cxn ang="0">
                    <a:pos x="2" y="28"/>
                  </a:cxn>
                  <a:cxn ang="0">
                    <a:pos x="8" y="34"/>
                  </a:cxn>
                  <a:cxn ang="0">
                    <a:pos x="14" y="36"/>
                  </a:cxn>
                  <a:cxn ang="0">
                    <a:pos x="14" y="36"/>
                  </a:cxn>
                  <a:cxn ang="0">
                    <a:pos x="18" y="36"/>
                  </a:cxn>
                  <a:cxn ang="0">
                    <a:pos x="18" y="36"/>
                  </a:cxn>
                  <a:cxn ang="0">
                    <a:pos x="24" y="36"/>
                  </a:cxn>
                  <a:cxn ang="0">
                    <a:pos x="28" y="34"/>
                  </a:cxn>
                  <a:cxn ang="0">
                    <a:pos x="32" y="30"/>
                  </a:cxn>
                  <a:cxn ang="0">
                    <a:pos x="34" y="24"/>
                  </a:cxn>
                  <a:cxn ang="0">
                    <a:pos x="34" y="24"/>
                  </a:cxn>
                  <a:cxn ang="0">
                    <a:pos x="36" y="17"/>
                  </a:cxn>
                  <a:cxn ang="0">
                    <a:pos x="34" y="9"/>
                  </a:cxn>
                  <a:cxn ang="0">
                    <a:pos x="28" y="5"/>
                  </a:cxn>
                  <a:cxn ang="0">
                    <a:pos x="22" y="0"/>
                  </a:cxn>
                  <a:cxn ang="0">
                    <a:pos x="22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6">
                    <a:moveTo>
                      <a:pt x="18" y="0"/>
                    </a:moveTo>
                    <a:lnTo>
                      <a:pt x="18" y="0"/>
                    </a:lnTo>
                    <a:lnTo>
                      <a:pt x="12" y="0"/>
                    </a:lnTo>
                    <a:lnTo>
                      <a:pt x="8" y="5"/>
                    </a:lnTo>
                    <a:lnTo>
                      <a:pt x="4" y="9"/>
                    </a:lnTo>
                    <a:lnTo>
                      <a:pt x="2" y="13"/>
                    </a:lnTo>
                    <a:lnTo>
                      <a:pt x="2" y="13"/>
                    </a:lnTo>
                    <a:lnTo>
                      <a:pt x="0" y="21"/>
                    </a:lnTo>
                    <a:lnTo>
                      <a:pt x="2" y="28"/>
                    </a:lnTo>
                    <a:lnTo>
                      <a:pt x="8" y="34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24" y="36"/>
                    </a:lnTo>
                    <a:lnTo>
                      <a:pt x="28" y="34"/>
                    </a:lnTo>
                    <a:lnTo>
                      <a:pt x="32" y="30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6" y="17"/>
                    </a:lnTo>
                    <a:lnTo>
                      <a:pt x="34" y="9"/>
                    </a:lnTo>
                    <a:lnTo>
                      <a:pt x="28" y="5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98" name="Freeform 309"/>
              <p:cNvSpPr>
                <a:spLocks/>
              </p:cNvSpPr>
              <p:nvPr userDrawn="1"/>
            </p:nvSpPr>
            <p:spPr bwMode="auto">
              <a:xfrm>
                <a:off x="3308" y="3773"/>
                <a:ext cx="36" cy="36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0"/>
                  </a:cxn>
                  <a:cxn ang="0">
                    <a:pos x="8" y="5"/>
                  </a:cxn>
                  <a:cxn ang="0">
                    <a:pos x="4" y="9"/>
                  </a:cxn>
                  <a:cxn ang="0">
                    <a:pos x="2" y="13"/>
                  </a:cxn>
                  <a:cxn ang="0">
                    <a:pos x="2" y="13"/>
                  </a:cxn>
                  <a:cxn ang="0">
                    <a:pos x="0" y="21"/>
                  </a:cxn>
                  <a:cxn ang="0">
                    <a:pos x="2" y="28"/>
                  </a:cxn>
                  <a:cxn ang="0">
                    <a:pos x="8" y="34"/>
                  </a:cxn>
                  <a:cxn ang="0">
                    <a:pos x="14" y="36"/>
                  </a:cxn>
                  <a:cxn ang="0">
                    <a:pos x="14" y="36"/>
                  </a:cxn>
                  <a:cxn ang="0">
                    <a:pos x="18" y="36"/>
                  </a:cxn>
                  <a:cxn ang="0">
                    <a:pos x="18" y="36"/>
                  </a:cxn>
                  <a:cxn ang="0">
                    <a:pos x="24" y="36"/>
                  </a:cxn>
                  <a:cxn ang="0">
                    <a:pos x="28" y="34"/>
                  </a:cxn>
                  <a:cxn ang="0">
                    <a:pos x="32" y="30"/>
                  </a:cxn>
                  <a:cxn ang="0">
                    <a:pos x="34" y="24"/>
                  </a:cxn>
                  <a:cxn ang="0">
                    <a:pos x="34" y="24"/>
                  </a:cxn>
                  <a:cxn ang="0">
                    <a:pos x="36" y="17"/>
                  </a:cxn>
                  <a:cxn ang="0">
                    <a:pos x="34" y="9"/>
                  </a:cxn>
                  <a:cxn ang="0">
                    <a:pos x="28" y="5"/>
                  </a:cxn>
                  <a:cxn ang="0">
                    <a:pos x="22" y="0"/>
                  </a:cxn>
                  <a:cxn ang="0">
                    <a:pos x="22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6">
                    <a:moveTo>
                      <a:pt x="18" y="0"/>
                    </a:moveTo>
                    <a:lnTo>
                      <a:pt x="18" y="0"/>
                    </a:lnTo>
                    <a:lnTo>
                      <a:pt x="12" y="0"/>
                    </a:lnTo>
                    <a:lnTo>
                      <a:pt x="8" y="5"/>
                    </a:lnTo>
                    <a:lnTo>
                      <a:pt x="4" y="9"/>
                    </a:lnTo>
                    <a:lnTo>
                      <a:pt x="2" y="13"/>
                    </a:lnTo>
                    <a:lnTo>
                      <a:pt x="2" y="13"/>
                    </a:lnTo>
                    <a:lnTo>
                      <a:pt x="0" y="21"/>
                    </a:lnTo>
                    <a:lnTo>
                      <a:pt x="2" y="28"/>
                    </a:lnTo>
                    <a:lnTo>
                      <a:pt x="8" y="34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24" y="36"/>
                    </a:lnTo>
                    <a:lnTo>
                      <a:pt x="28" y="34"/>
                    </a:lnTo>
                    <a:lnTo>
                      <a:pt x="32" y="30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6" y="17"/>
                    </a:lnTo>
                    <a:lnTo>
                      <a:pt x="34" y="9"/>
                    </a:lnTo>
                    <a:lnTo>
                      <a:pt x="28" y="5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99" name="Freeform 310"/>
              <p:cNvSpPr>
                <a:spLocks/>
              </p:cNvSpPr>
              <p:nvPr userDrawn="1"/>
            </p:nvSpPr>
            <p:spPr bwMode="auto">
              <a:xfrm>
                <a:off x="3386" y="3773"/>
                <a:ext cx="30" cy="3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4" y="28"/>
                  </a:cxn>
                  <a:cxn ang="0">
                    <a:pos x="10" y="30"/>
                  </a:cxn>
                  <a:cxn ang="0">
                    <a:pos x="10" y="30"/>
                  </a:cxn>
                  <a:cxn ang="0">
                    <a:pos x="14" y="30"/>
                  </a:cxn>
                  <a:cxn ang="0">
                    <a:pos x="14" y="30"/>
                  </a:cxn>
                  <a:cxn ang="0">
                    <a:pos x="20" y="30"/>
                  </a:cxn>
                  <a:cxn ang="0">
                    <a:pos x="24" y="28"/>
                  </a:cxn>
                  <a:cxn ang="0">
                    <a:pos x="28" y="24"/>
                  </a:cxn>
                  <a:cxn ang="0">
                    <a:pos x="30" y="20"/>
                  </a:cxn>
                  <a:cxn ang="0">
                    <a:pos x="30" y="20"/>
                  </a:cxn>
                  <a:cxn ang="0">
                    <a:pos x="30" y="12"/>
                  </a:cxn>
                  <a:cxn ang="0">
                    <a:pos x="28" y="8"/>
                  </a:cxn>
                  <a:cxn ang="0">
                    <a:pos x="24" y="2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14" y="0"/>
                  </a:cxn>
                </a:cxnLst>
                <a:rect l="0" t="0" r="r" b="b"/>
                <a:pathLst>
                  <a:path w="30" h="30">
                    <a:moveTo>
                      <a:pt x="14" y="0"/>
                    </a:moveTo>
                    <a:lnTo>
                      <a:pt x="14" y="0"/>
                    </a:lnTo>
                    <a:lnTo>
                      <a:pt x="10" y="0"/>
                    </a:lnTo>
                    <a:lnTo>
                      <a:pt x="6" y="2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4" y="28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20" y="30"/>
                    </a:lnTo>
                    <a:lnTo>
                      <a:pt x="24" y="28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12"/>
                    </a:lnTo>
                    <a:lnTo>
                      <a:pt x="28" y="8"/>
                    </a:lnTo>
                    <a:lnTo>
                      <a:pt x="24" y="2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00" name="Freeform 311"/>
              <p:cNvSpPr>
                <a:spLocks/>
              </p:cNvSpPr>
              <p:nvPr userDrawn="1"/>
            </p:nvSpPr>
            <p:spPr bwMode="auto">
              <a:xfrm>
                <a:off x="3386" y="3773"/>
                <a:ext cx="30" cy="3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4" y="28"/>
                  </a:cxn>
                  <a:cxn ang="0">
                    <a:pos x="10" y="30"/>
                  </a:cxn>
                  <a:cxn ang="0">
                    <a:pos x="10" y="30"/>
                  </a:cxn>
                  <a:cxn ang="0">
                    <a:pos x="14" y="30"/>
                  </a:cxn>
                  <a:cxn ang="0">
                    <a:pos x="14" y="30"/>
                  </a:cxn>
                  <a:cxn ang="0">
                    <a:pos x="20" y="30"/>
                  </a:cxn>
                  <a:cxn ang="0">
                    <a:pos x="24" y="28"/>
                  </a:cxn>
                  <a:cxn ang="0">
                    <a:pos x="28" y="24"/>
                  </a:cxn>
                  <a:cxn ang="0">
                    <a:pos x="30" y="20"/>
                  </a:cxn>
                  <a:cxn ang="0">
                    <a:pos x="30" y="20"/>
                  </a:cxn>
                  <a:cxn ang="0">
                    <a:pos x="30" y="12"/>
                  </a:cxn>
                  <a:cxn ang="0">
                    <a:pos x="28" y="8"/>
                  </a:cxn>
                  <a:cxn ang="0">
                    <a:pos x="24" y="2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14" y="0"/>
                  </a:cxn>
                </a:cxnLst>
                <a:rect l="0" t="0" r="r" b="b"/>
                <a:pathLst>
                  <a:path w="30" h="30">
                    <a:moveTo>
                      <a:pt x="14" y="0"/>
                    </a:moveTo>
                    <a:lnTo>
                      <a:pt x="14" y="0"/>
                    </a:lnTo>
                    <a:lnTo>
                      <a:pt x="10" y="0"/>
                    </a:lnTo>
                    <a:lnTo>
                      <a:pt x="6" y="2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4" y="28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20" y="30"/>
                    </a:lnTo>
                    <a:lnTo>
                      <a:pt x="24" y="28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12"/>
                    </a:lnTo>
                    <a:lnTo>
                      <a:pt x="28" y="8"/>
                    </a:lnTo>
                    <a:lnTo>
                      <a:pt x="24" y="2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01" name="Freeform 312"/>
              <p:cNvSpPr>
                <a:spLocks/>
              </p:cNvSpPr>
              <p:nvPr userDrawn="1"/>
            </p:nvSpPr>
            <p:spPr bwMode="auto">
              <a:xfrm>
                <a:off x="3458" y="3755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7" y="0"/>
                  </a:cxn>
                  <a:cxn ang="0">
                    <a:pos x="4" y="2"/>
                  </a:cxn>
                  <a:cxn ang="0">
                    <a:pos x="2" y="5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0" y="14"/>
                  </a:cxn>
                  <a:cxn ang="0">
                    <a:pos x="0" y="19"/>
                  </a:cxn>
                  <a:cxn ang="0">
                    <a:pos x="4" y="23"/>
                  </a:cxn>
                  <a:cxn ang="0">
                    <a:pos x="9" y="24"/>
                  </a:cxn>
                  <a:cxn ang="0">
                    <a:pos x="9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4"/>
                  </a:cxn>
                  <a:cxn ang="0">
                    <a:pos x="19" y="23"/>
                  </a:cxn>
                  <a:cxn ang="0">
                    <a:pos x="21" y="19"/>
                  </a:cxn>
                  <a:cxn ang="0">
                    <a:pos x="23" y="16"/>
                  </a:cxn>
                  <a:cxn ang="0">
                    <a:pos x="23" y="16"/>
                  </a:cxn>
                  <a:cxn ang="0">
                    <a:pos x="24" y="11"/>
                  </a:cxn>
                  <a:cxn ang="0">
                    <a:pos x="23" y="7"/>
                  </a:cxn>
                  <a:cxn ang="0">
                    <a:pos x="19" y="4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7" y="0"/>
                    </a:lnTo>
                    <a:lnTo>
                      <a:pt x="4" y="2"/>
                    </a:lnTo>
                    <a:lnTo>
                      <a:pt x="2" y="5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14"/>
                    </a:lnTo>
                    <a:lnTo>
                      <a:pt x="0" y="19"/>
                    </a:lnTo>
                    <a:lnTo>
                      <a:pt x="4" y="23"/>
                    </a:lnTo>
                    <a:lnTo>
                      <a:pt x="9" y="24"/>
                    </a:lnTo>
                    <a:lnTo>
                      <a:pt x="9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19" y="23"/>
                    </a:lnTo>
                    <a:lnTo>
                      <a:pt x="21" y="19"/>
                    </a:lnTo>
                    <a:lnTo>
                      <a:pt x="23" y="16"/>
                    </a:lnTo>
                    <a:lnTo>
                      <a:pt x="23" y="16"/>
                    </a:lnTo>
                    <a:lnTo>
                      <a:pt x="24" y="11"/>
                    </a:lnTo>
                    <a:lnTo>
                      <a:pt x="23" y="7"/>
                    </a:lnTo>
                    <a:lnTo>
                      <a:pt x="19" y="4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02" name="Freeform 313"/>
              <p:cNvSpPr>
                <a:spLocks/>
              </p:cNvSpPr>
              <p:nvPr userDrawn="1"/>
            </p:nvSpPr>
            <p:spPr bwMode="auto">
              <a:xfrm>
                <a:off x="3458" y="3755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7" y="0"/>
                  </a:cxn>
                  <a:cxn ang="0">
                    <a:pos x="4" y="2"/>
                  </a:cxn>
                  <a:cxn ang="0">
                    <a:pos x="2" y="5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0" y="14"/>
                  </a:cxn>
                  <a:cxn ang="0">
                    <a:pos x="0" y="19"/>
                  </a:cxn>
                  <a:cxn ang="0">
                    <a:pos x="4" y="23"/>
                  </a:cxn>
                  <a:cxn ang="0">
                    <a:pos x="9" y="24"/>
                  </a:cxn>
                  <a:cxn ang="0">
                    <a:pos x="9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4"/>
                  </a:cxn>
                  <a:cxn ang="0">
                    <a:pos x="19" y="23"/>
                  </a:cxn>
                  <a:cxn ang="0">
                    <a:pos x="21" y="19"/>
                  </a:cxn>
                  <a:cxn ang="0">
                    <a:pos x="23" y="16"/>
                  </a:cxn>
                  <a:cxn ang="0">
                    <a:pos x="23" y="16"/>
                  </a:cxn>
                  <a:cxn ang="0">
                    <a:pos x="24" y="11"/>
                  </a:cxn>
                  <a:cxn ang="0">
                    <a:pos x="23" y="7"/>
                  </a:cxn>
                  <a:cxn ang="0">
                    <a:pos x="19" y="4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7" y="0"/>
                    </a:lnTo>
                    <a:lnTo>
                      <a:pt x="4" y="2"/>
                    </a:lnTo>
                    <a:lnTo>
                      <a:pt x="2" y="5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14"/>
                    </a:lnTo>
                    <a:lnTo>
                      <a:pt x="0" y="19"/>
                    </a:lnTo>
                    <a:lnTo>
                      <a:pt x="4" y="23"/>
                    </a:lnTo>
                    <a:lnTo>
                      <a:pt x="9" y="24"/>
                    </a:lnTo>
                    <a:lnTo>
                      <a:pt x="9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19" y="23"/>
                    </a:lnTo>
                    <a:lnTo>
                      <a:pt x="21" y="19"/>
                    </a:lnTo>
                    <a:lnTo>
                      <a:pt x="23" y="16"/>
                    </a:lnTo>
                    <a:lnTo>
                      <a:pt x="23" y="16"/>
                    </a:lnTo>
                    <a:lnTo>
                      <a:pt x="24" y="11"/>
                    </a:lnTo>
                    <a:lnTo>
                      <a:pt x="23" y="7"/>
                    </a:lnTo>
                    <a:lnTo>
                      <a:pt x="19" y="4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03" name="Freeform 314"/>
              <p:cNvSpPr>
                <a:spLocks/>
              </p:cNvSpPr>
              <p:nvPr userDrawn="1"/>
            </p:nvSpPr>
            <p:spPr bwMode="auto">
              <a:xfrm>
                <a:off x="3524" y="3725"/>
                <a:ext cx="24" cy="24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13" y="0"/>
                  </a:cxn>
                  <a:cxn ang="0">
                    <a:pos x="9" y="2"/>
                  </a:cxn>
                  <a:cxn ang="0">
                    <a:pos x="6" y="4"/>
                  </a:cxn>
                  <a:cxn ang="0">
                    <a:pos x="2" y="6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0" y="15"/>
                  </a:cxn>
                  <a:cxn ang="0">
                    <a:pos x="2" y="19"/>
                  </a:cxn>
                  <a:cxn ang="0">
                    <a:pos x="6" y="23"/>
                  </a:cxn>
                  <a:cxn ang="0">
                    <a:pos x="9" y="24"/>
                  </a:cxn>
                  <a:cxn ang="0">
                    <a:pos x="9" y="24"/>
                  </a:cxn>
                  <a:cxn ang="0">
                    <a:pos x="13" y="24"/>
                  </a:cxn>
                  <a:cxn ang="0">
                    <a:pos x="13" y="24"/>
                  </a:cxn>
                  <a:cxn ang="0">
                    <a:pos x="17" y="24"/>
                  </a:cxn>
                  <a:cxn ang="0">
                    <a:pos x="19" y="23"/>
                  </a:cxn>
                  <a:cxn ang="0">
                    <a:pos x="23" y="19"/>
                  </a:cxn>
                  <a:cxn ang="0">
                    <a:pos x="24" y="15"/>
                  </a:cxn>
                  <a:cxn ang="0">
                    <a:pos x="24" y="15"/>
                  </a:cxn>
                  <a:cxn ang="0">
                    <a:pos x="24" y="11"/>
                  </a:cxn>
                  <a:cxn ang="0">
                    <a:pos x="23" y="8"/>
                  </a:cxn>
                  <a:cxn ang="0">
                    <a:pos x="19" y="4"/>
                  </a:cxn>
                  <a:cxn ang="0">
                    <a:pos x="15" y="2"/>
                  </a:cxn>
                  <a:cxn ang="0">
                    <a:pos x="15" y="2"/>
                  </a:cxn>
                  <a:cxn ang="0">
                    <a:pos x="13" y="0"/>
                  </a:cxn>
                </a:cxnLst>
                <a:rect l="0" t="0" r="r" b="b"/>
                <a:pathLst>
                  <a:path w="24" h="24">
                    <a:moveTo>
                      <a:pt x="13" y="0"/>
                    </a:moveTo>
                    <a:lnTo>
                      <a:pt x="13" y="0"/>
                    </a:lnTo>
                    <a:lnTo>
                      <a:pt x="9" y="2"/>
                    </a:lnTo>
                    <a:lnTo>
                      <a:pt x="6" y="4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15"/>
                    </a:lnTo>
                    <a:lnTo>
                      <a:pt x="2" y="19"/>
                    </a:lnTo>
                    <a:lnTo>
                      <a:pt x="6" y="23"/>
                    </a:lnTo>
                    <a:lnTo>
                      <a:pt x="9" y="24"/>
                    </a:lnTo>
                    <a:lnTo>
                      <a:pt x="9" y="24"/>
                    </a:lnTo>
                    <a:lnTo>
                      <a:pt x="13" y="24"/>
                    </a:lnTo>
                    <a:lnTo>
                      <a:pt x="13" y="24"/>
                    </a:lnTo>
                    <a:lnTo>
                      <a:pt x="17" y="24"/>
                    </a:lnTo>
                    <a:lnTo>
                      <a:pt x="19" y="23"/>
                    </a:lnTo>
                    <a:lnTo>
                      <a:pt x="23" y="19"/>
                    </a:lnTo>
                    <a:lnTo>
                      <a:pt x="24" y="15"/>
                    </a:lnTo>
                    <a:lnTo>
                      <a:pt x="24" y="15"/>
                    </a:lnTo>
                    <a:lnTo>
                      <a:pt x="24" y="11"/>
                    </a:lnTo>
                    <a:lnTo>
                      <a:pt x="23" y="8"/>
                    </a:lnTo>
                    <a:lnTo>
                      <a:pt x="19" y="4"/>
                    </a:lnTo>
                    <a:lnTo>
                      <a:pt x="15" y="2"/>
                    </a:lnTo>
                    <a:lnTo>
                      <a:pt x="15" y="2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04" name="Freeform 315"/>
              <p:cNvSpPr>
                <a:spLocks/>
              </p:cNvSpPr>
              <p:nvPr userDrawn="1"/>
            </p:nvSpPr>
            <p:spPr bwMode="auto">
              <a:xfrm>
                <a:off x="3524" y="3725"/>
                <a:ext cx="24" cy="24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13" y="0"/>
                  </a:cxn>
                  <a:cxn ang="0">
                    <a:pos x="9" y="2"/>
                  </a:cxn>
                  <a:cxn ang="0">
                    <a:pos x="6" y="4"/>
                  </a:cxn>
                  <a:cxn ang="0">
                    <a:pos x="2" y="6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0" y="15"/>
                  </a:cxn>
                  <a:cxn ang="0">
                    <a:pos x="2" y="19"/>
                  </a:cxn>
                  <a:cxn ang="0">
                    <a:pos x="6" y="23"/>
                  </a:cxn>
                  <a:cxn ang="0">
                    <a:pos x="9" y="24"/>
                  </a:cxn>
                  <a:cxn ang="0">
                    <a:pos x="9" y="24"/>
                  </a:cxn>
                  <a:cxn ang="0">
                    <a:pos x="13" y="24"/>
                  </a:cxn>
                  <a:cxn ang="0">
                    <a:pos x="13" y="24"/>
                  </a:cxn>
                  <a:cxn ang="0">
                    <a:pos x="17" y="24"/>
                  </a:cxn>
                  <a:cxn ang="0">
                    <a:pos x="19" y="23"/>
                  </a:cxn>
                  <a:cxn ang="0">
                    <a:pos x="23" y="19"/>
                  </a:cxn>
                  <a:cxn ang="0">
                    <a:pos x="24" y="15"/>
                  </a:cxn>
                  <a:cxn ang="0">
                    <a:pos x="24" y="15"/>
                  </a:cxn>
                  <a:cxn ang="0">
                    <a:pos x="24" y="11"/>
                  </a:cxn>
                  <a:cxn ang="0">
                    <a:pos x="23" y="8"/>
                  </a:cxn>
                  <a:cxn ang="0">
                    <a:pos x="19" y="4"/>
                  </a:cxn>
                  <a:cxn ang="0">
                    <a:pos x="15" y="2"/>
                  </a:cxn>
                  <a:cxn ang="0">
                    <a:pos x="15" y="2"/>
                  </a:cxn>
                  <a:cxn ang="0">
                    <a:pos x="13" y="0"/>
                  </a:cxn>
                </a:cxnLst>
                <a:rect l="0" t="0" r="r" b="b"/>
                <a:pathLst>
                  <a:path w="24" h="24">
                    <a:moveTo>
                      <a:pt x="13" y="0"/>
                    </a:moveTo>
                    <a:lnTo>
                      <a:pt x="13" y="0"/>
                    </a:lnTo>
                    <a:lnTo>
                      <a:pt x="9" y="2"/>
                    </a:lnTo>
                    <a:lnTo>
                      <a:pt x="6" y="4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15"/>
                    </a:lnTo>
                    <a:lnTo>
                      <a:pt x="2" y="19"/>
                    </a:lnTo>
                    <a:lnTo>
                      <a:pt x="6" y="23"/>
                    </a:lnTo>
                    <a:lnTo>
                      <a:pt x="9" y="24"/>
                    </a:lnTo>
                    <a:lnTo>
                      <a:pt x="9" y="24"/>
                    </a:lnTo>
                    <a:lnTo>
                      <a:pt x="13" y="24"/>
                    </a:lnTo>
                    <a:lnTo>
                      <a:pt x="13" y="24"/>
                    </a:lnTo>
                    <a:lnTo>
                      <a:pt x="17" y="24"/>
                    </a:lnTo>
                    <a:lnTo>
                      <a:pt x="19" y="23"/>
                    </a:lnTo>
                    <a:lnTo>
                      <a:pt x="23" y="19"/>
                    </a:lnTo>
                    <a:lnTo>
                      <a:pt x="24" y="15"/>
                    </a:lnTo>
                    <a:lnTo>
                      <a:pt x="24" y="15"/>
                    </a:lnTo>
                    <a:lnTo>
                      <a:pt x="24" y="11"/>
                    </a:lnTo>
                    <a:lnTo>
                      <a:pt x="23" y="8"/>
                    </a:lnTo>
                    <a:lnTo>
                      <a:pt x="19" y="4"/>
                    </a:lnTo>
                    <a:lnTo>
                      <a:pt x="15" y="2"/>
                    </a:lnTo>
                    <a:lnTo>
                      <a:pt x="15" y="2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05" name="Freeform 316"/>
              <p:cNvSpPr>
                <a:spLocks/>
              </p:cNvSpPr>
              <p:nvPr userDrawn="1"/>
            </p:nvSpPr>
            <p:spPr bwMode="auto">
              <a:xfrm>
                <a:off x="3584" y="3683"/>
                <a:ext cx="24" cy="24"/>
              </a:xfrm>
              <a:custGeom>
                <a:avLst/>
                <a:gdLst/>
                <a:ahLst/>
                <a:cxnLst>
                  <a:cxn ang="0">
                    <a:pos x="11" y="0"/>
                  </a:cxn>
                  <a:cxn ang="0">
                    <a:pos x="11" y="0"/>
                  </a:cxn>
                  <a:cxn ang="0">
                    <a:pos x="9" y="0"/>
                  </a:cxn>
                  <a:cxn ang="0">
                    <a:pos x="5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5" y="20"/>
                  </a:cxn>
                  <a:cxn ang="0">
                    <a:pos x="9" y="22"/>
                  </a:cxn>
                  <a:cxn ang="0">
                    <a:pos x="9" y="22"/>
                  </a:cxn>
                  <a:cxn ang="0">
                    <a:pos x="11" y="24"/>
                  </a:cxn>
                  <a:cxn ang="0">
                    <a:pos x="11" y="24"/>
                  </a:cxn>
                  <a:cxn ang="0">
                    <a:pos x="15" y="22"/>
                  </a:cxn>
                  <a:cxn ang="0">
                    <a:pos x="20" y="20"/>
                  </a:cxn>
                  <a:cxn ang="0">
                    <a:pos x="22" y="18"/>
                  </a:cxn>
                  <a:cxn ang="0">
                    <a:pos x="24" y="14"/>
                  </a:cxn>
                  <a:cxn ang="0">
                    <a:pos x="24" y="14"/>
                  </a:cxn>
                  <a:cxn ang="0">
                    <a:pos x="24" y="10"/>
                  </a:cxn>
                  <a:cxn ang="0">
                    <a:pos x="22" y="6"/>
                  </a:cxn>
                  <a:cxn ang="0">
                    <a:pos x="20" y="2"/>
                  </a:cxn>
                  <a:cxn ang="0">
                    <a:pos x="15" y="0"/>
                  </a:cxn>
                  <a:cxn ang="0">
                    <a:pos x="15" y="0"/>
                  </a:cxn>
                  <a:cxn ang="0">
                    <a:pos x="11" y="0"/>
                  </a:cxn>
                </a:cxnLst>
                <a:rect l="0" t="0" r="r" b="b"/>
                <a:pathLst>
                  <a:path w="24" h="24">
                    <a:moveTo>
                      <a:pt x="11" y="0"/>
                    </a:moveTo>
                    <a:lnTo>
                      <a:pt x="11" y="0"/>
                    </a:lnTo>
                    <a:lnTo>
                      <a:pt x="9" y="0"/>
                    </a:lnTo>
                    <a:lnTo>
                      <a:pt x="5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5" y="20"/>
                    </a:lnTo>
                    <a:lnTo>
                      <a:pt x="9" y="22"/>
                    </a:lnTo>
                    <a:lnTo>
                      <a:pt x="9" y="22"/>
                    </a:lnTo>
                    <a:lnTo>
                      <a:pt x="11" y="24"/>
                    </a:lnTo>
                    <a:lnTo>
                      <a:pt x="11" y="24"/>
                    </a:lnTo>
                    <a:lnTo>
                      <a:pt x="15" y="22"/>
                    </a:lnTo>
                    <a:lnTo>
                      <a:pt x="20" y="20"/>
                    </a:lnTo>
                    <a:lnTo>
                      <a:pt x="22" y="18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4" y="10"/>
                    </a:lnTo>
                    <a:lnTo>
                      <a:pt x="22" y="6"/>
                    </a:lnTo>
                    <a:lnTo>
                      <a:pt x="20" y="2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06" name="Freeform 317"/>
              <p:cNvSpPr>
                <a:spLocks/>
              </p:cNvSpPr>
              <p:nvPr userDrawn="1"/>
            </p:nvSpPr>
            <p:spPr bwMode="auto">
              <a:xfrm>
                <a:off x="3584" y="3683"/>
                <a:ext cx="24" cy="24"/>
              </a:xfrm>
              <a:custGeom>
                <a:avLst/>
                <a:gdLst/>
                <a:ahLst/>
                <a:cxnLst>
                  <a:cxn ang="0">
                    <a:pos x="11" y="0"/>
                  </a:cxn>
                  <a:cxn ang="0">
                    <a:pos x="11" y="0"/>
                  </a:cxn>
                  <a:cxn ang="0">
                    <a:pos x="9" y="0"/>
                  </a:cxn>
                  <a:cxn ang="0">
                    <a:pos x="5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5" y="20"/>
                  </a:cxn>
                  <a:cxn ang="0">
                    <a:pos x="9" y="22"/>
                  </a:cxn>
                  <a:cxn ang="0">
                    <a:pos x="9" y="22"/>
                  </a:cxn>
                  <a:cxn ang="0">
                    <a:pos x="11" y="24"/>
                  </a:cxn>
                  <a:cxn ang="0">
                    <a:pos x="11" y="24"/>
                  </a:cxn>
                  <a:cxn ang="0">
                    <a:pos x="15" y="22"/>
                  </a:cxn>
                  <a:cxn ang="0">
                    <a:pos x="20" y="20"/>
                  </a:cxn>
                  <a:cxn ang="0">
                    <a:pos x="22" y="18"/>
                  </a:cxn>
                  <a:cxn ang="0">
                    <a:pos x="24" y="14"/>
                  </a:cxn>
                  <a:cxn ang="0">
                    <a:pos x="24" y="14"/>
                  </a:cxn>
                  <a:cxn ang="0">
                    <a:pos x="24" y="10"/>
                  </a:cxn>
                  <a:cxn ang="0">
                    <a:pos x="22" y="6"/>
                  </a:cxn>
                  <a:cxn ang="0">
                    <a:pos x="20" y="2"/>
                  </a:cxn>
                  <a:cxn ang="0">
                    <a:pos x="15" y="0"/>
                  </a:cxn>
                  <a:cxn ang="0">
                    <a:pos x="15" y="0"/>
                  </a:cxn>
                  <a:cxn ang="0">
                    <a:pos x="11" y="0"/>
                  </a:cxn>
                </a:cxnLst>
                <a:rect l="0" t="0" r="r" b="b"/>
                <a:pathLst>
                  <a:path w="24" h="24">
                    <a:moveTo>
                      <a:pt x="11" y="0"/>
                    </a:moveTo>
                    <a:lnTo>
                      <a:pt x="11" y="0"/>
                    </a:lnTo>
                    <a:lnTo>
                      <a:pt x="9" y="0"/>
                    </a:lnTo>
                    <a:lnTo>
                      <a:pt x="5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5" y="20"/>
                    </a:lnTo>
                    <a:lnTo>
                      <a:pt x="9" y="22"/>
                    </a:lnTo>
                    <a:lnTo>
                      <a:pt x="9" y="22"/>
                    </a:lnTo>
                    <a:lnTo>
                      <a:pt x="11" y="24"/>
                    </a:lnTo>
                    <a:lnTo>
                      <a:pt x="11" y="24"/>
                    </a:lnTo>
                    <a:lnTo>
                      <a:pt x="15" y="22"/>
                    </a:lnTo>
                    <a:lnTo>
                      <a:pt x="20" y="20"/>
                    </a:lnTo>
                    <a:lnTo>
                      <a:pt x="22" y="18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4" y="10"/>
                    </a:lnTo>
                    <a:lnTo>
                      <a:pt x="22" y="6"/>
                    </a:lnTo>
                    <a:lnTo>
                      <a:pt x="20" y="2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07" name="Freeform 318"/>
              <p:cNvSpPr>
                <a:spLocks/>
              </p:cNvSpPr>
              <p:nvPr userDrawn="1"/>
            </p:nvSpPr>
            <p:spPr bwMode="auto">
              <a:xfrm>
                <a:off x="3638" y="3635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4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1"/>
                  </a:cxn>
                  <a:cxn ang="0">
                    <a:pos x="2" y="15"/>
                  </a:cxn>
                  <a:cxn ang="0">
                    <a:pos x="4" y="17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5" y="17"/>
                  </a:cxn>
                  <a:cxn ang="0">
                    <a:pos x="18" y="11"/>
                  </a:cxn>
                  <a:cxn ang="0">
                    <a:pos x="18" y="11"/>
                  </a:cxn>
                  <a:cxn ang="0">
                    <a:pos x="18" y="8"/>
                  </a:cxn>
                  <a:cxn ang="0">
                    <a:pos x="18" y="4"/>
                  </a:cxn>
                  <a:cxn ang="0">
                    <a:pos x="15" y="2"/>
                  </a:cxn>
                  <a:cxn ang="0">
                    <a:pos x="13" y="0"/>
                  </a:cxn>
                  <a:cxn ang="0">
                    <a:pos x="13" y="0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4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1"/>
                    </a:lnTo>
                    <a:lnTo>
                      <a:pt x="2" y="15"/>
                    </a:lnTo>
                    <a:lnTo>
                      <a:pt x="4" y="17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5" y="17"/>
                    </a:lnTo>
                    <a:lnTo>
                      <a:pt x="18" y="11"/>
                    </a:lnTo>
                    <a:lnTo>
                      <a:pt x="18" y="11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15" y="2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08" name="Freeform 319"/>
              <p:cNvSpPr>
                <a:spLocks/>
              </p:cNvSpPr>
              <p:nvPr userDrawn="1"/>
            </p:nvSpPr>
            <p:spPr bwMode="auto">
              <a:xfrm>
                <a:off x="3638" y="3635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4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1"/>
                  </a:cxn>
                  <a:cxn ang="0">
                    <a:pos x="2" y="15"/>
                  </a:cxn>
                  <a:cxn ang="0">
                    <a:pos x="4" y="17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5" y="17"/>
                  </a:cxn>
                  <a:cxn ang="0">
                    <a:pos x="18" y="11"/>
                  </a:cxn>
                  <a:cxn ang="0">
                    <a:pos x="18" y="11"/>
                  </a:cxn>
                  <a:cxn ang="0">
                    <a:pos x="18" y="8"/>
                  </a:cxn>
                  <a:cxn ang="0">
                    <a:pos x="18" y="4"/>
                  </a:cxn>
                  <a:cxn ang="0">
                    <a:pos x="15" y="2"/>
                  </a:cxn>
                  <a:cxn ang="0">
                    <a:pos x="13" y="0"/>
                  </a:cxn>
                  <a:cxn ang="0">
                    <a:pos x="13" y="0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4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1"/>
                    </a:lnTo>
                    <a:lnTo>
                      <a:pt x="2" y="15"/>
                    </a:lnTo>
                    <a:lnTo>
                      <a:pt x="4" y="17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5" y="17"/>
                    </a:lnTo>
                    <a:lnTo>
                      <a:pt x="18" y="11"/>
                    </a:lnTo>
                    <a:lnTo>
                      <a:pt x="18" y="11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15" y="2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09" name="Freeform 320"/>
              <p:cNvSpPr>
                <a:spLocks/>
              </p:cNvSpPr>
              <p:nvPr userDrawn="1"/>
            </p:nvSpPr>
            <p:spPr bwMode="auto">
              <a:xfrm>
                <a:off x="3680" y="3575"/>
                <a:ext cx="18" cy="18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2" y="0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8"/>
                  </a:cxn>
                  <a:cxn ang="0">
                    <a:pos x="6" y="18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4" y="16"/>
                  </a:cxn>
                  <a:cxn ang="0">
                    <a:pos x="18" y="10"/>
                  </a:cxn>
                  <a:cxn ang="0">
                    <a:pos x="18" y="10"/>
                  </a:cxn>
                  <a:cxn ang="0">
                    <a:pos x="18" y="8"/>
                  </a:cxn>
                  <a:cxn ang="0">
                    <a:pos x="16" y="4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</a:cxnLst>
                <a:rect l="0" t="0" r="r" b="b"/>
                <a:pathLst>
                  <a:path w="18" h="18">
                    <a:moveTo>
                      <a:pt x="8" y="0"/>
                    </a:moveTo>
                    <a:lnTo>
                      <a:pt x="8" y="0"/>
                    </a:lnTo>
                    <a:lnTo>
                      <a:pt x="2" y="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4" y="16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8"/>
                    </a:lnTo>
                    <a:lnTo>
                      <a:pt x="16" y="4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10" name="Freeform 321"/>
              <p:cNvSpPr>
                <a:spLocks/>
              </p:cNvSpPr>
              <p:nvPr userDrawn="1"/>
            </p:nvSpPr>
            <p:spPr bwMode="auto">
              <a:xfrm>
                <a:off x="3680" y="3575"/>
                <a:ext cx="18" cy="18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2" y="0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8"/>
                  </a:cxn>
                  <a:cxn ang="0">
                    <a:pos x="6" y="18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4" y="16"/>
                  </a:cxn>
                  <a:cxn ang="0">
                    <a:pos x="18" y="10"/>
                  </a:cxn>
                  <a:cxn ang="0">
                    <a:pos x="18" y="10"/>
                  </a:cxn>
                  <a:cxn ang="0">
                    <a:pos x="18" y="8"/>
                  </a:cxn>
                  <a:cxn ang="0">
                    <a:pos x="16" y="4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</a:cxnLst>
                <a:rect l="0" t="0" r="r" b="b"/>
                <a:pathLst>
                  <a:path w="18" h="18">
                    <a:moveTo>
                      <a:pt x="8" y="0"/>
                    </a:moveTo>
                    <a:lnTo>
                      <a:pt x="8" y="0"/>
                    </a:lnTo>
                    <a:lnTo>
                      <a:pt x="2" y="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4" y="16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8"/>
                    </a:lnTo>
                    <a:lnTo>
                      <a:pt x="16" y="4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11" name="Freeform 322"/>
              <p:cNvSpPr>
                <a:spLocks/>
              </p:cNvSpPr>
              <p:nvPr userDrawn="1"/>
            </p:nvSpPr>
            <p:spPr bwMode="auto">
              <a:xfrm>
                <a:off x="3710" y="3509"/>
                <a:ext cx="18" cy="18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7"/>
                  </a:cxn>
                  <a:cxn ang="0">
                    <a:pos x="2" y="7"/>
                  </a:cxn>
                  <a:cxn ang="0">
                    <a:pos x="0" y="11"/>
                  </a:cxn>
                  <a:cxn ang="0">
                    <a:pos x="2" y="14"/>
                  </a:cxn>
                  <a:cxn ang="0">
                    <a:pos x="4" y="16"/>
                  </a:cxn>
                  <a:cxn ang="0">
                    <a:pos x="6" y="18"/>
                  </a:cxn>
                  <a:cxn ang="0">
                    <a:pos x="6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4" y="16"/>
                  </a:cxn>
                  <a:cxn ang="0">
                    <a:pos x="18" y="11"/>
                  </a:cxn>
                  <a:cxn ang="0">
                    <a:pos x="18" y="11"/>
                  </a:cxn>
                  <a:cxn ang="0">
                    <a:pos x="18" y="9"/>
                  </a:cxn>
                  <a:cxn ang="0">
                    <a:pos x="16" y="5"/>
                  </a:cxn>
                  <a:cxn ang="0">
                    <a:pos x="14" y="2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2" y="7"/>
                    </a:lnTo>
                    <a:lnTo>
                      <a:pt x="2" y="7"/>
                    </a:lnTo>
                    <a:lnTo>
                      <a:pt x="0" y="11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4" y="16"/>
                    </a:lnTo>
                    <a:lnTo>
                      <a:pt x="18" y="11"/>
                    </a:lnTo>
                    <a:lnTo>
                      <a:pt x="18" y="11"/>
                    </a:lnTo>
                    <a:lnTo>
                      <a:pt x="18" y="9"/>
                    </a:lnTo>
                    <a:lnTo>
                      <a:pt x="16" y="5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12" name="Freeform 323"/>
              <p:cNvSpPr>
                <a:spLocks/>
              </p:cNvSpPr>
              <p:nvPr userDrawn="1"/>
            </p:nvSpPr>
            <p:spPr bwMode="auto">
              <a:xfrm>
                <a:off x="3710" y="3509"/>
                <a:ext cx="18" cy="18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7"/>
                  </a:cxn>
                  <a:cxn ang="0">
                    <a:pos x="2" y="7"/>
                  </a:cxn>
                  <a:cxn ang="0">
                    <a:pos x="0" y="11"/>
                  </a:cxn>
                  <a:cxn ang="0">
                    <a:pos x="2" y="14"/>
                  </a:cxn>
                  <a:cxn ang="0">
                    <a:pos x="4" y="16"/>
                  </a:cxn>
                  <a:cxn ang="0">
                    <a:pos x="6" y="18"/>
                  </a:cxn>
                  <a:cxn ang="0">
                    <a:pos x="6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4" y="16"/>
                  </a:cxn>
                  <a:cxn ang="0">
                    <a:pos x="18" y="11"/>
                  </a:cxn>
                  <a:cxn ang="0">
                    <a:pos x="18" y="11"/>
                  </a:cxn>
                  <a:cxn ang="0">
                    <a:pos x="18" y="9"/>
                  </a:cxn>
                  <a:cxn ang="0">
                    <a:pos x="16" y="5"/>
                  </a:cxn>
                  <a:cxn ang="0">
                    <a:pos x="14" y="2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2" y="7"/>
                    </a:lnTo>
                    <a:lnTo>
                      <a:pt x="2" y="7"/>
                    </a:lnTo>
                    <a:lnTo>
                      <a:pt x="0" y="11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4" y="16"/>
                    </a:lnTo>
                    <a:lnTo>
                      <a:pt x="18" y="11"/>
                    </a:lnTo>
                    <a:lnTo>
                      <a:pt x="18" y="11"/>
                    </a:lnTo>
                    <a:lnTo>
                      <a:pt x="18" y="9"/>
                    </a:lnTo>
                    <a:lnTo>
                      <a:pt x="16" y="5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13" name="Freeform 324"/>
              <p:cNvSpPr>
                <a:spLocks/>
              </p:cNvSpPr>
              <p:nvPr userDrawn="1"/>
            </p:nvSpPr>
            <p:spPr bwMode="auto">
              <a:xfrm>
                <a:off x="3728" y="3437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5" y="2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2" y="14"/>
                  </a:cxn>
                  <a:cxn ang="0">
                    <a:pos x="7" y="18"/>
                  </a:cxn>
                  <a:cxn ang="0">
                    <a:pos x="7" y="18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4" y="16"/>
                  </a:cxn>
                  <a:cxn ang="0">
                    <a:pos x="18" y="11"/>
                  </a:cxn>
                  <a:cxn ang="0">
                    <a:pos x="18" y="11"/>
                  </a:cxn>
                  <a:cxn ang="0">
                    <a:pos x="16" y="5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5" y="2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2" y="14"/>
                    </a:lnTo>
                    <a:lnTo>
                      <a:pt x="7" y="18"/>
                    </a:lnTo>
                    <a:lnTo>
                      <a:pt x="7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4" y="16"/>
                    </a:lnTo>
                    <a:lnTo>
                      <a:pt x="18" y="11"/>
                    </a:lnTo>
                    <a:lnTo>
                      <a:pt x="18" y="11"/>
                    </a:lnTo>
                    <a:lnTo>
                      <a:pt x="16" y="5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14" name="Freeform 325"/>
              <p:cNvSpPr>
                <a:spLocks/>
              </p:cNvSpPr>
              <p:nvPr userDrawn="1"/>
            </p:nvSpPr>
            <p:spPr bwMode="auto">
              <a:xfrm>
                <a:off x="3728" y="3437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5" y="2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2" y="14"/>
                  </a:cxn>
                  <a:cxn ang="0">
                    <a:pos x="7" y="18"/>
                  </a:cxn>
                  <a:cxn ang="0">
                    <a:pos x="7" y="18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4" y="16"/>
                  </a:cxn>
                  <a:cxn ang="0">
                    <a:pos x="18" y="11"/>
                  </a:cxn>
                  <a:cxn ang="0">
                    <a:pos x="18" y="11"/>
                  </a:cxn>
                  <a:cxn ang="0">
                    <a:pos x="16" y="5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5" y="2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2" y="14"/>
                    </a:lnTo>
                    <a:lnTo>
                      <a:pt x="7" y="18"/>
                    </a:lnTo>
                    <a:lnTo>
                      <a:pt x="7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4" y="16"/>
                    </a:lnTo>
                    <a:lnTo>
                      <a:pt x="18" y="11"/>
                    </a:lnTo>
                    <a:lnTo>
                      <a:pt x="18" y="11"/>
                    </a:lnTo>
                    <a:lnTo>
                      <a:pt x="16" y="5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15" name="Freeform 326"/>
              <p:cNvSpPr>
                <a:spLocks/>
              </p:cNvSpPr>
              <p:nvPr userDrawn="1"/>
            </p:nvSpPr>
            <p:spPr bwMode="auto">
              <a:xfrm>
                <a:off x="3374" y="3707"/>
                <a:ext cx="30" cy="36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11" y="2"/>
                  </a:cxn>
                  <a:cxn ang="0">
                    <a:pos x="11" y="2"/>
                  </a:cxn>
                  <a:cxn ang="0">
                    <a:pos x="6" y="5"/>
                  </a:cxn>
                  <a:cxn ang="0">
                    <a:pos x="2" y="11"/>
                  </a:cxn>
                  <a:cxn ang="0">
                    <a:pos x="0" y="17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2" y="28"/>
                  </a:cxn>
                  <a:cxn ang="0">
                    <a:pos x="6" y="32"/>
                  </a:cxn>
                  <a:cxn ang="0">
                    <a:pos x="9" y="34"/>
                  </a:cxn>
                  <a:cxn ang="0">
                    <a:pos x="15" y="36"/>
                  </a:cxn>
                  <a:cxn ang="0">
                    <a:pos x="15" y="36"/>
                  </a:cxn>
                  <a:cxn ang="0">
                    <a:pos x="19" y="36"/>
                  </a:cxn>
                  <a:cxn ang="0">
                    <a:pos x="19" y="36"/>
                  </a:cxn>
                  <a:cxn ang="0">
                    <a:pos x="24" y="32"/>
                  </a:cxn>
                  <a:cxn ang="0">
                    <a:pos x="28" y="28"/>
                  </a:cxn>
                  <a:cxn ang="0">
                    <a:pos x="30" y="21"/>
                  </a:cxn>
                  <a:cxn ang="0">
                    <a:pos x="30" y="15"/>
                  </a:cxn>
                  <a:cxn ang="0">
                    <a:pos x="30" y="15"/>
                  </a:cxn>
                  <a:cxn ang="0">
                    <a:pos x="28" y="9"/>
                  </a:cxn>
                  <a:cxn ang="0">
                    <a:pos x="24" y="5"/>
                  </a:cxn>
                  <a:cxn ang="0">
                    <a:pos x="21" y="2"/>
                  </a:cxn>
                  <a:cxn ang="0">
                    <a:pos x="15" y="0"/>
                  </a:cxn>
                </a:cxnLst>
                <a:rect l="0" t="0" r="r" b="b"/>
                <a:pathLst>
                  <a:path w="30" h="36">
                    <a:moveTo>
                      <a:pt x="15" y="0"/>
                    </a:moveTo>
                    <a:lnTo>
                      <a:pt x="15" y="0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6" y="5"/>
                    </a:lnTo>
                    <a:lnTo>
                      <a:pt x="2" y="11"/>
                    </a:lnTo>
                    <a:lnTo>
                      <a:pt x="0" y="17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28"/>
                    </a:lnTo>
                    <a:lnTo>
                      <a:pt x="6" y="32"/>
                    </a:lnTo>
                    <a:lnTo>
                      <a:pt x="9" y="34"/>
                    </a:lnTo>
                    <a:lnTo>
                      <a:pt x="15" y="36"/>
                    </a:lnTo>
                    <a:lnTo>
                      <a:pt x="15" y="36"/>
                    </a:lnTo>
                    <a:lnTo>
                      <a:pt x="19" y="36"/>
                    </a:lnTo>
                    <a:lnTo>
                      <a:pt x="19" y="36"/>
                    </a:lnTo>
                    <a:lnTo>
                      <a:pt x="24" y="32"/>
                    </a:lnTo>
                    <a:lnTo>
                      <a:pt x="28" y="28"/>
                    </a:lnTo>
                    <a:lnTo>
                      <a:pt x="30" y="21"/>
                    </a:lnTo>
                    <a:lnTo>
                      <a:pt x="30" y="15"/>
                    </a:lnTo>
                    <a:lnTo>
                      <a:pt x="30" y="15"/>
                    </a:lnTo>
                    <a:lnTo>
                      <a:pt x="28" y="9"/>
                    </a:lnTo>
                    <a:lnTo>
                      <a:pt x="24" y="5"/>
                    </a:lnTo>
                    <a:lnTo>
                      <a:pt x="21" y="2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16" name="Freeform 327"/>
              <p:cNvSpPr>
                <a:spLocks/>
              </p:cNvSpPr>
              <p:nvPr userDrawn="1"/>
            </p:nvSpPr>
            <p:spPr bwMode="auto">
              <a:xfrm>
                <a:off x="3374" y="3707"/>
                <a:ext cx="30" cy="36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11" y="2"/>
                  </a:cxn>
                  <a:cxn ang="0">
                    <a:pos x="11" y="2"/>
                  </a:cxn>
                  <a:cxn ang="0">
                    <a:pos x="6" y="5"/>
                  </a:cxn>
                  <a:cxn ang="0">
                    <a:pos x="2" y="11"/>
                  </a:cxn>
                  <a:cxn ang="0">
                    <a:pos x="0" y="17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2" y="28"/>
                  </a:cxn>
                  <a:cxn ang="0">
                    <a:pos x="6" y="32"/>
                  </a:cxn>
                  <a:cxn ang="0">
                    <a:pos x="9" y="34"/>
                  </a:cxn>
                  <a:cxn ang="0">
                    <a:pos x="15" y="36"/>
                  </a:cxn>
                  <a:cxn ang="0">
                    <a:pos x="15" y="36"/>
                  </a:cxn>
                  <a:cxn ang="0">
                    <a:pos x="19" y="36"/>
                  </a:cxn>
                  <a:cxn ang="0">
                    <a:pos x="19" y="36"/>
                  </a:cxn>
                  <a:cxn ang="0">
                    <a:pos x="24" y="32"/>
                  </a:cxn>
                  <a:cxn ang="0">
                    <a:pos x="28" y="28"/>
                  </a:cxn>
                  <a:cxn ang="0">
                    <a:pos x="30" y="21"/>
                  </a:cxn>
                  <a:cxn ang="0">
                    <a:pos x="30" y="15"/>
                  </a:cxn>
                  <a:cxn ang="0">
                    <a:pos x="30" y="15"/>
                  </a:cxn>
                  <a:cxn ang="0">
                    <a:pos x="28" y="9"/>
                  </a:cxn>
                  <a:cxn ang="0">
                    <a:pos x="24" y="5"/>
                  </a:cxn>
                  <a:cxn ang="0">
                    <a:pos x="21" y="2"/>
                  </a:cxn>
                  <a:cxn ang="0">
                    <a:pos x="15" y="0"/>
                  </a:cxn>
                </a:cxnLst>
                <a:rect l="0" t="0" r="r" b="b"/>
                <a:pathLst>
                  <a:path w="30" h="36">
                    <a:moveTo>
                      <a:pt x="15" y="0"/>
                    </a:moveTo>
                    <a:lnTo>
                      <a:pt x="15" y="0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6" y="5"/>
                    </a:lnTo>
                    <a:lnTo>
                      <a:pt x="2" y="11"/>
                    </a:lnTo>
                    <a:lnTo>
                      <a:pt x="0" y="17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28"/>
                    </a:lnTo>
                    <a:lnTo>
                      <a:pt x="6" y="32"/>
                    </a:lnTo>
                    <a:lnTo>
                      <a:pt x="9" y="34"/>
                    </a:lnTo>
                    <a:lnTo>
                      <a:pt x="15" y="36"/>
                    </a:lnTo>
                    <a:lnTo>
                      <a:pt x="15" y="36"/>
                    </a:lnTo>
                    <a:lnTo>
                      <a:pt x="19" y="36"/>
                    </a:lnTo>
                    <a:lnTo>
                      <a:pt x="19" y="36"/>
                    </a:lnTo>
                    <a:lnTo>
                      <a:pt x="24" y="32"/>
                    </a:lnTo>
                    <a:lnTo>
                      <a:pt x="28" y="28"/>
                    </a:lnTo>
                    <a:lnTo>
                      <a:pt x="30" y="21"/>
                    </a:lnTo>
                    <a:lnTo>
                      <a:pt x="30" y="15"/>
                    </a:lnTo>
                    <a:lnTo>
                      <a:pt x="30" y="15"/>
                    </a:lnTo>
                    <a:lnTo>
                      <a:pt x="28" y="9"/>
                    </a:lnTo>
                    <a:lnTo>
                      <a:pt x="24" y="5"/>
                    </a:lnTo>
                    <a:lnTo>
                      <a:pt x="21" y="2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17" name="Freeform 328"/>
              <p:cNvSpPr>
                <a:spLocks/>
              </p:cNvSpPr>
              <p:nvPr userDrawn="1"/>
            </p:nvSpPr>
            <p:spPr bwMode="auto">
              <a:xfrm>
                <a:off x="3314" y="3713"/>
                <a:ext cx="24" cy="3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9" y="0"/>
                  </a:cxn>
                  <a:cxn ang="0">
                    <a:pos x="9" y="0"/>
                  </a:cxn>
                  <a:cxn ang="0">
                    <a:pos x="4" y="4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5" y="26"/>
                  </a:cxn>
                  <a:cxn ang="0">
                    <a:pos x="9" y="28"/>
                  </a:cxn>
                  <a:cxn ang="0">
                    <a:pos x="12" y="30"/>
                  </a:cxn>
                  <a:cxn ang="0">
                    <a:pos x="12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21" y="26"/>
                  </a:cxn>
                  <a:cxn ang="0">
                    <a:pos x="23" y="22"/>
                  </a:cxn>
                  <a:cxn ang="0">
                    <a:pos x="24" y="16"/>
                  </a:cxn>
                  <a:cxn ang="0">
                    <a:pos x="24" y="10"/>
                  </a:cxn>
                  <a:cxn ang="0">
                    <a:pos x="24" y="10"/>
                  </a:cxn>
                  <a:cxn ang="0">
                    <a:pos x="23" y="6"/>
                  </a:cxn>
                  <a:cxn ang="0">
                    <a:pos x="19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30">
                    <a:moveTo>
                      <a:pt x="12" y="0"/>
                    </a:move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5" y="26"/>
                    </a:lnTo>
                    <a:lnTo>
                      <a:pt x="9" y="28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21" y="26"/>
                    </a:lnTo>
                    <a:lnTo>
                      <a:pt x="23" y="22"/>
                    </a:lnTo>
                    <a:lnTo>
                      <a:pt x="24" y="16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3" y="6"/>
                    </a:lnTo>
                    <a:lnTo>
                      <a:pt x="19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18" name="Freeform 329"/>
              <p:cNvSpPr>
                <a:spLocks/>
              </p:cNvSpPr>
              <p:nvPr userDrawn="1"/>
            </p:nvSpPr>
            <p:spPr bwMode="auto">
              <a:xfrm>
                <a:off x="3314" y="3713"/>
                <a:ext cx="24" cy="3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9" y="0"/>
                  </a:cxn>
                  <a:cxn ang="0">
                    <a:pos x="9" y="0"/>
                  </a:cxn>
                  <a:cxn ang="0">
                    <a:pos x="4" y="4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5" y="26"/>
                  </a:cxn>
                  <a:cxn ang="0">
                    <a:pos x="9" y="28"/>
                  </a:cxn>
                  <a:cxn ang="0">
                    <a:pos x="12" y="30"/>
                  </a:cxn>
                  <a:cxn ang="0">
                    <a:pos x="12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21" y="26"/>
                  </a:cxn>
                  <a:cxn ang="0">
                    <a:pos x="23" y="22"/>
                  </a:cxn>
                  <a:cxn ang="0">
                    <a:pos x="24" y="16"/>
                  </a:cxn>
                  <a:cxn ang="0">
                    <a:pos x="24" y="10"/>
                  </a:cxn>
                  <a:cxn ang="0">
                    <a:pos x="24" y="10"/>
                  </a:cxn>
                  <a:cxn ang="0">
                    <a:pos x="23" y="6"/>
                  </a:cxn>
                  <a:cxn ang="0">
                    <a:pos x="19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30">
                    <a:moveTo>
                      <a:pt x="12" y="0"/>
                    </a:move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5" y="26"/>
                    </a:lnTo>
                    <a:lnTo>
                      <a:pt x="9" y="28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21" y="26"/>
                    </a:lnTo>
                    <a:lnTo>
                      <a:pt x="23" y="22"/>
                    </a:lnTo>
                    <a:lnTo>
                      <a:pt x="24" y="16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3" y="6"/>
                    </a:lnTo>
                    <a:lnTo>
                      <a:pt x="19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19" name="Freeform 330"/>
              <p:cNvSpPr>
                <a:spLocks/>
              </p:cNvSpPr>
              <p:nvPr userDrawn="1"/>
            </p:nvSpPr>
            <p:spPr bwMode="auto">
              <a:xfrm>
                <a:off x="3248" y="3713"/>
                <a:ext cx="30" cy="24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7" y="2"/>
                  </a:cxn>
                  <a:cxn ang="0">
                    <a:pos x="2" y="6"/>
                  </a:cxn>
                  <a:cxn ang="0">
                    <a:pos x="0" y="11"/>
                  </a:cxn>
                  <a:cxn ang="0">
                    <a:pos x="2" y="15"/>
                  </a:cxn>
                  <a:cxn ang="0">
                    <a:pos x="2" y="15"/>
                  </a:cxn>
                  <a:cxn ang="0">
                    <a:pos x="5" y="19"/>
                  </a:cxn>
                  <a:cxn ang="0">
                    <a:pos x="7" y="23"/>
                  </a:cxn>
                  <a:cxn ang="0">
                    <a:pos x="11" y="24"/>
                  </a:cxn>
                  <a:cxn ang="0">
                    <a:pos x="15" y="24"/>
                  </a:cxn>
                  <a:cxn ang="0">
                    <a:pos x="15" y="24"/>
                  </a:cxn>
                  <a:cxn ang="0">
                    <a:pos x="20" y="24"/>
                  </a:cxn>
                  <a:cxn ang="0">
                    <a:pos x="20" y="24"/>
                  </a:cxn>
                  <a:cxn ang="0">
                    <a:pos x="24" y="23"/>
                  </a:cxn>
                  <a:cxn ang="0">
                    <a:pos x="28" y="19"/>
                  </a:cxn>
                  <a:cxn ang="0">
                    <a:pos x="30" y="15"/>
                  </a:cxn>
                  <a:cxn ang="0">
                    <a:pos x="30" y="9"/>
                  </a:cxn>
                  <a:cxn ang="0">
                    <a:pos x="30" y="9"/>
                  </a:cxn>
                  <a:cxn ang="0">
                    <a:pos x="28" y="6"/>
                  </a:cxn>
                  <a:cxn ang="0">
                    <a:pos x="24" y="2"/>
                  </a:cxn>
                  <a:cxn ang="0">
                    <a:pos x="20" y="0"/>
                  </a:cxn>
                  <a:cxn ang="0">
                    <a:pos x="15" y="0"/>
                  </a:cxn>
                </a:cxnLst>
                <a:rect l="0" t="0" r="r" b="b"/>
                <a:pathLst>
                  <a:path w="30" h="24">
                    <a:moveTo>
                      <a:pt x="15" y="0"/>
                    </a:moveTo>
                    <a:lnTo>
                      <a:pt x="15" y="0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7" y="2"/>
                    </a:lnTo>
                    <a:lnTo>
                      <a:pt x="2" y="6"/>
                    </a:lnTo>
                    <a:lnTo>
                      <a:pt x="0" y="11"/>
                    </a:lnTo>
                    <a:lnTo>
                      <a:pt x="2" y="15"/>
                    </a:lnTo>
                    <a:lnTo>
                      <a:pt x="2" y="15"/>
                    </a:lnTo>
                    <a:lnTo>
                      <a:pt x="5" y="19"/>
                    </a:lnTo>
                    <a:lnTo>
                      <a:pt x="7" y="23"/>
                    </a:lnTo>
                    <a:lnTo>
                      <a:pt x="11" y="24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4" y="23"/>
                    </a:lnTo>
                    <a:lnTo>
                      <a:pt x="28" y="19"/>
                    </a:lnTo>
                    <a:lnTo>
                      <a:pt x="30" y="15"/>
                    </a:lnTo>
                    <a:lnTo>
                      <a:pt x="30" y="9"/>
                    </a:lnTo>
                    <a:lnTo>
                      <a:pt x="30" y="9"/>
                    </a:lnTo>
                    <a:lnTo>
                      <a:pt x="28" y="6"/>
                    </a:lnTo>
                    <a:lnTo>
                      <a:pt x="24" y="2"/>
                    </a:lnTo>
                    <a:lnTo>
                      <a:pt x="20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20" name="Freeform 331"/>
              <p:cNvSpPr>
                <a:spLocks/>
              </p:cNvSpPr>
              <p:nvPr userDrawn="1"/>
            </p:nvSpPr>
            <p:spPr bwMode="auto">
              <a:xfrm>
                <a:off x="3248" y="3713"/>
                <a:ext cx="30" cy="24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7" y="2"/>
                  </a:cxn>
                  <a:cxn ang="0">
                    <a:pos x="2" y="6"/>
                  </a:cxn>
                  <a:cxn ang="0">
                    <a:pos x="0" y="11"/>
                  </a:cxn>
                  <a:cxn ang="0">
                    <a:pos x="2" y="15"/>
                  </a:cxn>
                  <a:cxn ang="0">
                    <a:pos x="2" y="15"/>
                  </a:cxn>
                  <a:cxn ang="0">
                    <a:pos x="5" y="19"/>
                  </a:cxn>
                  <a:cxn ang="0">
                    <a:pos x="7" y="23"/>
                  </a:cxn>
                  <a:cxn ang="0">
                    <a:pos x="11" y="24"/>
                  </a:cxn>
                  <a:cxn ang="0">
                    <a:pos x="15" y="24"/>
                  </a:cxn>
                  <a:cxn ang="0">
                    <a:pos x="15" y="24"/>
                  </a:cxn>
                  <a:cxn ang="0">
                    <a:pos x="20" y="24"/>
                  </a:cxn>
                  <a:cxn ang="0">
                    <a:pos x="20" y="24"/>
                  </a:cxn>
                  <a:cxn ang="0">
                    <a:pos x="24" y="23"/>
                  </a:cxn>
                  <a:cxn ang="0">
                    <a:pos x="28" y="19"/>
                  </a:cxn>
                  <a:cxn ang="0">
                    <a:pos x="30" y="15"/>
                  </a:cxn>
                  <a:cxn ang="0">
                    <a:pos x="30" y="9"/>
                  </a:cxn>
                  <a:cxn ang="0">
                    <a:pos x="30" y="9"/>
                  </a:cxn>
                  <a:cxn ang="0">
                    <a:pos x="28" y="6"/>
                  </a:cxn>
                  <a:cxn ang="0">
                    <a:pos x="24" y="2"/>
                  </a:cxn>
                  <a:cxn ang="0">
                    <a:pos x="20" y="0"/>
                  </a:cxn>
                  <a:cxn ang="0">
                    <a:pos x="15" y="0"/>
                  </a:cxn>
                </a:cxnLst>
                <a:rect l="0" t="0" r="r" b="b"/>
                <a:pathLst>
                  <a:path w="30" h="24">
                    <a:moveTo>
                      <a:pt x="15" y="0"/>
                    </a:moveTo>
                    <a:lnTo>
                      <a:pt x="15" y="0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7" y="2"/>
                    </a:lnTo>
                    <a:lnTo>
                      <a:pt x="2" y="6"/>
                    </a:lnTo>
                    <a:lnTo>
                      <a:pt x="0" y="11"/>
                    </a:lnTo>
                    <a:lnTo>
                      <a:pt x="2" y="15"/>
                    </a:lnTo>
                    <a:lnTo>
                      <a:pt x="2" y="15"/>
                    </a:lnTo>
                    <a:lnTo>
                      <a:pt x="5" y="19"/>
                    </a:lnTo>
                    <a:lnTo>
                      <a:pt x="7" y="23"/>
                    </a:lnTo>
                    <a:lnTo>
                      <a:pt x="11" y="24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4" y="23"/>
                    </a:lnTo>
                    <a:lnTo>
                      <a:pt x="28" y="19"/>
                    </a:lnTo>
                    <a:lnTo>
                      <a:pt x="30" y="15"/>
                    </a:lnTo>
                    <a:lnTo>
                      <a:pt x="30" y="9"/>
                    </a:lnTo>
                    <a:lnTo>
                      <a:pt x="30" y="9"/>
                    </a:lnTo>
                    <a:lnTo>
                      <a:pt x="28" y="6"/>
                    </a:lnTo>
                    <a:lnTo>
                      <a:pt x="24" y="2"/>
                    </a:lnTo>
                    <a:lnTo>
                      <a:pt x="20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21" name="Freeform 332"/>
              <p:cNvSpPr>
                <a:spLocks/>
              </p:cNvSpPr>
              <p:nvPr userDrawn="1"/>
            </p:nvSpPr>
            <p:spPr bwMode="auto">
              <a:xfrm>
                <a:off x="3194" y="3695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6" y="20"/>
                  </a:cxn>
                  <a:cxn ang="0">
                    <a:pos x="8" y="22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2"/>
                  </a:cxn>
                  <a:cxn ang="0">
                    <a:pos x="16" y="22"/>
                  </a:cxn>
                  <a:cxn ang="0">
                    <a:pos x="20" y="20"/>
                  </a:cxn>
                  <a:cxn ang="0">
                    <a:pos x="22" y="18"/>
                  </a:cxn>
                  <a:cxn ang="0">
                    <a:pos x="24" y="12"/>
                  </a:cxn>
                  <a:cxn ang="0">
                    <a:pos x="24" y="8"/>
                  </a:cxn>
                  <a:cxn ang="0">
                    <a:pos x="24" y="8"/>
                  </a:cxn>
                  <a:cxn ang="0">
                    <a:pos x="22" y="4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6" y="20"/>
                    </a:lnTo>
                    <a:lnTo>
                      <a:pt x="8" y="22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20" y="20"/>
                    </a:lnTo>
                    <a:lnTo>
                      <a:pt x="22" y="18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2" y="4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22" name="Freeform 333"/>
              <p:cNvSpPr>
                <a:spLocks/>
              </p:cNvSpPr>
              <p:nvPr userDrawn="1"/>
            </p:nvSpPr>
            <p:spPr bwMode="auto">
              <a:xfrm>
                <a:off x="3194" y="3695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6" y="20"/>
                  </a:cxn>
                  <a:cxn ang="0">
                    <a:pos x="8" y="22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2"/>
                  </a:cxn>
                  <a:cxn ang="0">
                    <a:pos x="16" y="22"/>
                  </a:cxn>
                  <a:cxn ang="0">
                    <a:pos x="20" y="20"/>
                  </a:cxn>
                  <a:cxn ang="0">
                    <a:pos x="22" y="18"/>
                  </a:cxn>
                  <a:cxn ang="0">
                    <a:pos x="24" y="12"/>
                  </a:cxn>
                  <a:cxn ang="0">
                    <a:pos x="24" y="8"/>
                  </a:cxn>
                  <a:cxn ang="0">
                    <a:pos x="24" y="8"/>
                  </a:cxn>
                  <a:cxn ang="0">
                    <a:pos x="22" y="4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6" y="20"/>
                    </a:lnTo>
                    <a:lnTo>
                      <a:pt x="8" y="22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20" y="20"/>
                    </a:lnTo>
                    <a:lnTo>
                      <a:pt x="22" y="18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2" y="4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23" name="Freeform 334"/>
              <p:cNvSpPr>
                <a:spLocks/>
              </p:cNvSpPr>
              <p:nvPr userDrawn="1"/>
            </p:nvSpPr>
            <p:spPr bwMode="auto">
              <a:xfrm>
                <a:off x="3140" y="3671"/>
                <a:ext cx="18" cy="24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7"/>
                  </a:cxn>
                  <a:cxn ang="0">
                    <a:pos x="0" y="11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2" y="20"/>
                  </a:cxn>
                  <a:cxn ang="0">
                    <a:pos x="4" y="22"/>
                  </a:cxn>
                  <a:cxn ang="0">
                    <a:pos x="9" y="24"/>
                  </a:cxn>
                  <a:cxn ang="0">
                    <a:pos x="9" y="24"/>
                  </a:cxn>
                  <a:cxn ang="0">
                    <a:pos x="13" y="24"/>
                  </a:cxn>
                  <a:cxn ang="0">
                    <a:pos x="13" y="24"/>
                  </a:cxn>
                  <a:cxn ang="0">
                    <a:pos x="15" y="22"/>
                  </a:cxn>
                  <a:cxn ang="0">
                    <a:pos x="18" y="18"/>
                  </a:cxn>
                  <a:cxn ang="0">
                    <a:pos x="18" y="13"/>
                  </a:cxn>
                  <a:cxn ang="0">
                    <a:pos x="18" y="9"/>
                  </a:cxn>
                  <a:cxn ang="0">
                    <a:pos x="18" y="9"/>
                  </a:cxn>
                  <a:cxn ang="0">
                    <a:pos x="18" y="7"/>
                  </a:cxn>
                  <a:cxn ang="0">
                    <a:pos x="15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24">
                    <a:moveTo>
                      <a:pt x="9" y="0"/>
                    </a:moveTo>
                    <a:lnTo>
                      <a:pt x="9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0" y="7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2" y="20"/>
                    </a:lnTo>
                    <a:lnTo>
                      <a:pt x="4" y="22"/>
                    </a:lnTo>
                    <a:lnTo>
                      <a:pt x="9" y="24"/>
                    </a:lnTo>
                    <a:lnTo>
                      <a:pt x="9" y="24"/>
                    </a:lnTo>
                    <a:lnTo>
                      <a:pt x="13" y="24"/>
                    </a:lnTo>
                    <a:lnTo>
                      <a:pt x="13" y="24"/>
                    </a:lnTo>
                    <a:lnTo>
                      <a:pt x="15" y="22"/>
                    </a:lnTo>
                    <a:lnTo>
                      <a:pt x="18" y="18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7"/>
                    </a:lnTo>
                    <a:lnTo>
                      <a:pt x="15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24" name="Freeform 335"/>
              <p:cNvSpPr>
                <a:spLocks/>
              </p:cNvSpPr>
              <p:nvPr userDrawn="1"/>
            </p:nvSpPr>
            <p:spPr bwMode="auto">
              <a:xfrm>
                <a:off x="3140" y="3671"/>
                <a:ext cx="18" cy="24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7"/>
                  </a:cxn>
                  <a:cxn ang="0">
                    <a:pos x="0" y="11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2" y="20"/>
                  </a:cxn>
                  <a:cxn ang="0">
                    <a:pos x="4" y="22"/>
                  </a:cxn>
                  <a:cxn ang="0">
                    <a:pos x="9" y="24"/>
                  </a:cxn>
                  <a:cxn ang="0">
                    <a:pos x="9" y="24"/>
                  </a:cxn>
                  <a:cxn ang="0">
                    <a:pos x="13" y="24"/>
                  </a:cxn>
                  <a:cxn ang="0">
                    <a:pos x="13" y="24"/>
                  </a:cxn>
                  <a:cxn ang="0">
                    <a:pos x="15" y="22"/>
                  </a:cxn>
                  <a:cxn ang="0">
                    <a:pos x="18" y="18"/>
                  </a:cxn>
                  <a:cxn ang="0">
                    <a:pos x="18" y="13"/>
                  </a:cxn>
                  <a:cxn ang="0">
                    <a:pos x="18" y="9"/>
                  </a:cxn>
                  <a:cxn ang="0">
                    <a:pos x="18" y="9"/>
                  </a:cxn>
                  <a:cxn ang="0">
                    <a:pos x="18" y="7"/>
                  </a:cxn>
                  <a:cxn ang="0">
                    <a:pos x="15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24">
                    <a:moveTo>
                      <a:pt x="9" y="0"/>
                    </a:moveTo>
                    <a:lnTo>
                      <a:pt x="9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0" y="7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2" y="20"/>
                    </a:lnTo>
                    <a:lnTo>
                      <a:pt x="4" y="22"/>
                    </a:lnTo>
                    <a:lnTo>
                      <a:pt x="9" y="24"/>
                    </a:lnTo>
                    <a:lnTo>
                      <a:pt x="9" y="24"/>
                    </a:lnTo>
                    <a:lnTo>
                      <a:pt x="13" y="24"/>
                    </a:lnTo>
                    <a:lnTo>
                      <a:pt x="13" y="24"/>
                    </a:lnTo>
                    <a:lnTo>
                      <a:pt x="15" y="22"/>
                    </a:lnTo>
                    <a:lnTo>
                      <a:pt x="18" y="18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7"/>
                    </a:lnTo>
                    <a:lnTo>
                      <a:pt x="15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25" name="Freeform 336"/>
              <p:cNvSpPr>
                <a:spLocks/>
              </p:cNvSpPr>
              <p:nvPr userDrawn="1"/>
            </p:nvSpPr>
            <p:spPr bwMode="auto">
              <a:xfrm>
                <a:off x="3086" y="3635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5" y="3"/>
                  </a:cxn>
                  <a:cxn ang="0">
                    <a:pos x="0" y="5"/>
                  </a:cxn>
                  <a:cxn ang="0">
                    <a:pos x="0" y="10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5" y="22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5" y="22"/>
                  </a:cxn>
                  <a:cxn ang="0">
                    <a:pos x="15" y="22"/>
                  </a:cxn>
                  <a:cxn ang="0">
                    <a:pos x="20" y="22"/>
                  </a:cxn>
                  <a:cxn ang="0">
                    <a:pos x="22" y="17"/>
                  </a:cxn>
                  <a:cxn ang="0">
                    <a:pos x="24" y="12"/>
                  </a:cxn>
                  <a:cxn ang="0">
                    <a:pos x="22" y="10"/>
                  </a:cxn>
                  <a:cxn ang="0">
                    <a:pos x="22" y="10"/>
                  </a:cxn>
                  <a:cxn ang="0">
                    <a:pos x="20" y="3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5" y="3"/>
                    </a:lnTo>
                    <a:lnTo>
                      <a:pt x="0" y="5"/>
                    </a:lnTo>
                    <a:lnTo>
                      <a:pt x="0" y="10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5" y="22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5" y="22"/>
                    </a:lnTo>
                    <a:lnTo>
                      <a:pt x="15" y="22"/>
                    </a:lnTo>
                    <a:lnTo>
                      <a:pt x="20" y="22"/>
                    </a:lnTo>
                    <a:lnTo>
                      <a:pt x="22" y="17"/>
                    </a:lnTo>
                    <a:lnTo>
                      <a:pt x="24" y="12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0" y="3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26" name="Freeform 337"/>
              <p:cNvSpPr>
                <a:spLocks/>
              </p:cNvSpPr>
              <p:nvPr userDrawn="1"/>
            </p:nvSpPr>
            <p:spPr bwMode="auto">
              <a:xfrm>
                <a:off x="3086" y="3635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5" y="3"/>
                  </a:cxn>
                  <a:cxn ang="0">
                    <a:pos x="0" y="5"/>
                  </a:cxn>
                  <a:cxn ang="0">
                    <a:pos x="0" y="10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5" y="22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5" y="22"/>
                  </a:cxn>
                  <a:cxn ang="0">
                    <a:pos x="15" y="22"/>
                  </a:cxn>
                  <a:cxn ang="0">
                    <a:pos x="20" y="22"/>
                  </a:cxn>
                  <a:cxn ang="0">
                    <a:pos x="22" y="17"/>
                  </a:cxn>
                  <a:cxn ang="0">
                    <a:pos x="24" y="12"/>
                  </a:cxn>
                  <a:cxn ang="0">
                    <a:pos x="22" y="10"/>
                  </a:cxn>
                  <a:cxn ang="0">
                    <a:pos x="22" y="10"/>
                  </a:cxn>
                  <a:cxn ang="0">
                    <a:pos x="20" y="3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5" y="3"/>
                    </a:lnTo>
                    <a:lnTo>
                      <a:pt x="0" y="5"/>
                    </a:lnTo>
                    <a:lnTo>
                      <a:pt x="0" y="10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5" y="22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5" y="22"/>
                    </a:lnTo>
                    <a:lnTo>
                      <a:pt x="15" y="22"/>
                    </a:lnTo>
                    <a:lnTo>
                      <a:pt x="20" y="22"/>
                    </a:lnTo>
                    <a:lnTo>
                      <a:pt x="22" y="17"/>
                    </a:lnTo>
                    <a:lnTo>
                      <a:pt x="24" y="12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0" y="3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27" name="Freeform 338"/>
              <p:cNvSpPr>
                <a:spLocks/>
              </p:cNvSpPr>
              <p:nvPr userDrawn="1"/>
            </p:nvSpPr>
            <p:spPr bwMode="auto">
              <a:xfrm>
                <a:off x="3044" y="3593"/>
                <a:ext cx="18" cy="18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4" y="16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8"/>
                  </a:cxn>
                  <a:cxn ang="0">
                    <a:pos x="12" y="18"/>
                  </a:cxn>
                  <a:cxn ang="0">
                    <a:pos x="16" y="16"/>
                  </a:cxn>
                  <a:cxn ang="0">
                    <a:pos x="18" y="14"/>
                  </a:cxn>
                  <a:cxn ang="0">
                    <a:pos x="18" y="10"/>
                  </a:cxn>
                  <a:cxn ang="0">
                    <a:pos x="18" y="8"/>
                  </a:cxn>
                  <a:cxn ang="0">
                    <a:pos x="18" y="8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4" y="16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6" y="16"/>
                    </a:lnTo>
                    <a:lnTo>
                      <a:pt x="18" y="14"/>
                    </a:lnTo>
                    <a:lnTo>
                      <a:pt x="18" y="10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4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28" name="Freeform 339"/>
              <p:cNvSpPr>
                <a:spLocks/>
              </p:cNvSpPr>
              <p:nvPr userDrawn="1"/>
            </p:nvSpPr>
            <p:spPr bwMode="auto">
              <a:xfrm>
                <a:off x="3044" y="3593"/>
                <a:ext cx="18" cy="18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4" y="16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8"/>
                  </a:cxn>
                  <a:cxn ang="0">
                    <a:pos x="12" y="18"/>
                  </a:cxn>
                  <a:cxn ang="0">
                    <a:pos x="16" y="16"/>
                  </a:cxn>
                  <a:cxn ang="0">
                    <a:pos x="18" y="14"/>
                  </a:cxn>
                  <a:cxn ang="0">
                    <a:pos x="18" y="10"/>
                  </a:cxn>
                  <a:cxn ang="0">
                    <a:pos x="18" y="8"/>
                  </a:cxn>
                  <a:cxn ang="0">
                    <a:pos x="18" y="8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4" y="16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6" y="16"/>
                    </a:lnTo>
                    <a:lnTo>
                      <a:pt x="18" y="14"/>
                    </a:lnTo>
                    <a:lnTo>
                      <a:pt x="18" y="10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4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29" name="Freeform 340"/>
              <p:cNvSpPr>
                <a:spLocks/>
              </p:cNvSpPr>
              <p:nvPr userDrawn="1"/>
            </p:nvSpPr>
            <p:spPr bwMode="auto">
              <a:xfrm>
                <a:off x="3008" y="3545"/>
                <a:ext cx="18" cy="12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7" y="0"/>
                  </a:cxn>
                  <a:cxn ang="0">
                    <a:pos x="7" y="0"/>
                  </a:cxn>
                  <a:cxn ang="0">
                    <a:pos x="5" y="0"/>
                  </a:cxn>
                  <a:cxn ang="0">
                    <a:pos x="2" y="4"/>
                  </a:cxn>
                  <a:cxn ang="0">
                    <a:pos x="0" y="5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5" y="12"/>
                  </a:cxn>
                  <a:cxn ang="0">
                    <a:pos x="9" y="12"/>
                  </a:cxn>
                  <a:cxn ang="0">
                    <a:pos x="9" y="12"/>
                  </a:cxn>
                  <a:cxn ang="0">
                    <a:pos x="11" y="12"/>
                  </a:cxn>
                  <a:cxn ang="0">
                    <a:pos x="11" y="12"/>
                  </a:cxn>
                  <a:cxn ang="0">
                    <a:pos x="14" y="12"/>
                  </a:cxn>
                  <a:cxn ang="0">
                    <a:pos x="16" y="9"/>
                  </a:cxn>
                  <a:cxn ang="0">
                    <a:pos x="18" y="7"/>
                  </a:cxn>
                  <a:cxn ang="0">
                    <a:pos x="18" y="4"/>
                  </a:cxn>
                  <a:cxn ang="0">
                    <a:pos x="18" y="4"/>
                  </a:cxn>
                  <a:cxn ang="0">
                    <a:pos x="14" y="0"/>
                  </a:cxn>
                  <a:cxn ang="0">
                    <a:pos x="9" y="0"/>
                  </a:cxn>
                </a:cxnLst>
                <a:rect l="0" t="0" r="r" b="b"/>
                <a:pathLst>
                  <a:path w="18" h="12">
                    <a:moveTo>
                      <a:pt x="9" y="0"/>
                    </a:moveTo>
                    <a:lnTo>
                      <a:pt x="9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5" y="0"/>
                    </a:lnTo>
                    <a:lnTo>
                      <a:pt x="2" y="4"/>
                    </a:lnTo>
                    <a:lnTo>
                      <a:pt x="0" y="5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5" y="12"/>
                    </a:lnTo>
                    <a:lnTo>
                      <a:pt x="9" y="12"/>
                    </a:lnTo>
                    <a:lnTo>
                      <a:pt x="9" y="12"/>
                    </a:lnTo>
                    <a:lnTo>
                      <a:pt x="11" y="12"/>
                    </a:lnTo>
                    <a:lnTo>
                      <a:pt x="11" y="12"/>
                    </a:lnTo>
                    <a:lnTo>
                      <a:pt x="14" y="12"/>
                    </a:lnTo>
                    <a:lnTo>
                      <a:pt x="16" y="9"/>
                    </a:lnTo>
                    <a:lnTo>
                      <a:pt x="18" y="7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4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30" name="Freeform 341"/>
              <p:cNvSpPr>
                <a:spLocks/>
              </p:cNvSpPr>
              <p:nvPr userDrawn="1"/>
            </p:nvSpPr>
            <p:spPr bwMode="auto">
              <a:xfrm>
                <a:off x="3008" y="3545"/>
                <a:ext cx="18" cy="12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7" y="0"/>
                  </a:cxn>
                  <a:cxn ang="0">
                    <a:pos x="7" y="0"/>
                  </a:cxn>
                  <a:cxn ang="0">
                    <a:pos x="5" y="0"/>
                  </a:cxn>
                  <a:cxn ang="0">
                    <a:pos x="2" y="4"/>
                  </a:cxn>
                  <a:cxn ang="0">
                    <a:pos x="0" y="5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5" y="12"/>
                  </a:cxn>
                  <a:cxn ang="0">
                    <a:pos x="9" y="12"/>
                  </a:cxn>
                  <a:cxn ang="0">
                    <a:pos x="9" y="12"/>
                  </a:cxn>
                  <a:cxn ang="0">
                    <a:pos x="11" y="12"/>
                  </a:cxn>
                  <a:cxn ang="0">
                    <a:pos x="11" y="12"/>
                  </a:cxn>
                  <a:cxn ang="0">
                    <a:pos x="14" y="12"/>
                  </a:cxn>
                  <a:cxn ang="0">
                    <a:pos x="16" y="9"/>
                  </a:cxn>
                  <a:cxn ang="0">
                    <a:pos x="18" y="7"/>
                  </a:cxn>
                  <a:cxn ang="0">
                    <a:pos x="18" y="4"/>
                  </a:cxn>
                  <a:cxn ang="0">
                    <a:pos x="18" y="4"/>
                  </a:cxn>
                  <a:cxn ang="0">
                    <a:pos x="14" y="0"/>
                  </a:cxn>
                  <a:cxn ang="0">
                    <a:pos x="9" y="0"/>
                  </a:cxn>
                </a:cxnLst>
                <a:rect l="0" t="0" r="r" b="b"/>
                <a:pathLst>
                  <a:path w="18" h="12">
                    <a:moveTo>
                      <a:pt x="9" y="0"/>
                    </a:moveTo>
                    <a:lnTo>
                      <a:pt x="9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5" y="0"/>
                    </a:lnTo>
                    <a:lnTo>
                      <a:pt x="2" y="4"/>
                    </a:lnTo>
                    <a:lnTo>
                      <a:pt x="0" y="5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5" y="12"/>
                    </a:lnTo>
                    <a:lnTo>
                      <a:pt x="9" y="12"/>
                    </a:lnTo>
                    <a:lnTo>
                      <a:pt x="9" y="12"/>
                    </a:lnTo>
                    <a:lnTo>
                      <a:pt x="11" y="12"/>
                    </a:lnTo>
                    <a:lnTo>
                      <a:pt x="11" y="12"/>
                    </a:lnTo>
                    <a:lnTo>
                      <a:pt x="14" y="12"/>
                    </a:lnTo>
                    <a:lnTo>
                      <a:pt x="16" y="9"/>
                    </a:lnTo>
                    <a:lnTo>
                      <a:pt x="18" y="7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4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31" name="Freeform 342"/>
              <p:cNvSpPr>
                <a:spLocks/>
              </p:cNvSpPr>
              <p:nvPr userDrawn="1"/>
            </p:nvSpPr>
            <p:spPr bwMode="auto">
              <a:xfrm>
                <a:off x="2984" y="3491"/>
                <a:ext cx="12" cy="12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4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2" y="11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2" y="9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2" y="11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9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32" name="Freeform 343"/>
              <p:cNvSpPr>
                <a:spLocks/>
              </p:cNvSpPr>
              <p:nvPr userDrawn="1"/>
            </p:nvSpPr>
            <p:spPr bwMode="auto">
              <a:xfrm>
                <a:off x="2984" y="3491"/>
                <a:ext cx="12" cy="12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4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2" y="11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2" y="9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2" y="11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9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33" name="Freeform 344"/>
              <p:cNvSpPr>
                <a:spLocks/>
              </p:cNvSpPr>
              <p:nvPr userDrawn="1"/>
            </p:nvSpPr>
            <p:spPr bwMode="auto">
              <a:xfrm>
                <a:off x="2972" y="3431"/>
                <a:ext cx="12" cy="12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4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2" y="11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2" y="9"/>
                  </a:cxn>
                  <a:cxn ang="0">
                    <a:pos x="12" y="5"/>
                  </a:cxn>
                  <a:cxn ang="0">
                    <a:pos x="12" y="5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2" y="11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9"/>
                    </a:lnTo>
                    <a:lnTo>
                      <a:pt x="12" y="5"/>
                    </a:lnTo>
                    <a:lnTo>
                      <a:pt x="12" y="5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34" name="Freeform 345"/>
              <p:cNvSpPr>
                <a:spLocks/>
              </p:cNvSpPr>
              <p:nvPr userDrawn="1"/>
            </p:nvSpPr>
            <p:spPr bwMode="auto">
              <a:xfrm>
                <a:off x="2972" y="3431"/>
                <a:ext cx="12" cy="12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4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2" y="11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2" y="9"/>
                  </a:cxn>
                  <a:cxn ang="0">
                    <a:pos x="12" y="5"/>
                  </a:cxn>
                  <a:cxn ang="0">
                    <a:pos x="12" y="5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2" y="11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9"/>
                    </a:lnTo>
                    <a:lnTo>
                      <a:pt x="12" y="5"/>
                    </a:lnTo>
                    <a:lnTo>
                      <a:pt x="12" y="5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35" name="Freeform 346"/>
              <p:cNvSpPr>
                <a:spLocks/>
              </p:cNvSpPr>
              <p:nvPr userDrawn="1"/>
            </p:nvSpPr>
            <p:spPr bwMode="auto">
              <a:xfrm>
                <a:off x="3434" y="3689"/>
                <a:ext cx="30" cy="36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11" y="2"/>
                  </a:cxn>
                  <a:cxn ang="0">
                    <a:pos x="11" y="2"/>
                  </a:cxn>
                  <a:cxn ang="0">
                    <a:pos x="6" y="5"/>
                  </a:cxn>
                  <a:cxn ang="0">
                    <a:pos x="2" y="11"/>
                  </a:cxn>
                  <a:cxn ang="0">
                    <a:pos x="0" y="17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2" y="28"/>
                  </a:cxn>
                  <a:cxn ang="0">
                    <a:pos x="6" y="32"/>
                  </a:cxn>
                  <a:cxn ang="0">
                    <a:pos x="9" y="34"/>
                  </a:cxn>
                  <a:cxn ang="0">
                    <a:pos x="15" y="36"/>
                  </a:cxn>
                  <a:cxn ang="0">
                    <a:pos x="15" y="36"/>
                  </a:cxn>
                  <a:cxn ang="0">
                    <a:pos x="19" y="36"/>
                  </a:cxn>
                  <a:cxn ang="0">
                    <a:pos x="19" y="36"/>
                  </a:cxn>
                  <a:cxn ang="0">
                    <a:pos x="24" y="32"/>
                  </a:cxn>
                  <a:cxn ang="0">
                    <a:pos x="28" y="28"/>
                  </a:cxn>
                  <a:cxn ang="0">
                    <a:pos x="30" y="21"/>
                  </a:cxn>
                  <a:cxn ang="0">
                    <a:pos x="30" y="15"/>
                  </a:cxn>
                  <a:cxn ang="0">
                    <a:pos x="30" y="15"/>
                  </a:cxn>
                  <a:cxn ang="0">
                    <a:pos x="28" y="9"/>
                  </a:cxn>
                  <a:cxn ang="0">
                    <a:pos x="24" y="5"/>
                  </a:cxn>
                  <a:cxn ang="0">
                    <a:pos x="19" y="2"/>
                  </a:cxn>
                  <a:cxn ang="0">
                    <a:pos x="15" y="0"/>
                  </a:cxn>
                </a:cxnLst>
                <a:rect l="0" t="0" r="r" b="b"/>
                <a:pathLst>
                  <a:path w="30" h="36">
                    <a:moveTo>
                      <a:pt x="15" y="0"/>
                    </a:moveTo>
                    <a:lnTo>
                      <a:pt x="15" y="0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6" y="5"/>
                    </a:lnTo>
                    <a:lnTo>
                      <a:pt x="2" y="11"/>
                    </a:lnTo>
                    <a:lnTo>
                      <a:pt x="0" y="17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28"/>
                    </a:lnTo>
                    <a:lnTo>
                      <a:pt x="6" y="32"/>
                    </a:lnTo>
                    <a:lnTo>
                      <a:pt x="9" y="34"/>
                    </a:lnTo>
                    <a:lnTo>
                      <a:pt x="15" y="36"/>
                    </a:lnTo>
                    <a:lnTo>
                      <a:pt x="15" y="36"/>
                    </a:lnTo>
                    <a:lnTo>
                      <a:pt x="19" y="36"/>
                    </a:lnTo>
                    <a:lnTo>
                      <a:pt x="19" y="36"/>
                    </a:lnTo>
                    <a:lnTo>
                      <a:pt x="24" y="32"/>
                    </a:lnTo>
                    <a:lnTo>
                      <a:pt x="28" y="28"/>
                    </a:lnTo>
                    <a:lnTo>
                      <a:pt x="30" y="21"/>
                    </a:lnTo>
                    <a:lnTo>
                      <a:pt x="30" y="15"/>
                    </a:lnTo>
                    <a:lnTo>
                      <a:pt x="30" y="15"/>
                    </a:lnTo>
                    <a:lnTo>
                      <a:pt x="28" y="9"/>
                    </a:lnTo>
                    <a:lnTo>
                      <a:pt x="24" y="5"/>
                    </a:lnTo>
                    <a:lnTo>
                      <a:pt x="19" y="2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36" name="Freeform 347"/>
              <p:cNvSpPr>
                <a:spLocks/>
              </p:cNvSpPr>
              <p:nvPr userDrawn="1"/>
            </p:nvSpPr>
            <p:spPr bwMode="auto">
              <a:xfrm>
                <a:off x="3434" y="3689"/>
                <a:ext cx="30" cy="36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11" y="2"/>
                  </a:cxn>
                  <a:cxn ang="0">
                    <a:pos x="11" y="2"/>
                  </a:cxn>
                  <a:cxn ang="0">
                    <a:pos x="6" y="5"/>
                  </a:cxn>
                  <a:cxn ang="0">
                    <a:pos x="2" y="11"/>
                  </a:cxn>
                  <a:cxn ang="0">
                    <a:pos x="0" y="17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2" y="28"/>
                  </a:cxn>
                  <a:cxn ang="0">
                    <a:pos x="6" y="32"/>
                  </a:cxn>
                  <a:cxn ang="0">
                    <a:pos x="9" y="34"/>
                  </a:cxn>
                  <a:cxn ang="0">
                    <a:pos x="15" y="36"/>
                  </a:cxn>
                  <a:cxn ang="0">
                    <a:pos x="15" y="36"/>
                  </a:cxn>
                  <a:cxn ang="0">
                    <a:pos x="19" y="36"/>
                  </a:cxn>
                  <a:cxn ang="0">
                    <a:pos x="19" y="36"/>
                  </a:cxn>
                  <a:cxn ang="0">
                    <a:pos x="24" y="32"/>
                  </a:cxn>
                  <a:cxn ang="0">
                    <a:pos x="28" y="28"/>
                  </a:cxn>
                  <a:cxn ang="0">
                    <a:pos x="30" y="21"/>
                  </a:cxn>
                  <a:cxn ang="0">
                    <a:pos x="30" y="15"/>
                  </a:cxn>
                  <a:cxn ang="0">
                    <a:pos x="30" y="15"/>
                  </a:cxn>
                  <a:cxn ang="0">
                    <a:pos x="28" y="9"/>
                  </a:cxn>
                  <a:cxn ang="0">
                    <a:pos x="24" y="5"/>
                  </a:cxn>
                  <a:cxn ang="0">
                    <a:pos x="19" y="2"/>
                  </a:cxn>
                  <a:cxn ang="0">
                    <a:pos x="15" y="0"/>
                  </a:cxn>
                </a:cxnLst>
                <a:rect l="0" t="0" r="r" b="b"/>
                <a:pathLst>
                  <a:path w="30" h="36">
                    <a:moveTo>
                      <a:pt x="15" y="0"/>
                    </a:moveTo>
                    <a:lnTo>
                      <a:pt x="15" y="0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6" y="5"/>
                    </a:lnTo>
                    <a:lnTo>
                      <a:pt x="2" y="11"/>
                    </a:lnTo>
                    <a:lnTo>
                      <a:pt x="0" y="17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28"/>
                    </a:lnTo>
                    <a:lnTo>
                      <a:pt x="6" y="32"/>
                    </a:lnTo>
                    <a:lnTo>
                      <a:pt x="9" y="34"/>
                    </a:lnTo>
                    <a:lnTo>
                      <a:pt x="15" y="36"/>
                    </a:lnTo>
                    <a:lnTo>
                      <a:pt x="15" y="36"/>
                    </a:lnTo>
                    <a:lnTo>
                      <a:pt x="19" y="36"/>
                    </a:lnTo>
                    <a:lnTo>
                      <a:pt x="19" y="36"/>
                    </a:lnTo>
                    <a:lnTo>
                      <a:pt x="24" y="32"/>
                    </a:lnTo>
                    <a:lnTo>
                      <a:pt x="28" y="28"/>
                    </a:lnTo>
                    <a:lnTo>
                      <a:pt x="30" y="21"/>
                    </a:lnTo>
                    <a:lnTo>
                      <a:pt x="30" y="15"/>
                    </a:lnTo>
                    <a:lnTo>
                      <a:pt x="30" y="15"/>
                    </a:lnTo>
                    <a:lnTo>
                      <a:pt x="28" y="9"/>
                    </a:lnTo>
                    <a:lnTo>
                      <a:pt x="24" y="5"/>
                    </a:lnTo>
                    <a:lnTo>
                      <a:pt x="19" y="2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37" name="Freeform 348"/>
              <p:cNvSpPr>
                <a:spLocks/>
              </p:cNvSpPr>
              <p:nvPr userDrawn="1"/>
            </p:nvSpPr>
            <p:spPr bwMode="auto">
              <a:xfrm>
                <a:off x="3488" y="3665"/>
                <a:ext cx="30" cy="30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5" y="4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5" y="26"/>
                  </a:cxn>
                  <a:cxn ang="0">
                    <a:pos x="9" y="30"/>
                  </a:cxn>
                  <a:cxn ang="0">
                    <a:pos x="15" y="30"/>
                  </a:cxn>
                  <a:cxn ang="0">
                    <a:pos x="15" y="30"/>
                  </a:cxn>
                  <a:cxn ang="0">
                    <a:pos x="20" y="30"/>
                  </a:cxn>
                  <a:cxn ang="0">
                    <a:pos x="20" y="30"/>
                  </a:cxn>
                  <a:cxn ang="0">
                    <a:pos x="24" y="26"/>
                  </a:cxn>
                  <a:cxn ang="0">
                    <a:pos x="28" y="22"/>
                  </a:cxn>
                  <a:cxn ang="0">
                    <a:pos x="30" y="18"/>
                  </a:cxn>
                  <a:cxn ang="0">
                    <a:pos x="30" y="12"/>
                  </a:cxn>
                  <a:cxn ang="0">
                    <a:pos x="30" y="12"/>
                  </a:cxn>
                  <a:cxn ang="0">
                    <a:pos x="28" y="6"/>
                  </a:cxn>
                  <a:cxn ang="0">
                    <a:pos x="24" y="4"/>
                  </a:cxn>
                  <a:cxn ang="0">
                    <a:pos x="20" y="2"/>
                  </a:cxn>
                  <a:cxn ang="0">
                    <a:pos x="15" y="0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5" y="0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5" y="4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5" y="26"/>
                    </a:lnTo>
                    <a:lnTo>
                      <a:pt x="9" y="30"/>
                    </a:lnTo>
                    <a:lnTo>
                      <a:pt x="15" y="30"/>
                    </a:lnTo>
                    <a:lnTo>
                      <a:pt x="15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4" y="26"/>
                    </a:lnTo>
                    <a:lnTo>
                      <a:pt x="28" y="22"/>
                    </a:lnTo>
                    <a:lnTo>
                      <a:pt x="30" y="18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28" y="6"/>
                    </a:lnTo>
                    <a:lnTo>
                      <a:pt x="24" y="4"/>
                    </a:lnTo>
                    <a:lnTo>
                      <a:pt x="20" y="2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38" name="Freeform 349"/>
              <p:cNvSpPr>
                <a:spLocks/>
              </p:cNvSpPr>
              <p:nvPr userDrawn="1"/>
            </p:nvSpPr>
            <p:spPr bwMode="auto">
              <a:xfrm>
                <a:off x="3488" y="3665"/>
                <a:ext cx="30" cy="30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5" y="4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5" y="26"/>
                  </a:cxn>
                  <a:cxn ang="0">
                    <a:pos x="9" y="30"/>
                  </a:cxn>
                  <a:cxn ang="0">
                    <a:pos x="15" y="30"/>
                  </a:cxn>
                  <a:cxn ang="0">
                    <a:pos x="15" y="30"/>
                  </a:cxn>
                  <a:cxn ang="0">
                    <a:pos x="20" y="30"/>
                  </a:cxn>
                  <a:cxn ang="0">
                    <a:pos x="20" y="30"/>
                  </a:cxn>
                  <a:cxn ang="0">
                    <a:pos x="24" y="26"/>
                  </a:cxn>
                  <a:cxn ang="0">
                    <a:pos x="28" y="22"/>
                  </a:cxn>
                  <a:cxn ang="0">
                    <a:pos x="30" y="18"/>
                  </a:cxn>
                  <a:cxn ang="0">
                    <a:pos x="30" y="12"/>
                  </a:cxn>
                  <a:cxn ang="0">
                    <a:pos x="30" y="12"/>
                  </a:cxn>
                  <a:cxn ang="0">
                    <a:pos x="28" y="6"/>
                  </a:cxn>
                  <a:cxn ang="0">
                    <a:pos x="24" y="4"/>
                  </a:cxn>
                  <a:cxn ang="0">
                    <a:pos x="20" y="2"/>
                  </a:cxn>
                  <a:cxn ang="0">
                    <a:pos x="15" y="0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5" y="0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5" y="4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5" y="26"/>
                    </a:lnTo>
                    <a:lnTo>
                      <a:pt x="9" y="30"/>
                    </a:lnTo>
                    <a:lnTo>
                      <a:pt x="15" y="30"/>
                    </a:lnTo>
                    <a:lnTo>
                      <a:pt x="15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4" y="26"/>
                    </a:lnTo>
                    <a:lnTo>
                      <a:pt x="28" y="22"/>
                    </a:lnTo>
                    <a:lnTo>
                      <a:pt x="30" y="18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28" y="6"/>
                    </a:lnTo>
                    <a:lnTo>
                      <a:pt x="24" y="4"/>
                    </a:lnTo>
                    <a:lnTo>
                      <a:pt x="20" y="2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39" name="Freeform 350"/>
              <p:cNvSpPr>
                <a:spLocks/>
              </p:cNvSpPr>
              <p:nvPr userDrawn="1"/>
            </p:nvSpPr>
            <p:spPr bwMode="auto">
              <a:xfrm>
                <a:off x="3542" y="3635"/>
                <a:ext cx="24" cy="24"/>
              </a:xfrm>
              <a:custGeom>
                <a:avLst/>
                <a:gdLst/>
                <a:ahLst/>
                <a:cxnLst>
                  <a:cxn ang="0">
                    <a:pos x="11" y="0"/>
                  </a:cxn>
                  <a:cxn ang="0">
                    <a:pos x="11" y="0"/>
                  </a:cxn>
                  <a:cxn ang="0">
                    <a:pos x="9" y="0"/>
                  </a:cxn>
                  <a:cxn ang="0">
                    <a:pos x="9" y="0"/>
                  </a:cxn>
                  <a:cxn ang="0">
                    <a:pos x="4" y="4"/>
                  </a:cxn>
                  <a:cxn ang="0">
                    <a:pos x="0" y="6"/>
                  </a:cxn>
                  <a:cxn ang="0">
                    <a:pos x="0" y="11"/>
                  </a:cxn>
                  <a:cxn ang="0">
                    <a:pos x="0" y="17"/>
                  </a:cxn>
                  <a:cxn ang="0">
                    <a:pos x="0" y="17"/>
                  </a:cxn>
                  <a:cxn ang="0">
                    <a:pos x="2" y="21"/>
                  </a:cxn>
                  <a:cxn ang="0">
                    <a:pos x="4" y="23"/>
                  </a:cxn>
                  <a:cxn ang="0">
                    <a:pos x="8" y="24"/>
                  </a:cxn>
                  <a:cxn ang="0">
                    <a:pos x="11" y="24"/>
                  </a:cxn>
                  <a:cxn ang="0">
                    <a:pos x="11" y="24"/>
                  </a:cxn>
                  <a:cxn ang="0">
                    <a:pos x="15" y="24"/>
                  </a:cxn>
                  <a:cxn ang="0">
                    <a:pos x="15" y="24"/>
                  </a:cxn>
                  <a:cxn ang="0">
                    <a:pos x="19" y="23"/>
                  </a:cxn>
                  <a:cxn ang="0">
                    <a:pos x="23" y="19"/>
                  </a:cxn>
                  <a:cxn ang="0">
                    <a:pos x="24" y="15"/>
                  </a:cxn>
                  <a:cxn ang="0">
                    <a:pos x="24" y="9"/>
                  </a:cxn>
                  <a:cxn ang="0">
                    <a:pos x="24" y="9"/>
                  </a:cxn>
                  <a:cxn ang="0">
                    <a:pos x="23" y="6"/>
                  </a:cxn>
                  <a:cxn ang="0">
                    <a:pos x="19" y="2"/>
                  </a:cxn>
                  <a:cxn ang="0">
                    <a:pos x="15" y="0"/>
                  </a:cxn>
                  <a:cxn ang="0">
                    <a:pos x="11" y="0"/>
                  </a:cxn>
                </a:cxnLst>
                <a:rect l="0" t="0" r="r" b="b"/>
                <a:pathLst>
                  <a:path w="24" h="24">
                    <a:moveTo>
                      <a:pt x="11" y="0"/>
                    </a:moveTo>
                    <a:lnTo>
                      <a:pt x="11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4"/>
                    </a:lnTo>
                    <a:lnTo>
                      <a:pt x="0" y="6"/>
                    </a:lnTo>
                    <a:lnTo>
                      <a:pt x="0" y="11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2" y="21"/>
                    </a:lnTo>
                    <a:lnTo>
                      <a:pt x="4" y="23"/>
                    </a:lnTo>
                    <a:lnTo>
                      <a:pt x="8" y="24"/>
                    </a:lnTo>
                    <a:lnTo>
                      <a:pt x="11" y="24"/>
                    </a:lnTo>
                    <a:lnTo>
                      <a:pt x="11" y="24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19" y="23"/>
                    </a:lnTo>
                    <a:lnTo>
                      <a:pt x="23" y="19"/>
                    </a:lnTo>
                    <a:lnTo>
                      <a:pt x="24" y="15"/>
                    </a:lnTo>
                    <a:lnTo>
                      <a:pt x="24" y="9"/>
                    </a:lnTo>
                    <a:lnTo>
                      <a:pt x="24" y="9"/>
                    </a:lnTo>
                    <a:lnTo>
                      <a:pt x="23" y="6"/>
                    </a:lnTo>
                    <a:lnTo>
                      <a:pt x="19" y="2"/>
                    </a:lnTo>
                    <a:lnTo>
                      <a:pt x="15" y="0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40" name="Freeform 351"/>
              <p:cNvSpPr>
                <a:spLocks/>
              </p:cNvSpPr>
              <p:nvPr userDrawn="1"/>
            </p:nvSpPr>
            <p:spPr bwMode="auto">
              <a:xfrm>
                <a:off x="3542" y="3635"/>
                <a:ext cx="24" cy="24"/>
              </a:xfrm>
              <a:custGeom>
                <a:avLst/>
                <a:gdLst/>
                <a:ahLst/>
                <a:cxnLst>
                  <a:cxn ang="0">
                    <a:pos x="11" y="0"/>
                  </a:cxn>
                  <a:cxn ang="0">
                    <a:pos x="11" y="0"/>
                  </a:cxn>
                  <a:cxn ang="0">
                    <a:pos x="9" y="0"/>
                  </a:cxn>
                  <a:cxn ang="0">
                    <a:pos x="9" y="0"/>
                  </a:cxn>
                  <a:cxn ang="0">
                    <a:pos x="4" y="4"/>
                  </a:cxn>
                  <a:cxn ang="0">
                    <a:pos x="0" y="6"/>
                  </a:cxn>
                  <a:cxn ang="0">
                    <a:pos x="0" y="11"/>
                  </a:cxn>
                  <a:cxn ang="0">
                    <a:pos x="0" y="17"/>
                  </a:cxn>
                  <a:cxn ang="0">
                    <a:pos x="0" y="17"/>
                  </a:cxn>
                  <a:cxn ang="0">
                    <a:pos x="2" y="21"/>
                  </a:cxn>
                  <a:cxn ang="0">
                    <a:pos x="4" y="23"/>
                  </a:cxn>
                  <a:cxn ang="0">
                    <a:pos x="8" y="24"/>
                  </a:cxn>
                  <a:cxn ang="0">
                    <a:pos x="11" y="24"/>
                  </a:cxn>
                  <a:cxn ang="0">
                    <a:pos x="11" y="24"/>
                  </a:cxn>
                  <a:cxn ang="0">
                    <a:pos x="15" y="24"/>
                  </a:cxn>
                  <a:cxn ang="0">
                    <a:pos x="15" y="24"/>
                  </a:cxn>
                  <a:cxn ang="0">
                    <a:pos x="19" y="23"/>
                  </a:cxn>
                  <a:cxn ang="0">
                    <a:pos x="23" y="19"/>
                  </a:cxn>
                  <a:cxn ang="0">
                    <a:pos x="24" y="15"/>
                  </a:cxn>
                  <a:cxn ang="0">
                    <a:pos x="24" y="9"/>
                  </a:cxn>
                  <a:cxn ang="0">
                    <a:pos x="24" y="9"/>
                  </a:cxn>
                  <a:cxn ang="0">
                    <a:pos x="23" y="6"/>
                  </a:cxn>
                  <a:cxn ang="0">
                    <a:pos x="19" y="2"/>
                  </a:cxn>
                  <a:cxn ang="0">
                    <a:pos x="15" y="0"/>
                  </a:cxn>
                  <a:cxn ang="0">
                    <a:pos x="11" y="0"/>
                  </a:cxn>
                </a:cxnLst>
                <a:rect l="0" t="0" r="r" b="b"/>
                <a:pathLst>
                  <a:path w="24" h="24">
                    <a:moveTo>
                      <a:pt x="11" y="0"/>
                    </a:moveTo>
                    <a:lnTo>
                      <a:pt x="11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4"/>
                    </a:lnTo>
                    <a:lnTo>
                      <a:pt x="0" y="6"/>
                    </a:lnTo>
                    <a:lnTo>
                      <a:pt x="0" y="11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2" y="21"/>
                    </a:lnTo>
                    <a:lnTo>
                      <a:pt x="4" y="23"/>
                    </a:lnTo>
                    <a:lnTo>
                      <a:pt x="8" y="24"/>
                    </a:lnTo>
                    <a:lnTo>
                      <a:pt x="11" y="24"/>
                    </a:lnTo>
                    <a:lnTo>
                      <a:pt x="11" y="24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19" y="23"/>
                    </a:lnTo>
                    <a:lnTo>
                      <a:pt x="23" y="19"/>
                    </a:lnTo>
                    <a:lnTo>
                      <a:pt x="24" y="15"/>
                    </a:lnTo>
                    <a:lnTo>
                      <a:pt x="24" y="9"/>
                    </a:lnTo>
                    <a:lnTo>
                      <a:pt x="24" y="9"/>
                    </a:lnTo>
                    <a:lnTo>
                      <a:pt x="23" y="6"/>
                    </a:lnTo>
                    <a:lnTo>
                      <a:pt x="19" y="2"/>
                    </a:lnTo>
                    <a:lnTo>
                      <a:pt x="15" y="0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41" name="Freeform 352"/>
              <p:cNvSpPr>
                <a:spLocks/>
              </p:cNvSpPr>
              <p:nvPr userDrawn="1"/>
            </p:nvSpPr>
            <p:spPr bwMode="auto">
              <a:xfrm>
                <a:off x="3584" y="3593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6" y="22"/>
                  </a:cxn>
                  <a:cxn ang="0">
                    <a:pos x="8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4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2" y="18"/>
                  </a:cxn>
                  <a:cxn ang="0">
                    <a:pos x="24" y="14"/>
                  </a:cxn>
                  <a:cxn ang="0">
                    <a:pos x="24" y="8"/>
                  </a:cxn>
                  <a:cxn ang="0">
                    <a:pos x="24" y="8"/>
                  </a:cxn>
                  <a:cxn ang="0">
                    <a:pos x="22" y="4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6" y="22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2" y="18"/>
                    </a:lnTo>
                    <a:lnTo>
                      <a:pt x="24" y="14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2" y="4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42" name="Freeform 353"/>
              <p:cNvSpPr>
                <a:spLocks/>
              </p:cNvSpPr>
              <p:nvPr userDrawn="1"/>
            </p:nvSpPr>
            <p:spPr bwMode="auto">
              <a:xfrm>
                <a:off x="3584" y="3593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6" y="22"/>
                  </a:cxn>
                  <a:cxn ang="0">
                    <a:pos x="8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4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2" y="18"/>
                  </a:cxn>
                  <a:cxn ang="0">
                    <a:pos x="24" y="14"/>
                  </a:cxn>
                  <a:cxn ang="0">
                    <a:pos x="24" y="8"/>
                  </a:cxn>
                  <a:cxn ang="0">
                    <a:pos x="24" y="8"/>
                  </a:cxn>
                  <a:cxn ang="0">
                    <a:pos x="22" y="4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6" y="22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2" y="18"/>
                    </a:lnTo>
                    <a:lnTo>
                      <a:pt x="24" y="14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2" y="4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43" name="Freeform 354"/>
              <p:cNvSpPr>
                <a:spLocks/>
              </p:cNvSpPr>
              <p:nvPr userDrawn="1"/>
            </p:nvSpPr>
            <p:spPr bwMode="auto">
              <a:xfrm>
                <a:off x="3626" y="3539"/>
                <a:ext cx="18" cy="24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7"/>
                  </a:cxn>
                  <a:cxn ang="0">
                    <a:pos x="0" y="11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0" y="20"/>
                  </a:cxn>
                  <a:cxn ang="0">
                    <a:pos x="4" y="22"/>
                  </a:cxn>
                  <a:cxn ang="0">
                    <a:pos x="9" y="24"/>
                  </a:cxn>
                  <a:cxn ang="0">
                    <a:pos x="9" y="24"/>
                  </a:cxn>
                  <a:cxn ang="0">
                    <a:pos x="11" y="24"/>
                  </a:cxn>
                  <a:cxn ang="0">
                    <a:pos x="11" y="24"/>
                  </a:cxn>
                  <a:cxn ang="0">
                    <a:pos x="15" y="22"/>
                  </a:cxn>
                  <a:cxn ang="0">
                    <a:pos x="18" y="18"/>
                  </a:cxn>
                  <a:cxn ang="0">
                    <a:pos x="18" y="13"/>
                  </a:cxn>
                  <a:cxn ang="0">
                    <a:pos x="18" y="9"/>
                  </a:cxn>
                  <a:cxn ang="0">
                    <a:pos x="18" y="9"/>
                  </a:cxn>
                  <a:cxn ang="0">
                    <a:pos x="17" y="5"/>
                  </a:cxn>
                  <a:cxn ang="0">
                    <a:pos x="15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24">
                    <a:moveTo>
                      <a:pt x="9" y="0"/>
                    </a:moveTo>
                    <a:lnTo>
                      <a:pt x="9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0" y="7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0" y="20"/>
                    </a:lnTo>
                    <a:lnTo>
                      <a:pt x="4" y="22"/>
                    </a:lnTo>
                    <a:lnTo>
                      <a:pt x="9" y="24"/>
                    </a:lnTo>
                    <a:lnTo>
                      <a:pt x="9" y="24"/>
                    </a:lnTo>
                    <a:lnTo>
                      <a:pt x="11" y="24"/>
                    </a:lnTo>
                    <a:lnTo>
                      <a:pt x="11" y="24"/>
                    </a:lnTo>
                    <a:lnTo>
                      <a:pt x="15" y="22"/>
                    </a:lnTo>
                    <a:lnTo>
                      <a:pt x="18" y="18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5"/>
                    </a:lnTo>
                    <a:lnTo>
                      <a:pt x="15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44" name="Freeform 355"/>
              <p:cNvSpPr>
                <a:spLocks/>
              </p:cNvSpPr>
              <p:nvPr userDrawn="1"/>
            </p:nvSpPr>
            <p:spPr bwMode="auto">
              <a:xfrm>
                <a:off x="3626" y="3539"/>
                <a:ext cx="18" cy="24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7"/>
                  </a:cxn>
                  <a:cxn ang="0">
                    <a:pos x="0" y="11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0" y="20"/>
                  </a:cxn>
                  <a:cxn ang="0">
                    <a:pos x="4" y="22"/>
                  </a:cxn>
                  <a:cxn ang="0">
                    <a:pos x="9" y="24"/>
                  </a:cxn>
                  <a:cxn ang="0">
                    <a:pos x="9" y="24"/>
                  </a:cxn>
                  <a:cxn ang="0">
                    <a:pos x="11" y="24"/>
                  </a:cxn>
                  <a:cxn ang="0">
                    <a:pos x="11" y="24"/>
                  </a:cxn>
                  <a:cxn ang="0">
                    <a:pos x="15" y="22"/>
                  </a:cxn>
                  <a:cxn ang="0">
                    <a:pos x="18" y="18"/>
                  </a:cxn>
                  <a:cxn ang="0">
                    <a:pos x="18" y="13"/>
                  </a:cxn>
                  <a:cxn ang="0">
                    <a:pos x="18" y="9"/>
                  </a:cxn>
                  <a:cxn ang="0">
                    <a:pos x="18" y="9"/>
                  </a:cxn>
                  <a:cxn ang="0">
                    <a:pos x="17" y="5"/>
                  </a:cxn>
                  <a:cxn ang="0">
                    <a:pos x="15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24">
                    <a:moveTo>
                      <a:pt x="9" y="0"/>
                    </a:moveTo>
                    <a:lnTo>
                      <a:pt x="9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0" y="7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0" y="20"/>
                    </a:lnTo>
                    <a:lnTo>
                      <a:pt x="4" y="22"/>
                    </a:lnTo>
                    <a:lnTo>
                      <a:pt x="9" y="24"/>
                    </a:lnTo>
                    <a:lnTo>
                      <a:pt x="9" y="24"/>
                    </a:lnTo>
                    <a:lnTo>
                      <a:pt x="11" y="24"/>
                    </a:lnTo>
                    <a:lnTo>
                      <a:pt x="11" y="24"/>
                    </a:lnTo>
                    <a:lnTo>
                      <a:pt x="15" y="22"/>
                    </a:lnTo>
                    <a:lnTo>
                      <a:pt x="18" y="18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5"/>
                    </a:lnTo>
                    <a:lnTo>
                      <a:pt x="15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45" name="Freeform 356"/>
              <p:cNvSpPr>
                <a:spLocks/>
              </p:cNvSpPr>
              <p:nvPr userDrawn="1"/>
            </p:nvSpPr>
            <p:spPr bwMode="auto">
              <a:xfrm>
                <a:off x="3650" y="3485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4" y="16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1" y="18"/>
                  </a:cxn>
                  <a:cxn ang="0">
                    <a:pos x="11" y="18"/>
                  </a:cxn>
                  <a:cxn ang="0">
                    <a:pos x="15" y="16"/>
                  </a:cxn>
                  <a:cxn ang="0">
                    <a:pos x="17" y="14"/>
                  </a:cxn>
                  <a:cxn ang="0">
                    <a:pos x="18" y="10"/>
                  </a:cxn>
                  <a:cxn ang="0">
                    <a:pos x="18" y="6"/>
                  </a:cxn>
                  <a:cxn ang="0">
                    <a:pos x="18" y="6"/>
                  </a:cxn>
                  <a:cxn ang="0">
                    <a:pos x="15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4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1" y="18"/>
                    </a:lnTo>
                    <a:lnTo>
                      <a:pt x="11" y="18"/>
                    </a:lnTo>
                    <a:lnTo>
                      <a:pt x="15" y="16"/>
                    </a:lnTo>
                    <a:lnTo>
                      <a:pt x="17" y="14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5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46" name="Freeform 357"/>
              <p:cNvSpPr>
                <a:spLocks/>
              </p:cNvSpPr>
              <p:nvPr userDrawn="1"/>
            </p:nvSpPr>
            <p:spPr bwMode="auto">
              <a:xfrm>
                <a:off x="3650" y="3485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4" y="16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1" y="18"/>
                  </a:cxn>
                  <a:cxn ang="0">
                    <a:pos x="11" y="18"/>
                  </a:cxn>
                  <a:cxn ang="0">
                    <a:pos x="15" y="16"/>
                  </a:cxn>
                  <a:cxn ang="0">
                    <a:pos x="17" y="14"/>
                  </a:cxn>
                  <a:cxn ang="0">
                    <a:pos x="18" y="10"/>
                  </a:cxn>
                  <a:cxn ang="0">
                    <a:pos x="18" y="6"/>
                  </a:cxn>
                  <a:cxn ang="0">
                    <a:pos x="18" y="6"/>
                  </a:cxn>
                  <a:cxn ang="0">
                    <a:pos x="15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4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1" y="18"/>
                    </a:lnTo>
                    <a:lnTo>
                      <a:pt x="11" y="18"/>
                    </a:lnTo>
                    <a:lnTo>
                      <a:pt x="15" y="16"/>
                    </a:lnTo>
                    <a:lnTo>
                      <a:pt x="17" y="14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5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47" name="Freeform 358"/>
              <p:cNvSpPr>
                <a:spLocks/>
              </p:cNvSpPr>
              <p:nvPr userDrawn="1"/>
            </p:nvSpPr>
            <p:spPr bwMode="auto">
              <a:xfrm>
                <a:off x="3668" y="3425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7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1" y="18"/>
                  </a:cxn>
                  <a:cxn ang="0">
                    <a:pos x="11" y="18"/>
                  </a:cxn>
                  <a:cxn ang="0">
                    <a:pos x="16" y="16"/>
                  </a:cxn>
                  <a:cxn ang="0">
                    <a:pos x="18" y="14"/>
                  </a:cxn>
                  <a:cxn ang="0">
                    <a:pos x="18" y="10"/>
                  </a:cxn>
                  <a:cxn ang="0">
                    <a:pos x="18" y="6"/>
                  </a:cxn>
                  <a:cxn ang="0">
                    <a:pos x="18" y="6"/>
                  </a:cxn>
                  <a:cxn ang="0">
                    <a:pos x="16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1" y="18"/>
                    </a:lnTo>
                    <a:lnTo>
                      <a:pt x="11" y="18"/>
                    </a:lnTo>
                    <a:lnTo>
                      <a:pt x="16" y="16"/>
                    </a:lnTo>
                    <a:lnTo>
                      <a:pt x="18" y="14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6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48" name="Freeform 359"/>
              <p:cNvSpPr>
                <a:spLocks/>
              </p:cNvSpPr>
              <p:nvPr userDrawn="1"/>
            </p:nvSpPr>
            <p:spPr bwMode="auto">
              <a:xfrm>
                <a:off x="3668" y="3425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7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1" y="18"/>
                  </a:cxn>
                  <a:cxn ang="0">
                    <a:pos x="11" y="18"/>
                  </a:cxn>
                  <a:cxn ang="0">
                    <a:pos x="16" y="16"/>
                  </a:cxn>
                  <a:cxn ang="0">
                    <a:pos x="18" y="14"/>
                  </a:cxn>
                  <a:cxn ang="0">
                    <a:pos x="18" y="10"/>
                  </a:cxn>
                  <a:cxn ang="0">
                    <a:pos x="18" y="6"/>
                  </a:cxn>
                  <a:cxn ang="0">
                    <a:pos x="18" y="6"/>
                  </a:cxn>
                  <a:cxn ang="0">
                    <a:pos x="16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1" y="18"/>
                    </a:lnTo>
                    <a:lnTo>
                      <a:pt x="11" y="18"/>
                    </a:lnTo>
                    <a:lnTo>
                      <a:pt x="16" y="16"/>
                    </a:lnTo>
                    <a:lnTo>
                      <a:pt x="18" y="14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6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49" name="Freeform 360"/>
              <p:cNvSpPr>
                <a:spLocks/>
              </p:cNvSpPr>
              <p:nvPr userDrawn="1"/>
            </p:nvSpPr>
            <p:spPr bwMode="auto">
              <a:xfrm>
                <a:off x="3674" y="3365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7" y="0"/>
                  </a:cxn>
                  <a:cxn ang="0">
                    <a:pos x="7" y="0"/>
                  </a:cxn>
                  <a:cxn ang="0">
                    <a:pos x="2" y="0"/>
                  </a:cxn>
                  <a:cxn ang="0">
                    <a:pos x="0" y="5"/>
                  </a:cxn>
                  <a:cxn ang="0">
                    <a:pos x="0" y="7"/>
                  </a:cxn>
                  <a:cxn ang="0">
                    <a:pos x="0" y="11"/>
                  </a:cxn>
                  <a:cxn ang="0">
                    <a:pos x="0" y="11"/>
                  </a:cxn>
                  <a:cxn ang="0">
                    <a:pos x="2" y="16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1" y="16"/>
                  </a:cxn>
                  <a:cxn ang="0">
                    <a:pos x="11" y="16"/>
                  </a:cxn>
                  <a:cxn ang="0">
                    <a:pos x="14" y="16"/>
                  </a:cxn>
                  <a:cxn ang="0">
                    <a:pos x="16" y="14"/>
                  </a:cxn>
                  <a:cxn ang="0">
                    <a:pos x="18" y="9"/>
                  </a:cxn>
                  <a:cxn ang="0">
                    <a:pos x="18" y="7"/>
                  </a:cxn>
                  <a:cxn ang="0">
                    <a:pos x="18" y="7"/>
                  </a:cxn>
                  <a:cxn ang="0">
                    <a:pos x="14" y="0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2" y="0"/>
                    </a:lnTo>
                    <a:lnTo>
                      <a:pt x="0" y="5"/>
                    </a:lnTo>
                    <a:lnTo>
                      <a:pt x="0" y="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2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1" y="16"/>
                    </a:lnTo>
                    <a:lnTo>
                      <a:pt x="11" y="16"/>
                    </a:lnTo>
                    <a:lnTo>
                      <a:pt x="14" y="16"/>
                    </a:lnTo>
                    <a:lnTo>
                      <a:pt x="16" y="14"/>
                    </a:lnTo>
                    <a:lnTo>
                      <a:pt x="18" y="9"/>
                    </a:lnTo>
                    <a:lnTo>
                      <a:pt x="18" y="7"/>
                    </a:lnTo>
                    <a:lnTo>
                      <a:pt x="18" y="7"/>
                    </a:lnTo>
                    <a:lnTo>
                      <a:pt x="14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50" name="Freeform 361"/>
              <p:cNvSpPr>
                <a:spLocks/>
              </p:cNvSpPr>
              <p:nvPr userDrawn="1"/>
            </p:nvSpPr>
            <p:spPr bwMode="auto">
              <a:xfrm>
                <a:off x="3674" y="3365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7" y="0"/>
                  </a:cxn>
                  <a:cxn ang="0">
                    <a:pos x="7" y="0"/>
                  </a:cxn>
                  <a:cxn ang="0">
                    <a:pos x="2" y="0"/>
                  </a:cxn>
                  <a:cxn ang="0">
                    <a:pos x="0" y="5"/>
                  </a:cxn>
                  <a:cxn ang="0">
                    <a:pos x="0" y="7"/>
                  </a:cxn>
                  <a:cxn ang="0">
                    <a:pos x="0" y="11"/>
                  </a:cxn>
                  <a:cxn ang="0">
                    <a:pos x="0" y="11"/>
                  </a:cxn>
                  <a:cxn ang="0">
                    <a:pos x="2" y="16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1" y="16"/>
                  </a:cxn>
                  <a:cxn ang="0">
                    <a:pos x="11" y="16"/>
                  </a:cxn>
                  <a:cxn ang="0">
                    <a:pos x="14" y="16"/>
                  </a:cxn>
                  <a:cxn ang="0">
                    <a:pos x="16" y="14"/>
                  </a:cxn>
                  <a:cxn ang="0">
                    <a:pos x="18" y="9"/>
                  </a:cxn>
                  <a:cxn ang="0">
                    <a:pos x="18" y="7"/>
                  </a:cxn>
                  <a:cxn ang="0">
                    <a:pos x="18" y="7"/>
                  </a:cxn>
                  <a:cxn ang="0">
                    <a:pos x="14" y="0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2" y="0"/>
                    </a:lnTo>
                    <a:lnTo>
                      <a:pt x="0" y="5"/>
                    </a:lnTo>
                    <a:lnTo>
                      <a:pt x="0" y="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2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1" y="16"/>
                    </a:lnTo>
                    <a:lnTo>
                      <a:pt x="11" y="16"/>
                    </a:lnTo>
                    <a:lnTo>
                      <a:pt x="14" y="16"/>
                    </a:lnTo>
                    <a:lnTo>
                      <a:pt x="16" y="14"/>
                    </a:lnTo>
                    <a:lnTo>
                      <a:pt x="18" y="9"/>
                    </a:lnTo>
                    <a:lnTo>
                      <a:pt x="18" y="7"/>
                    </a:lnTo>
                    <a:lnTo>
                      <a:pt x="18" y="7"/>
                    </a:lnTo>
                    <a:lnTo>
                      <a:pt x="14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51" name="Freeform 362"/>
              <p:cNvSpPr>
                <a:spLocks/>
              </p:cNvSpPr>
              <p:nvPr userDrawn="1"/>
            </p:nvSpPr>
            <p:spPr bwMode="auto">
              <a:xfrm>
                <a:off x="3668" y="3305"/>
                <a:ext cx="18" cy="12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5" y="0"/>
                  </a:cxn>
                  <a:cxn ang="0">
                    <a:pos x="5" y="0"/>
                  </a:cxn>
                  <a:cxn ang="0">
                    <a:pos x="0" y="4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3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1" y="12"/>
                  </a:cxn>
                  <a:cxn ang="0">
                    <a:pos x="11" y="12"/>
                  </a:cxn>
                  <a:cxn ang="0">
                    <a:pos x="16" y="9"/>
                  </a:cxn>
                  <a:cxn ang="0">
                    <a:pos x="18" y="5"/>
                  </a:cxn>
                  <a:cxn ang="0">
                    <a:pos x="18" y="5"/>
                  </a:cxn>
                  <a:cxn ang="0">
                    <a:pos x="13" y="2"/>
                  </a:cxn>
                  <a:cxn ang="0">
                    <a:pos x="8" y="0"/>
                  </a:cxn>
                </a:cxnLst>
                <a:rect l="0" t="0" r="r" b="b"/>
                <a:pathLst>
                  <a:path w="18" h="12">
                    <a:moveTo>
                      <a:pt x="8" y="0"/>
                    </a:moveTo>
                    <a:lnTo>
                      <a:pt x="8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0" y="4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3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1" y="12"/>
                    </a:lnTo>
                    <a:lnTo>
                      <a:pt x="11" y="12"/>
                    </a:lnTo>
                    <a:lnTo>
                      <a:pt x="16" y="9"/>
                    </a:lnTo>
                    <a:lnTo>
                      <a:pt x="18" y="5"/>
                    </a:lnTo>
                    <a:lnTo>
                      <a:pt x="18" y="5"/>
                    </a:lnTo>
                    <a:lnTo>
                      <a:pt x="13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52" name="Freeform 363"/>
              <p:cNvSpPr>
                <a:spLocks/>
              </p:cNvSpPr>
              <p:nvPr userDrawn="1"/>
            </p:nvSpPr>
            <p:spPr bwMode="auto">
              <a:xfrm>
                <a:off x="3668" y="3305"/>
                <a:ext cx="18" cy="12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5" y="0"/>
                  </a:cxn>
                  <a:cxn ang="0">
                    <a:pos x="5" y="0"/>
                  </a:cxn>
                  <a:cxn ang="0">
                    <a:pos x="0" y="4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3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1" y="12"/>
                  </a:cxn>
                  <a:cxn ang="0">
                    <a:pos x="11" y="12"/>
                  </a:cxn>
                  <a:cxn ang="0">
                    <a:pos x="16" y="9"/>
                  </a:cxn>
                  <a:cxn ang="0">
                    <a:pos x="18" y="5"/>
                  </a:cxn>
                  <a:cxn ang="0">
                    <a:pos x="18" y="5"/>
                  </a:cxn>
                  <a:cxn ang="0">
                    <a:pos x="13" y="2"/>
                  </a:cxn>
                  <a:cxn ang="0">
                    <a:pos x="8" y="0"/>
                  </a:cxn>
                </a:cxnLst>
                <a:rect l="0" t="0" r="r" b="b"/>
                <a:pathLst>
                  <a:path w="18" h="12">
                    <a:moveTo>
                      <a:pt x="8" y="0"/>
                    </a:moveTo>
                    <a:lnTo>
                      <a:pt x="8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0" y="4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3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1" y="12"/>
                    </a:lnTo>
                    <a:lnTo>
                      <a:pt x="11" y="12"/>
                    </a:lnTo>
                    <a:lnTo>
                      <a:pt x="16" y="9"/>
                    </a:lnTo>
                    <a:lnTo>
                      <a:pt x="18" y="5"/>
                    </a:lnTo>
                    <a:lnTo>
                      <a:pt x="18" y="5"/>
                    </a:lnTo>
                    <a:lnTo>
                      <a:pt x="13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53" name="Freeform 364"/>
              <p:cNvSpPr>
                <a:spLocks/>
              </p:cNvSpPr>
              <p:nvPr userDrawn="1"/>
            </p:nvSpPr>
            <p:spPr bwMode="auto">
              <a:xfrm>
                <a:off x="3656" y="3245"/>
                <a:ext cx="12" cy="12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2" y="8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0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0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54" name="Freeform 365"/>
              <p:cNvSpPr>
                <a:spLocks/>
              </p:cNvSpPr>
              <p:nvPr userDrawn="1"/>
            </p:nvSpPr>
            <p:spPr bwMode="auto">
              <a:xfrm>
                <a:off x="3656" y="3245"/>
                <a:ext cx="12" cy="12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2" y="8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0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0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55" name="Freeform 366"/>
              <p:cNvSpPr>
                <a:spLocks/>
              </p:cNvSpPr>
              <p:nvPr userDrawn="1"/>
            </p:nvSpPr>
            <p:spPr bwMode="auto">
              <a:xfrm>
                <a:off x="3506" y="3593"/>
                <a:ext cx="30" cy="24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9" y="2"/>
                  </a:cxn>
                  <a:cxn ang="0">
                    <a:pos x="5" y="4"/>
                  </a:cxn>
                  <a:cxn ang="0">
                    <a:pos x="5" y="4"/>
                  </a:cxn>
                  <a:cxn ang="0">
                    <a:pos x="2" y="9"/>
                  </a:cxn>
                  <a:cxn ang="0">
                    <a:pos x="0" y="12"/>
                  </a:cxn>
                  <a:cxn ang="0">
                    <a:pos x="2" y="17"/>
                  </a:cxn>
                  <a:cxn ang="0">
                    <a:pos x="5" y="21"/>
                  </a:cxn>
                  <a:cxn ang="0">
                    <a:pos x="5" y="21"/>
                  </a:cxn>
                  <a:cxn ang="0">
                    <a:pos x="9" y="24"/>
                  </a:cxn>
                  <a:cxn ang="0">
                    <a:pos x="15" y="24"/>
                  </a:cxn>
                  <a:cxn ang="0">
                    <a:pos x="15" y="24"/>
                  </a:cxn>
                  <a:cxn ang="0">
                    <a:pos x="22" y="24"/>
                  </a:cxn>
                  <a:cxn ang="0">
                    <a:pos x="26" y="21"/>
                  </a:cxn>
                  <a:cxn ang="0">
                    <a:pos x="26" y="21"/>
                  </a:cxn>
                  <a:cxn ang="0">
                    <a:pos x="30" y="17"/>
                  </a:cxn>
                  <a:cxn ang="0">
                    <a:pos x="30" y="12"/>
                  </a:cxn>
                  <a:cxn ang="0">
                    <a:pos x="30" y="9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2" y="2"/>
                  </a:cxn>
                  <a:cxn ang="0">
                    <a:pos x="15" y="0"/>
                  </a:cxn>
                </a:cxnLst>
                <a:rect l="0" t="0" r="r" b="b"/>
                <a:pathLst>
                  <a:path w="30" h="24">
                    <a:moveTo>
                      <a:pt x="15" y="0"/>
                    </a:moveTo>
                    <a:lnTo>
                      <a:pt x="15" y="0"/>
                    </a:lnTo>
                    <a:lnTo>
                      <a:pt x="9" y="2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2" y="9"/>
                    </a:lnTo>
                    <a:lnTo>
                      <a:pt x="0" y="12"/>
                    </a:lnTo>
                    <a:lnTo>
                      <a:pt x="2" y="17"/>
                    </a:lnTo>
                    <a:lnTo>
                      <a:pt x="5" y="21"/>
                    </a:lnTo>
                    <a:lnTo>
                      <a:pt x="5" y="21"/>
                    </a:lnTo>
                    <a:lnTo>
                      <a:pt x="9" y="24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22" y="24"/>
                    </a:lnTo>
                    <a:lnTo>
                      <a:pt x="26" y="21"/>
                    </a:lnTo>
                    <a:lnTo>
                      <a:pt x="26" y="21"/>
                    </a:lnTo>
                    <a:lnTo>
                      <a:pt x="30" y="17"/>
                    </a:lnTo>
                    <a:lnTo>
                      <a:pt x="30" y="12"/>
                    </a:lnTo>
                    <a:lnTo>
                      <a:pt x="30" y="9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2" y="2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56" name="Freeform 367"/>
              <p:cNvSpPr>
                <a:spLocks/>
              </p:cNvSpPr>
              <p:nvPr userDrawn="1"/>
            </p:nvSpPr>
            <p:spPr bwMode="auto">
              <a:xfrm>
                <a:off x="3506" y="3593"/>
                <a:ext cx="30" cy="24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9" y="2"/>
                  </a:cxn>
                  <a:cxn ang="0">
                    <a:pos x="5" y="4"/>
                  </a:cxn>
                  <a:cxn ang="0">
                    <a:pos x="5" y="4"/>
                  </a:cxn>
                  <a:cxn ang="0">
                    <a:pos x="2" y="9"/>
                  </a:cxn>
                  <a:cxn ang="0">
                    <a:pos x="0" y="12"/>
                  </a:cxn>
                  <a:cxn ang="0">
                    <a:pos x="2" y="17"/>
                  </a:cxn>
                  <a:cxn ang="0">
                    <a:pos x="5" y="21"/>
                  </a:cxn>
                  <a:cxn ang="0">
                    <a:pos x="5" y="21"/>
                  </a:cxn>
                  <a:cxn ang="0">
                    <a:pos x="9" y="24"/>
                  </a:cxn>
                  <a:cxn ang="0">
                    <a:pos x="15" y="24"/>
                  </a:cxn>
                  <a:cxn ang="0">
                    <a:pos x="15" y="24"/>
                  </a:cxn>
                  <a:cxn ang="0">
                    <a:pos x="22" y="24"/>
                  </a:cxn>
                  <a:cxn ang="0">
                    <a:pos x="26" y="21"/>
                  </a:cxn>
                  <a:cxn ang="0">
                    <a:pos x="26" y="21"/>
                  </a:cxn>
                  <a:cxn ang="0">
                    <a:pos x="30" y="17"/>
                  </a:cxn>
                  <a:cxn ang="0">
                    <a:pos x="30" y="12"/>
                  </a:cxn>
                  <a:cxn ang="0">
                    <a:pos x="30" y="9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2" y="2"/>
                  </a:cxn>
                  <a:cxn ang="0">
                    <a:pos x="15" y="0"/>
                  </a:cxn>
                </a:cxnLst>
                <a:rect l="0" t="0" r="r" b="b"/>
                <a:pathLst>
                  <a:path w="30" h="24">
                    <a:moveTo>
                      <a:pt x="15" y="0"/>
                    </a:moveTo>
                    <a:lnTo>
                      <a:pt x="15" y="0"/>
                    </a:lnTo>
                    <a:lnTo>
                      <a:pt x="9" y="2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2" y="9"/>
                    </a:lnTo>
                    <a:lnTo>
                      <a:pt x="0" y="12"/>
                    </a:lnTo>
                    <a:lnTo>
                      <a:pt x="2" y="17"/>
                    </a:lnTo>
                    <a:lnTo>
                      <a:pt x="5" y="21"/>
                    </a:lnTo>
                    <a:lnTo>
                      <a:pt x="5" y="21"/>
                    </a:lnTo>
                    <a:lnTo>
                      <a:pt x="9" y="24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22" y="24"/>
                    </a:lnTo>
                    <a:lnTo>
                      <a:pt x="26" y="21"/>
                    </a:lnTo>
                    <a:lnTo>
                      <a:pt x="26" y="21"/>
                    </a:lnTo>
                    <a:lnTo>
                      <a:pt x="30" y="17"/>
                    </a:lnTo>
                    <a:lnTo>
                      <a:pt x="30" y="12"/>
                    </a:lnTo>
                    <a:lnTo>
                      <a:pt x="30" y="9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2" y="2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57" name="Freeform 368"/>
              <p:cNvSpPr>
                <a:spLocks/>
              </p:cNvSpPr>
              <p:nvPr userDrawn="1"/>
            </p:nvSpPr>
            <p:spPr bwMode="auto">
              <a:xfrm>
                <a:off x="3464" y="3623"/>
                <a:ext cx="24" cy="24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13" y="0"/>
                  </a:cxn>
                  <a:cxn ang="0">
                    <a:pos x="8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8"/>
                  </a:cxn>
                  <a:cxn ang="0">
                    <a:pos x="0" y="11"/>
                  </a:cxn>
                  <a:cxn ang="0">
                    <a:pos x="2" y="17"/>
                  </a:cxn>
                  <a:cxn ang="0">
                    <a:pos x="4" y="21"/>
                  </a:cxn>
                  <a:cxn ang="0">
                    <a:pos x="4" y="21"/>
                  </a:cxn>
                  <a:cxn ang="0">
                    <a:pos x="8" y="23"/>
                  </a:cxn>
                  <a:cxn ang="0">
                    <a:pos x="13" y="24"/>
                  </a:cxn>
                  <a:cxn ang="0">
                    <a:pos x="13" y="24"/>
                  </a:cxn>
                  <a:cxn ang="0">
                    <a:pos x="17" y="23"/>
                  </a:cxn>
                  <a:cxn ang="0">
                    <a:pos x="21" y="21"/>
                  </a:cxn>
                  <a:cxn ang="0">
                    <a:pos x="21" y="21"/>
                  </a:cxn>
                  <a:cxn ang="0">
                    <a:pos x="23" y="17"/>
                  </a:cxn>
                  <a:cxn ang="0">
                    <a:pos x="24" y="11"/>
                  </a:cxn>
                  <a:cxn ang="0">
                    <a:pos x="23" y="8"/>
                  </a:cxn>
                  <a:cxn ang="0">
                    <a:pos x="21" y="4"/>
                  </a:cxn>
                  <a:cxn ang="0">
                    <a:pos x="21" y="4"/>
                  </a:cxn>
                  <a:cxn ang="0">
                    <a:pos x="17" y="2"/>
                  </a:cxn>
                  <a:cxn ang="0">
                    <a:pos x="13" y="0"/>
                  </a:cxn>
                </a:cxnLst>
                <a:rect l="0" t="0" r="r" b="b"/>
                <a:pathLst>
                  <a:path w="24" h="24">
                    <a:moveTo>
                      <a:pt x="13" y="0"/>
                    </a:moveTo>
                    <a:lnTo>
                      <a:pt x="13" y="0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1"/>
                    </a:lnTo>
                    <a:lnTo>
                      <a:pt x="2" y="17"/>
                    </a:lnTo>
                    <a:lnTo>
                      <a:pt x="4" y="21"/>
                    </a:lnTo>
                    <a:lnTo>
                      <a:pt x="4" y="21"/>
                    </a:lnTo>
                    <a:lnTo>
                      <a:pt x="8" y="23"/>
                    </a:lnTo>
                    <a:lnTo>
                      <a:pt x="13" y="24"/>
                    </a:lnTo>
                    <a:lnTo>
                      <a:pt x="13" y="24"/>
                    </a:lnTo>
                    <a:lnTo>
                      <a:pt x="17" y="23"/>
                    </a:lnTo>
                    <a:lnTo>
                      <a:pt x="21" y="21"/>
                    </a:lnTo>
                    <a:lnTo>
                      <a:pt x="21" y="21"/>
                    </a:lnTo>
                    <a:lnTo>
                      <a:pt x="23" y="17"/>
                    </a:lnTo>
                    <a:lnTo>
                      <a:pt x="24" y="11"/>
                    </a:lnTo>
                    <a:lnTo>
                      <a:pt x="23" y="8"/>
                    </a:lnTo>
                    <a:lnTo>
                      <a:pt x="21" y="4"/>
                    </a:lnTo>
                    <a:lnTo>
                      <a:pt x="21" y="4"/>
                    </a:lnTo>
                    <a:lnTo>
                      <a:pt x="17" y="2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58" name="Freeform 369"/>
              <p:cNvSpPr>
                <a:spLocks/>
              </p:cNvSpPr>
              <p:nvPr userDrawn="1"/>
            </p:nvSpPr>
            <p:spPr bwMode="auto">
              <a:xfrm>
                <a:off x="3464" y="3623"/>
                <a:ext cx="24" cy="24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13" y="0"/>
                  </a:cxn>
                  <a:cxn ang="0">
                    <a:pos x="8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8"/>
                  </a:cxn>
                  <a:cxn ang="0">
                    <a:pos x="0" y="11"/>
                  </a:cxn>
                  <a:cxn ang="0">
                    <a:pos x="2" y="17"/>
                  </a:cxn>
                  <a:cxn ang="0">
                    <a:pos x="4" y="21"/>
                  </a:cxn>
                  <a:cxn ang="0">
                    <a:pos x="4" y="21"/>
                  </a:cxn>
                  <a:cxn ang="0">
                    <a:pos x="8" y="23"/>
                  </a:cxn>
                  <a:cxn ang="0">
                    <a:pos x="13" y="24"/>
                  </a:cxn>
                  <a:cxn ang="0">
                    <a:pos x="13" y="24"/>
                  </a:cxn>
                  <a:cxn ang="0">
                    <a:pos x="17" y="23"/>
                  </a:cxn>
                  <a:cxn ang="0">
                    <a:pos x="21" y="21"/>
                  </a:cxn>
                  <a:cxn ang="0">
                    <a:pos x="21" y="21"/>
                  </a:cxn>
                  <a:cxn ang="0">
                    <a:pos x="23" y="17"/>
                  </a:cxn>
                  <a:cxn ang="0">
                    <a:pos x="24" y="11"/>
                  </a:cxn>
                  <a:cxn ang="0">
                    <a:pos x="23" y="8"/>
                  </a:cxn>
                  <a:cxn ang="0">
                    <a:pos x="21" y="4"/>
                  </a:cxn>
                  <a:cxn ang="0">
                    <a:pos x="21" y="4"/>
                  </a:cxn>
                  <a:cxn ang="0">
                    <a:pos x="17" y="2"/>
                  </a:cxn>
                  <a:cxn ang="0">
                    <a:pos x="13" y="0"/>
                  </a:cxn>
                </a:cxnLst>
                <a:rect l="0" t="0" r="r" b="b"/>
                <a:pathLst>
                  <a:path w="24" h="24">
                    <a:moveTo>
                      <a:pt x="13" y="0"/>
                    </a:moveTo>
                    <a:lnTo>
                      <a:pt x="13" y="0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1"/>
                    </a:lnTo>
                    <a:lnTo>
                      <a:pt x="2" y="17"/>
                    </a:lnTo>
                    <a:lnTo>
                      <a:pt x="4" y="21"/>
                    </a:lnTo>
                    <a:lnTo>
                      <a:pt x="4" y="21"/>
                    </a:lnTo>
                    <a:lnTo>
                      <a:pt x="8" y="23"/>
                    </a:lnTo>
                    <a:lnTo>
                      <a:pt x="13" y="24"/>
                    </a:lnTo>
                    <a:lnTo>
                      <a:pt x="13" y="24"/>
                    </a:lnTo>
                    <a:lnTo>
                      <a:pt x="17" y="23"/>
                    </a:lnTo>
                    <a:lnTo>
                      <a:pt x="21" y="21"/>
                    </a:lnTo>
                    <a:lnTo>
                      <a:pt x="21" y="21"/>
                    </a:lnTo>
                    <a:lnTo>
                      <a:pt x="23" y="17"/>
                    </a:lnTo>
                    <a:lnTo>
                      <a:pt x="24" y="11"/>
                    </a:lnTo>
                    <a:lnTo>
                      <a:pt x="23" y="8"/>
                    </a:lnTo>
                    <a:lnTo>
                      <a:pt x="21" y="4"/>
                    </a:lnTo>
                    <a:lnTo>
                      <a:pt x="21" y="4"/>
                    </a:lnTo>
                    <a:lnTo>
                      <a:pt x="17" y="2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59" name="Freeform 370"/>
              <p:cNvSpPr>
                <a:spLocks/>
              </p:cNvSpPr>
              <p:nvPr userDrawn="1"/>
            </p:nvSpPr>
            <p:spPr bwMode="auto">
              <a:xfrm>
                <a:off x="3416" y="3647"/>
                <a:ext cx="24" cy="24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13" y="0"/>
                  </a:cxn>
                  <a:cxn ang="0">
                    <a:pos x="9" y="0"/>
                  </a:cxn>
                  <a:cxn ang="0">
                    <a:pos x="5" y="5"/>
                  </a:cxn>
                  <a:cxn ang="0">
                    <a:pos x="5" y="5"/>
                  </a:cxn>
                  <a:cxn ang="0">
                    <a:pos x="0" y="7"/>
                  </a:cxn>
                  <a:cxn ang="0">
                    <a:pos x="0" y="13"/>
                  </a:cxn>
                  <a:cxn ang="0">
                    <a:pos x="0" y="18"/>
                  </a:cxn>
                  <a:cxn ang="0">
                    <a:pos x="5" y="22"/>
                  </a:cxn>
                  <a:cxn ang="0">
                    <a:pos x="5" y="22"/>
                  </a:cxn>
                  <a:cxn ang="0">
                    <a:pos x="9" y="24"/>
                  </a:cxn>
                  <a:cxn ang="0">
                    <a:pos x="13" y="24"/>
                  </a:cxn>
                  <a:cxn ang="0">
                    <a:pos x="13" y="24"/>
                  </a:cxn>
                  <a:cxn ang="0">
                    <a:pos x="18" y="24"/>
                  </a:cxn>
                  <a:cxn ang="0">
                    <a:pos x="22" y="22"/>
                  </a:cxn>
                  <a:cxn ang="0">
                    <a:pos x="22" y="22"/>
                  </a:cxn>
                  <a:cxn ang="0">
                    <a:pos x="24" y="18"/>
                  </a:cxn>
                  <a:cxn ang="0">
                    <a:pos x="24" y="13"/>
                  </a:cxn>
                  <a:cxn ang="0">
                    <a:pos x="24" y="7"/>
                  </a:cxn>
                  <a:cxn ang="0">
                    <a:pos x="22" y="5"/>
                  </a:cxn>
                  <a:cxn ang="0">
                    <a:pos x="22" y="5"/>
                  </a:cxn>
                  <a:cxn ang="0">
                    <a:pos x="18" y="0"/>
                  </a:cxn>
                  <a:cxn ang="0">
                    <a:pos x="13" y="0"/>
                  </a:cxn>
                </a:cxnLst>
                <a:rect l="0" t="0" r="r" b="b"/>
                <a:pathLst>
                  <a:path w="24" h="24">
                    <a:moveTo>
                      <a:pt x="13" y="0"/>
                    </a:moveTo>
                    <a:lnTo>
                      <a:pt x="13" y="0"/>
                    </a:lnTo>
                    <a:lnTo>
                      <a:pt x="9" y="0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0" y="7"/>
                    </a:lnTo>
                    <a:lnTo>
                      <a:pt x="0" y="13"/>
                    </a:lnTo>
                    <a:lnTo>
                      <a:pt x="0" y="18"/>
                    </a:lnTo>
                    <a:lnTo>
                      <a:pt x="5" y="22"/>
                    </a:lnTo>
                    <a:lnTo>
                      <a:pt x="5" y="22"/>
                    </a:lnTo>
                    <a:lnTo>
                      <a:pt x="9" y="24"/>
                    </a:lnTo>
                    <a:lnTo>
                      <a:pt x="13" y="24"/>
                    </a:lnTo>
                    <a:lnTo>
                      <a:pt x="13" y="24"/>
                    </a:lnTo>
                    <a:lnTo>
                      <a:pt x="18" y="24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4" y="18"/>
                    </a:lnTo>
                    <a:lnTo>
                      <a:pt x="24" y="13"/>
                    </a:lnTo>
                    <a:lnTo>
                      <a:pt x="24" y="7"/>
                    </a:lnTo>
                    <a:lnTo>
                      <a:pt x="22" y="5"/>
                    </a:lnTo>
                    <a:lnTo>
                      <a:pt x="22" y="5"/>
                    </a:lnTo>
                    <a:lnTo>
                      <a:pt x="18" y="0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60" name="Freeform 371"/>
              <p:cNvSpPr>
                <a:spLocks/>
              </p:cNvSpPr>
              <p:nvPr userDrawn="1"/>
            </p:nvSpPr>
            <p:spPr bwMode="auto">
              <a:xfrm>
                <a:off x="3416" y="3647"/>
                <a:ext cx="24" cy="24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13" y="0"/>
                  </a:cxn>
                  <a:cxn ang="0">
                    <a:pos x="9" y="0"/>
                  </a:cxn>
                  <a:cxn ang="0">
                    <a:pos x="5" y="5"/>
                  </a:cxn>
                  <a:cxn ang="0">
                    <a:pos x="5" y="5"/>
                  </a:cxn>
                  <a:cxn ang="0">
                    <a:pos x="0" y="7"/>
                  </a:cxn>
                  <a:cxn ang="0">
                    <a:pos x="0" y="13"/>
                  </a:cxn>
                  <a:cxn ang="0">
                    <a:pos x="0" y="18"/>
                  </a:cxn>
                  <a:cxn ang="0">
                    <a:pos x="5" y="22"/>
                  </a:cxn>
                  <a:cxn ang="0">
                    <a:pos x="5" y="22"/>
                  </a:cxn>
                  <a:cxn ang="0">
                    <a:pos x="9" y="24"/>
                  </a:cxn>
                  <a:cxn ang="0">
                    <a:pos x="13" y="24"/>
                  </a:cxn>
                  <a:cxn ang="0">
                    <a:pos x="13" y="24"/>
                  </a:cxn>
                  <a:cxn ang="0">
                    <a:pos x="18" y="24"/>
                  </a:cxn>
                  <a:cxn ang="0">
                    <a:pos x="22" y="22"/>
                  </a:cxn>
                  <a:cxn ang="0">
                    <a:pos x="22" y="22"/>
                  </a:cxn>
                  <a:cxn ang="0">
                    <a:pos x="24" y="18"/>
                  </a:cxn>
                  <a:cxn ang="0">
                    <a:pos x="24" y="13"/>
                  </a:cxn>
                  <a:cxn ang="0">
                    <a:pos x="24" y="7"/>
                  </a:cxn>
                  <a:cxn ang="0">
                    <a:pos x="22" y="5"/>
                  </a:cxn>
                  <a:cxn ang="0">
                    <a:pos x="22" y="5"/>
                  </a:cxn>
                  <a:cxn ang="0">
                    <a:pos x="18" y="0"/>
                  </a:cxn>
                  <a:cxn ang="0">
                    <a:pos x="13" y="0"/>
                  </a:cxn>
                </a:cxnLst>
                <a:rect l="0" t="0" r="r" b="b"/>
                <a:pathLst>
                  <a:path w="24" h="24">
                    <a:moveTo>
                      <a:pt x="13" y="0"/>
                    </a:moveTo>
                    <a:lnTo>
                      <a:pt x="13" y="0"/>
                    </a:lnTo>
                    <a:lnTo>
                      <a:pt x="9" y="0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0" y="7"/>
                    </a:lnTo>
                    <a:lnTo>
                      <a:pt x="0" y="13"/>
                    </a:lnTo>
                    <a:lnTo>
                      <a:pt x="0" y="18"/>
                    </a:lnTo>
                    <a:lnTo>
                      <a:pt x="5" y="22"/>
                    </a:lnTo>
                    <a:lnTo>
                      <a:pt x="5" y="22"/>
                    </a:lnTo>
                    <a:lnTo>
                      <a:pt x="9" y="24"/>
                    </a:lnTo>
                    <a:lnTo>
                      <a:pt x="13" y="24"/>
                    </a:lnTo>
                    <a:lnTo>
                      <a:pt x="13" y="24"/>
                    </a:lnTo>
                    <a:lnTo>
                      <a:pt x="18" y="24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4" y="18"/>
                    </a:lnTo>
                    <a:lnTo>
                      <a:pt x="24" y="13"/>
                    </a:lnTo>
                    <a:lnTo>
                      <a:pt x="24" y="7"/>
                    </a:lnTo>
                    <a:lnTo>
                      <a:pt x="22" y="5"/>
                    </a:lnTo>
                    <a:lnTo>
                      <a:pt x="22" y="5"/>
                    </a:lnTo>
                    <a:lnTo>
                      <a:pt x="18" y="0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61" name="Freeform 372"/>
              <p:cNvSpPr>
                <a:spLocks/>
              </p:cNvSpPr>
              <p:nvPr userDrawn="1"/>
            </p:nvSpPr>
            <p:spPr bwMode="auto">
              <a:xfrm>
                <a:off x="3368" y="3659"/>
                <a:ext cx="18" cy="24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6" y="2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0" y="7"/>
                  </a:cxn>
                  <a:cxn ang="0">
                    <a:pos x="0" y="11"/>
                  </a:cxn>
                  <a:cxn ang="0">
                    <a:pos x="0" y="15"/>
                  </a:cxn>
                  <a:cxn ang="0">
                    <a:pos x="4" y="20"/>
                  </a:cxn>
                  <a:cxn ang="0">
                    <a:pos x="4" y="20"/>
                  </a:cxn>
                  <a:cxn ang="0">
                    <a:pos x="6" y="22"/>
                  </a:cxn>
                  <a:cxn ang="0">
                    <a:pos x="9" y="24"/>
                  </a:cxn>
                  <a:cxn ang="0">
                    <a:pos x="9" y="24"/>
                  </a:cxn>
                  <a:cxn ang="0">
                    <a:pos x="13" y="22"/>
                  </a:cxn>
                  <a:cxn ang="0">
                    <a:pos x="17" y="20"/>
                  </a:cxn>
                  <a:cxn ang="0">
                    <a:pos x="17" y="20"/>
                  </a:cxn>
                  <a:cxn ang="0">
                    <a:pos x="18" y="15"/>
                  </a:cxn>
                  <a:cxn ang="0">
                    <a:pos x="18" y="11"/>
                  </a:cxn>
                  <a:cxn ang="0">
                    <a:pos x="18" y="7"/>
                  </a:cxn>
                  <a:cxn ang="0">
                    <a:pos x="17" y="5"/>
                  </a:cxn>
                  <a:cxn ang="0">
                    <a:pos x="17" y="5"/>
                  </a:cxn>
                  <a:cxn ang="0">
                    <a:pos x="13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24">
                    <a:moveTo>
                      <a:pt x="9" y="0"/>
                    </a:moveTo>
                    <a:lnTo>
                      <a:pt x="9" y="0"/>
                    </a:lnTo>
                    <a:lnTo>
                      <a:pt x="6" y="2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0" y="7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6" y="22"/>
                    </a:lnTo>
                    <a:lnTo>
                      <a:pt x="9" y="24"/>
                    </a:lnTo>
                    <a:lnTo>
                      <a:pt x="9" y="24"/>
                    </a:lnTo>
                    <a:lnTo>
                      <a:pt x="13" y="22"/>
                    </a:lnTo>
                    <a:lnTo>
                      <a:pt x="17" y="20"/>
                    </a:lnTo>
                    <a:lnTo>
                      <a:pt x="17" y="20"/>
                    </a:lnTo>
                    <a:lnTo>
                      <a:pt x="18" y="15"/>
                    </a:lnTo>
                    <a:lnTo>
                      <a:pt x="18" y="11"/>
                    </a:lnTo>
                    <a:lnTo>
                      <a:pt x="18" y="7"/>
                    </a:lnTo>
                    <a:lnTo>
                      <a:pt x="17" y="5"/>
                    </a:lnTo>
                    <a:lnTo>
                      <a:pt x="17" y="5"/>
                    </a:lnTo>
                    <a:lnTo>
                      <a:pt x="13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62" name="Freeform 373"/>
              <p:cNvSpPr>
                <a:spLocks/>
              </p:cNvSpPr>
              <p:nvPr userDrawn="1"/>
            </p:nvSpPr>
            <p:spPr bwMode="auto">
              <a:xfrm>
                <a:off x="3368" y="3659"/>
                <a:ext cx="18" cy="24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6" y="2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0" y="7"/>
                  </a:cxn>
                  <a:cxn ang="0">
                    <a:pos x="0" y="11"/>
                  </a:cxn>
                  <a:cxn ang="0">
                    <a:pos x="0" y="15"/>
                  </a:cxn>
                  <a:cxn ang="0">
                    <a:pos x="4" y="20"/>
                  </a:cxn>
                  <a:cxn ang="0">
                    <a:pos x="4" y="20"/>
                  </a:cxn>
                  <a:cxn ang="0">
                    <a:pos x="6" y="22"/>
                  </a:cxn>
                  <a:cxn ang="0">
                    <a:pos x="9" y="24"/>
                  </a:cxn>
                  <a:cxn ang="0">
                    <a:pos x="9" y="24"/>
                  </a:cxn>
                  <a:cxn ang="0">
                    <a:pos x="13" y="22"/>
                  </a:cxn>
                  <a:cxn ang="0">
                    <a:pos x="17" y="20"/>
                  </a:cxn>
                  <a:cxn ang="0">
                    <a:pos x="17" y="20"/>
                  </a:cxn>
                  <a:cxn ang="0">
                    <a:pos x="18" y="15"/>
                  </a:cxn>
                  <a:cxn ang="0">
                    <a:pos x="18" y="11"/>
                  </a:cxn>
                  <a:cxn ang="0">
                    <a:pos x="18" y="7"/>
                  </a:cxn>
                  <a:cxn ang="0">
                    <a:pos x="17" y="5"/>
                  </a:cxn>
                  <a:cxn ang="0">
                    <a:pos x="17" y="5"/>
                  </a:cxn>
                  <a:cxn ang="0">
                    <a:pos x="13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24">
                    <a:moveTo>
                      <a:pt x="9" y="0"/>
                    </a:moveTo>
                    <a:lnTo>
                      <a:pt x="9" y="0"/>
                    </a:lnTo>
                    <a:lnTo>
                      <a:pt x="6" y="2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0" y="7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6" y="22"/>
                    </a:lnTo>
                    <a:lnTo>
                      <a:pt x="9" y="24"/>
                    </a:lnTo>
                    <a:lnTo>
                      <a:pt x="9" y="24"/>
                    </a:lnTo>
                    <a:lnTo>
                      <a:pt x="13" y="22"/>
                    </a:lnTo>
                    <a:lnTo>
                      <a:pt x="17" y="20"/>
                    </a:lnTo>
                    <a:lnTo>
                      <a:pt x="17" y="20"/>
                    </a:lnTo>
                    <a:lnTo>
                      <a:pt x="18" y="15"/>
                    </a:lnTo>
                    <a:lnTo>
                      <a:pt x="18" y="11"/>
                    </a:lnTo>
                    <a:lnTo>
                      <a:pt x="18" y="7"/>
                    </a:lnTo>
                    <a:lnTo>
                      <a:pt x="17" y="5"/>
                    </a:lnTo>
                    <a:lnTo>
                      <a:pt x="17" y="5"/>
                    </a:lnTo>
                    <a:lnTo>
                      <a:pt x="13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63" name="Freeform 374"/>
              <p:cNvSpPr>
                <a:spLocks/>
              </p:cNvSpPr>
              <p:nvPr userDrawn="1"/>
            </p:nvSpPr>
            <p:spPr bwMode="auto">
              <a:xfrm>
                <a:off x="3314" y="3665"/>
                <a:ext cx="24" cy="18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5" y="2"/>
                  </a:cxn>
                  <a:cxn ang="0">
                    <a:pos x="5" y="2"/>
                  </a:cxn>
                  <a:cxn ang="0">
                    <a:pos x="3" y="6"/>
                  </a:cxn>
                  <a:cxn ang="0">
                    <a:pos x="0" y="10"/>
                  </a:cxn>
                  <a:cxn ang="0">
                    <a:pos x="3" y="12"/>
                  </a:cxn>
                  <a:cxn ang="0">
                    <a:pos x="5" y="16"/>
                  </a:cxn>
                  <a:cxn ang="0">
                    <a:pos x="5" y="16"/>
                  </a:cxn>
                  <a:cxn ang="0">
                    <a:pos x="8" y="18"/>
                  </a:cxn>
                  <a:cxn ang="0">
                    <a:pos x="12" y="18"/>
                  </a:cxn>
                  <a:cxn ang="0">
                    <a:pos x="12" y="18"/>
                  </a:cxn>
                  <a:cxn ang="0">
                    <a:pos x="17" y="18"/>
                  </a:cxn>
                  <a:cxn ang="0">
                    <a:pos x="20" y="16"/>
                  </a:cxn>
                  <a:cxn ang="0">
                    <a:pos x="20" y="16"/>
                  </a:cxn>
                  <a:cxn ang="0">
                    <a:pos x="22" y="12"/>
                  </a:cxn>
                  <a:cxn ang="0">
                    <a:pos x="24" y="10"/>
                  </a:cxn>
                  <a:cxn ang="0">
                    <a:pos x="22" y="6"/>
                  </a:cxn>
                  <a:cxn ang="0">
                    <a:pos x="20" y="2"/>
                  </a:cxn>
                  <a:cxn ang="0">
                    <a:pos x="20" y="2"/>
                  </a:cxn>
                  <a:cxn ang="0">
                    <a:pos x="17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18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5" y="2"/>
                    </a:lnTo>
                    <a:lnTo>
                      <a:pt x="5" y="2"/>
                    </a:lnTo>
                    <a:lnTo>
                      <a:pt x="3" y="6"/>
                    </a:lnTo>
                    <a:lnTo>
                      <a:pt x="0" y="10"/>
                    </a:lnTo>
                    <a:lnTo>
                      <a:pt x="3" y="12"/>
                    </a:lnTo>
                    <a:lnTo>
                      <a:pt x="5" y="16"/>
                    </a:lnTo>
                    <a:lnTo>
                      <a:pt x="5" y="16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7" y="18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2" y="12"/>
                    </a:lnTo>
                    <a:lnTo>
                      <a:pt x="24" y="10"/>
                    </a:lnTo>
                    <a:lnTo>
                      <a:pt x="22" y="6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7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64" name="Freeform 375"/>
              <p:cNvSpPr>
                <a:spLocks/>
              </p:cNvSpPr>
              <p:nvPr userDrawn="1"/>
            </p:nvSpPr>
            <p:spPr bwMode="auto">
              <a:xfrm>
                <a:off x="3314" y="3665"/>
                <a:ext cx="24" cy="18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5" y="2"/>
                  </a:cxn>
                  <a:cxn ang="0">
                    <a:pos x="5" y="2"/>
                  </a:cxn>
                  <a:cxn ang="0">
                    <a:pos x="3" y="6"/>
                  </a:cxn>
                  <a:cxn ang="0">
                    <a:pos x="0" y="10"/>
                  </a:cxn>
                  <a:cxn ang="0">
                    <a:pos x="3" y="12"/>
                  </a:cxn>
                  <a:cxn ang="0">
                    <a:pos x="5" y="16"/>
                  </a:cxn>
                  <a:cxn ang="0">
                    <a:pos x="5" y="16"/>
                  </a:cxn>
                  <a:cxn ang="0">
                    <a:pos x="8" y="18"/>
                  </a:cxn>
                  <a:cxn ang="0">
                    <a:pos x="12" y="18"/>
                  </a:cxn>
                  <a:cxn ang="0">
                    <a:pos x="12" y="18"/>
                  </a:cxn>
                  <a:cxn ang="0">
                    <a:pos x="17" y="18"/>
                  </a:cxn>
                  <a:cxn ang="0">
                    <a:pos x="20" y="16"/>
                  </a:cxn>
                  <a:cxn ang="0">
                    <a:pos x="20" y="16"/>
                  </a:cxn>
                  <a:cxn ang="0">
                    <a:pos x="22" y="12"/>
                  </a:cxn>
                  <a:cxn ang="0">
                    <a:pos x="24" y="10"/>
                  </a:cxn>
                  <a:cxn ang="0">
                    <a:pos x="22" y="6"/>
                  </a:cxn>
                  <a:cxn ang="0">
                    <a:pos x="20" y="2"/>
                  </a:cxn>
                  <a:cxn ang="0">
                    <a:pos x="20" y="2"/>
                  </a:cxn>
                  <a:cxn ang="0">
                    <a:pos x="17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18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5" y="2"/>
                    </a:lnTo>
                    <a:lnTo>
                      <a:pt x="5" y="2"/>
                    </a:lnTo>
                    <a:lnTo>
                      <a:pt x="3" y="6"/>
                    </a:lnTo>
                    <a:lnTo>
                      <a:pt x="0" y="10"/>
                    </a:lnTo>
                    <a:lnTo>
                      <a:pt x="3" y="12"/>
                    </a:lnTo>
                    <a:lnTo>
                      <a:pt x="5" y="16"/>
                    </a:lnTo>
                    <a:lnTo>
                      <a:pt x="5" y="16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7" y="18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2" y="12"/>
                    </a:lnTo>
                    <a:lnTo>
                      <a:pt x="24" y="10"/>
                    </a:lnTo>
                    <a:lnTo>
                      <a:pt x="22" y="6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7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65" name="Freeform 376"/>
              <p:cNvSpPr>
                <a:spLocks/>
              </p:cNvSpPr>
              <p:nvPr userDrawn="1"/>
            </p:nvSpPr>
            <p:spPr bwMode="auto">
              <a:xfrm>
                <a:off x="3266" y="3665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5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4"/>
                  </a:cxn>
                  <a:cxn ang="0">
                    <a:pos x="2" y="14"/>
                  </a:cxn>
                  <a:cxn ang="0">
                    <a:pos x="5" y="16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1" y="16"/>
                  </a:cxn>
                  <a:cxn ang="0">
                    <a:pos x="16" y="14"/>
                  </a:cxn>
                  <a:cxn ang="0">
                    <a:pos x="16" y="14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1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5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5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1" y="16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6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1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66" name="Freeform 377"/>
              <p:cNvSpPr>
                <a:spLocks/>
              </p:cNvSpPr>
              <p:nvPr userDrawn="1"/>
            </p:nvSpPr>
            <p:spPr bwMode="auto">
              <a:xfrm>
                <a:off x="3266" y="3665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5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4"/>
                  </a:cxn>
                  <a:cxn ang="0">
                    <a:pos x="2" y="14"/>
                  </a:cxn>
                  <a:cxn ang="0">
                    <a:pos x="5" y="16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1" y="16"/>
                  </a:cxn>
                  <a:cxn ang="0">
                    <a:pos x="16" y="14"/>
                  </a:cxn>
                  <a:cxn ang="0">
                    <a:pos x="16" y="14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1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5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5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1" y="16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6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1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67" name="Freeform 378"/>
              <p:cNvSpPr>
                <a:spLocks/>
              </p:cNvSpPr>
              <p:nvPr userDrawn="1"/>
            </p:nvSpPr>
            <p:spPr bwMode="auto">
              <a:xfrm>
                <a:off x="3218" y="3653"/>
                <a:ext cx="12" cy="12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5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7"/>
                  </a:cxn>
                  <a:cxn ang="0">
                    <a:pos x="2" y="11"/>
                  </a:cxn>
                  <a:cxn ang="0">
                    <a:pos x="2" y="11"/>
                  </a:cxn>
                  <a:cxn ang="0">
                    <a:pos x="5" y="12"/>
                  </a:cxn>
                  <a:cxn ang="0">
                    <a:pos x="5" y="12"/>
                  </a:cxn>
                  <a:cxn ang="0">
                    <a:pos x="11" y="11"/>
                  </a:cxn>
                  <a:cxn ang="0">
                    <a:pos x="11" y="11"/>
                  </a:cxn>
                  <a:cxn ang="0">
                    <a:pos x="12" y="7"/>
                  </a:cxn>
                  <a:cxn ang="0">
                    <a:pos x="11" y="2"/>
                  </a:cxn>
                  <a:cxn ang="0">
                    <a:pos x="11" y="2"/>
                  </a:cxn>
                  <a:cxn ang="0">
                    <a:pos x="5" y="0"/>
                  </a:cxn>
                </a:cxnLst>
                <a:rect l="0" t="0" r="r" b="b"/>
                <a:pathLst>
                  <a:path w="12" h="12">
                    <a:moveTo>
                      <a:pt x="5" y="0"/>
                    </a:moveTo>
                    <a:lnTo>
                      <a:pt x="5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7"/>
                    </a:lnTo>
                    <a:lnTo>
                      <a:pt x="2" y="11"/>
                    </a:lnTo>
                    <a:lnTo>
                      <a:pt x="2" y="11"/>
                    </a:lnTo>
                    <a:lnTo>
                      <a:pt x="5" y="12"/>
                    </a:lnTo>
                    <a:lnTo>
                      <a:pt x="5" y="12"/>
                    </a:lnTo>
                    <a:lnTo>
                      <a:pt x="11" y="11"/>
                    </a:lnTo>
                    <a:lnTo>
                      <a:pt x="11" y="11"/>
                    </a:lnTo>
                    <a:lnTo>
                      <a:pt x="12" y="7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68" name="Freeform 379"/>
              <p:cNvSpPr>
                <a:spLocks/>
              </p:cNvSpPr>
              <p:nvPr userDrawn="1"/>
            </p:nvSpPr>
            <p:spPr bwMode="auto">
              <a:xfrm>
                <a:off x="3218" y="3653"/>
                <a:ext cx="12" cy="12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5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7"/>
                  </a:cxn>
                  <a:cxn ang="0">
                    <a:pos x="2" y="11"/>
                  </a:cxn>
                  <a:cxn ang="0">
                    <a:pos x="2" y="11"/>
                  </a:cxn>
                  <a:cxn ang="0">
                    <a:pos x="5" y="12"/>
                  </a:cxn>
                  <a:cxn ang="0">
                    <a:pos x="5" y="12"/>
                  </a:cxn>
                  <a:cxn ang="0">
                    <a:pos x="11" y="11"/>
                  </a:cxn>
                  <a:cxn ang="0">
                    <a:pos x="11" y="11"/>
                  </a:cxn>
                  <a:cxn ang="0">
                    <a:pos x="12" y="7"/>
                  </a:cxn>
                  <a:cxn ang="0">
                    <a:pos x="11" y="2"/>
                  </a:cxn>
                  <a:cxn ang="0">
                    <a:pos x="11" y="2"/>
                  </a:cxn>
                  <a:cxn ang="0">
                    <a:pos x="5" y="0"/>
                  </a:cxn>
                </a:cxnLst>
                <a:rect l="0" t="0" r="r" b="b"/>
                <a:pathLst>
                  <a:path w="12" h="12">
                    <a:moveTo>
                      <a:pt x="5" y="0"/>
                    </a:moveTo>
                    <a:lnTo>
                      <a:pt x="5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7"/>
                    </a:lnTo>
                    <a:lnTo>
                      <a:pt x="2" y="11"/>
                    </a:lnTo>
                    <a:lnTo>
                      <a:pt x="2" y="11"/>
                    </a:lnTo>
                    <a:lnTo>
                      <a:pt x="5" y="12"/>
                    </a:lnTo>
                    <a:lnTo>
                      <a:pt x="5" y="12"/>
                    </a:lnTo>
                    <a:lnTo>
                      <a:pt x="11" y="11"/>
                    </a:lnTo>
                    <a:lnTo>
                      <a:pt x="11" y="11"/>
                    </a:lnTo>
                    <a:lnTo>
                      <a:pt x="12" y="7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69" name="Freeform 380"/>
              <p:cNvSpPr>
                <a:spLocks/>
              </p:cNvSpPr>
              <p:nvPr userDrawn="1"/>
            </p:nvSpPr>
            <p:spPr bwMode="auto">
              <a:xfrm>
                <a:off x="3170" y="3629"/>
                <a:ext cx="12" cy="12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5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5"/>
                  </a:cxn>
                  <a:cxn ang="0">
                    <a:pos x="2" y="11"/>
                  </a:cxn>
                  <a:cxn ang="0">
                    <a:pos x="2" y="11"/>
                  </a:cxn>
                  <a:cxn ang="0">
                    <a:pos x="5" y="12"/>
                  </a:cxn>
                  <a:cxn ang="0">
                    <a:pos x="5" y="12"/>
                  </a:cxn>
                  <a:cxn ang="0">
                    <a:pos x="11" y="11"/>
                  </a:cxn>
                  <a:cxn ang="0">
                    <a:pos x="11" y="11"/>
                  </a:cxn>
                  <a:cxn ang="0">
                    <a:pos x="12" y="5"/>
                  </a:cxn>
                  <a:cxn ang="0">
                    <a:pos x="11" y="2"/>
                  </a:cxn>
                  <a:cxn ang="0">
                    <a:pos x="11" y="2"/>
                  </a:cxn>
                  <a:cxn ang="0">
                    <a:pos x="5" y="0"/>
                  </a:cxn>
                </a:cxnLst>
                <a:rect l="0" t="0" r="r" b="b"/>
                <a:pathLst>
                  <a:path w="12" h="12">
                    <a:moveTo>
                      <a:pt x="5" y="0"/>
                    </a:moveTo>
                    <a:lnTo>
                      <a:pt x="5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5"/>
                    </a:lnTo>
                    <a:lnTo>
                      <a:pt x="2" y="11"/>
                    </a:lnTo>
                    <a:lnTo>
                      <a:pt x="2" y="11"/>
                    </a:lnTo>
                    <a:lnTo>
                      <a:pt x="5" y="12"/>
                    </a:lnTo>
                    <a:lnTo>
                      <a:pt x="5" y="12"/>
                    </a:lnTo>
                    <a:lnTo>
                      <a:pt x="11" y="11"/>
                    </a:lnTo>
                    <a:lnTo>
                      <a:pt x="11" y="11"/>
                    </a:lnTo>
                    <a:lnTo>
                      <a:pt x="12" y="5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70" name="Freeform 381"/>
              <p:cNvSpPr>
                <a:spLocks/>
              </p:cNvSpPr>
              <p:nvPr userDrawn="1"/>
            </p:nvSpPr>
            <p:spPr bwMode="auto">
              <a:xfrm>
                <a:off x="3170" y="3629"/>
                <a:ext cx="12" cy="12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5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5"/>
                  </a:cxn>
                  <a:cxn ang="0">
                    <a:pos x="2" y="11"/>
                  </a:cxn>
                  <a:cxn ang="0">
                    <a:pos x="2" y="11"/>
                  </a:cxn>
                  <a:cxn ang="0">
                    <a:pos x="5" y="12"/>
                  </a:cxn>
                  <a:cxn ang="0">
                    <a:pos x="5" y="12"/>
                  </a:cxn>
                  <a:cxn ang="0">
                    <a:pos x="11" y="11"/>
                  </a:cxn>
                  <a:cxn ang="0">
                    <a:pos x="11" y="11"/>
                  </a:cxn>
                  <a:cxn ang="0">
                    <a:pos x="12" y="5"/>
                  </a:cxn>
                  <a:cxn ang="0">
                    <a:pos x="11" y="2"/>
                  </a:cxn>
                  <a:cxn ang="0">
                    <a:pos x="11" y="2"/>
                  </a:cxn>
                  <a:cxn ang="0">
                    <a:pos x="5" y="0"/>
                  </a:cxn>
                </a:cxnLst>
                <a:rect l="0" t="0" r="r" b="b"/>
                <a:pathLst>
                  <a:path w="12" h="12">
                    <a:moveTo>
                      <a:pt x="5" y="0"/>
                    </a:moveTo>
                    <a:lnTo>
                      <a:pt x="5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5"/>
                    </a:lnTo>
                    <a:lnTo>
                      <a:pt x="2" y="11"/>
                    </a:lnTo>
                    <a:lnTo>
                      <a:pt x="2" y="11"/>
                    </a:lnTo>
                    <a:lnTo>
                      <a:pt x="5" y="12"/>
                    </a:lnTo>
                    <a:lnTo>
                      <a:pt x="5" y="12"/>
                    </a:lnTo>
                    <a:lnTo>
                      <a:pt x="11" y="11"/>
                    </a:lnTo>
                    <a:lnTo>
                      <a:pt x="11" y="11"/>
                    </a:lnTo>
                    <a:lnTo>
                      <a:pt x="12" y="5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71" name="Freeform 382"/>
              <p:cNvSpPr>
                <a:spLocks/>
              </p:cNvSpPr>
              <p:nvPr userDrawn="1"/>
            </p:nvSpPr>
            <p:spPr bwMode="auto">
              <a:xfrm>
                <a:off x="3128" y="3599"/>
                <a:ext cx="12" cy="12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72" name="Freeform 383"/>
              <p:cNvSpPr>
                <a:spLocks/>
              </p:cNvSpPr>
              <p:nvPr userDrawn="1"/>
            </p:nvSpPr>
            <p:spPr bwMode="auto">
              <a:xfrm>
                <a:off x="3128" y="3599"/>
                <a:ext cx="12" cy="12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73" name="Freeform 384"/>
              <p:cNvSpPr>
                <a:spLocks/>
              </p:cNvSpPr>
              <p:nvPr userDrawn="1"/>
            </p:nvSpPr>
            <p:spPr bwMode="auto">
              <a:xfrm>
                <a:off x="3092" y="3563"/>
                <a:ext cx="6" cy="1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3" y="12"/>
                  </a:cxn>
                  <a:cxn ang="0">
                    <a:pos x="3" y="12"/>
                  </a:cxn>
                  <a:cxn ang="0">
                    <a:pos x="5" y="12"/>
                  </a:cxn>
                  <a:cxn ang="0">
                    <a:pos x="5" y="12"/>
                  </a:cxn>
                  <a:cxn ang="0">
                    <a:pos x="6" y="8"/>
                  </a:cxn>
                  <a:cxn ang="0">
                    <a:pos x="5" y="3"/>
                  </a:cxn>
                  <a:cxn ang="0">
                    <a:pos x="5" y="3"/>
                  </a:cxn>
                  <a:cxn ang="0">
                    <a:pos x="3" y="0"/>
                  </a:cxn>
                </a:cxnLst>
                <a:rect l="0" t="0" r="r" b="b"/>
                <a:pathLst>
                  <a:path w="6" h="12">
                    <a:moveTo>
                      <a:pt x="3" y="0"/>
                    </a:moveTo>
                    <a:lnTo>
                      <a:pt x="3" y="0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3" y="12"/>
                    </a:lnTo>
                    <a:lnTo>
                      <a:pt x="3" y="12"/>
                    </a:lnTo>
                    <a:lnTo>
                      <a:pt x="5" y="12"/>
                    </a:lnTo>
                    <a:lnTo>
                      <a:pt x="5" y="12"/>
                    </a:lnTo>
                    <a:lnTo>
                      <a:pt x="6" y="8"/>
                    </a:lnTo>
                    <a:lnTo>
                      <a:pt x="5" y="3"/>
                    </a:lnTo>
                    <a:lnTo>
                      <a:pt x="5" y="3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74" name="Freeform 385"/>
              <p:cNvSpPr>
                <a:spLocks/>
              </p:cNvSpPr>
              <p:nvPr userDrawn="1"/>
            </p:nvSpPr>
            <p:spPr bwMode="auto">
              <a:xfrm>
                <a:off x="3092" y="3563"/>
                <a:ext cx="6" cy="1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3" y="12"/>
                  </a:cxn>
                  <a:cxn ang="0">
                    <a:pos x="3" y="12"/>
                  </a:cxn>
                  <a:cxn ang="0">
                    <a:pos x="5" y="12"/>
                  </a:cxn>
                  <a:cxn ang="0">
                    <a:pos x="5" y="12"/>
                  </a:cxn>
                  <a:cxn ang="0">
                    <a:pos x="6" y="8"/>
                  </a:cxn>
                  <a:cxn ang="0">
                    <a:pos x="5" y="3"/>
                  </a:cxn>
                  <a:cxn ang="0">
                    <a:pos x="5" y="3"/>
                  </a:cxn>
                  <a:cxn ang="0">
                    <a:pos x="3" y="0"/>
                  </a:cxn>
                </a:cxnLst>
                <a:rect l="0" t="0" r="r" b="b"/>
                <a:pathLst>
                  <a:path w="6" h="12">
                    <a:moveTo>
                      <a:pt x="3" y="0"/>
                    </a:moveTo>
                    <a:lnTo>
                      <a:pt x="3" y="0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3" y="12"/>
                    </a:lnTo>
                    <a:lnTo>
                      <a:pt x="3" y="12"/>
                    </a:lnTo>
                    <a:lnTo>
                      <a:pt x="5" y="12"/>
                    </a:lnTo>
                    <a:lnTo>
                      <a:pt x="5" y="12"/>
                    </a:lnTo>
                    <a:lnTo>
                      <a:pt x="6" y="8"/>
                    </a:lnTo>
                    <a:lnTo>
                      <a:pt x="5" y="3"/>
                    </a:lnTo>
                    <a:lnTo>
                      <a:pt x="5" y="3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75" name="Freeform 386"/>
              <p:cNvSpPr>
                <a:spLocks/>
              </p:cNvSpPr>
              <p:nvPr userDrawn="1"/>
            </p:nvSpPr>
            <p:spPr bwMode="auto">
              <a:xfrm>
                <a:off x="3542" y="3557"/>
                <a:ext cx="30" cy="24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9" y="0"/>
                  </a:cxn>
                  <a:cxn ang="0">
                    <a:pos x="5" y="4"/>
                  </a:cxn>
                  <a:cxn ang="0">
                    <a:pos x="5" y="4"/>
                  </a:cxn>
                  <a:cxn ang="0">
                    <a:pos x="0" y="7"/>
                  </a:cxn>
                  <a:cxn ang="0">
                    <a:pos x="0" y="12"/>
                  </a:cxn>
                  <a:cxn ang="0">
                    <a:pos x="0" y="16"/>
                  </a:cxn>
                  <a:cxn ang="0">
                    <a:pos x="5" y="21"/>
                  </a:cxn>
                  <a:cxn ang="0">
                    <a:pos x="5" y="21"/>
                  </a:cxn>
                  <a:cxn ang="0">
                    <a:pos x="9" y="23"/>
                  </a:cxn>
                  <a:cxn ang="0">
                    <a:pos x="15" y="24"/>
                  </a:cxn>
                  <a:cxn ang="0">
                    <a:pos x="15" y="24"/>
                  </a:cxn>
                  <a:cxn ang="0">
                    <a:pos x="20" y="23"/>
                  </a:cxn>
                  <a:cxn ang="0">
                    <a:pos x="26" y="21"/>
                  </a:cxn>
                  <a:cxn ang="0">
                    <a:pos x="26" y="21"/>
                  </a:cxn>
                  <a:cxn ang="0">
                    <a:pos x="28" y="16"/>
                  </a:cxn>
                  <a:cxn ang="0">
                    <a:pos x="30" y="12"/>
                  </a:cxn>
                  <a:cxn ang="0">
                    <a:pos x="28" y="7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0" y="0"/>
                  </a:cxn>
                  <a:cxn ang="0">
                    <a:pos x="15" y="0"/>
                  </a:cxn>
                </a:cxnLst>
                <a:rect l="0" t="0" r="r" b="b"/>
                <a:pathLst>
                  <a:path w="30" h="24">
                    <a:moveTo>
                      <a:pt x="15" y="0"/>
                    </a:moveTo>
                    <a:lnTo>
                      <a:pt x="15" y="0"/>
                    </a:lnTo>
                    <a:lnTo>
                      <a:pt x="9" y="0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0" y="7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5" y="21"/>
                    </a:lnTo>
                    <a:lnTo>
                      <a:pt x="5" y="21"/>
                    </a:lnTo>
                    <a:lnTo>
                      <a:pt x="9" y="23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20" y="23"/>
                    </a:lnTo>
                    <a:lnTo>
                      <a:pt x="26" y="21"/>
                    </a:lnTo>
                    <a:lnTo>
                      <a:pt x="26" y="21"/>
                    </a:lnTo>
                    <a:lnTo>
                      <a:pt x="28" y="16"/>
                    </a:lnTo>
                    <a:lnTo>
                      <a:pt x="30" y="12"/>
                    </a:lnTo>
                    <a:lnTo>
                      <a:pt x="28" y="7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0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76" name="Freeform 387"/>
              <p:cNvSpPr>
                <a:spLocks/>
              </p:cNvSpPr>
              <p:nvPr userDrawn="1"/>
            </p:nvSpPr>
            <p:spPr bwMode="auto">
              <a:xfrm>
                <a:off x="3542" y="3557"/>
                <a:ext cx="30" cy="24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9" y="0"/>
                  </a:cxn>
                  <a:cxn ang="0">
                    <a:pos x="5" y="4"/>
                  </a:cxn>
                  <a:cxn ang="0">
                    <a:pos x="5" y="4"/>
                  </a:cxn>
                  <a:cxn ang="0">
                    <a:pos x="0" y="7"/>
                  </a:cxn>
                  <a:cxn ang="0">
                    <a:pos x="0" y="12"/>
                  </a:cxn>
                  <a:cxn ang="0">
                    <a:pos x="0" y="16"/>
                  </a:cxn>
                  <a:cxn ang="0">
                    <a:pos x="5" y="21"/>
                  </a:cxn>
                  <a:cxn ang="0">
                    <a:pos x="5" y="21"/>
                  </a:cxn>
                  <a:cxn ang="0">
                    <a:pos x="9" y="23"/>
                  </a:cxn>
                  <a:cxn ang="0">
                    <a:pos x="15" y="24"/>
                  </a:cxn>
                  <a:cxn ang="0">
                    <a:pos x="15" y="24"/>
                  </a:cxn>
                  <a:cxn ang="0">
                    <a:pos x="20" y="23"/>
                  </a:cxn>
                  <a:cxn ang="0">
                    <a:pos x="26" y="21"/>
                  </a:cxn>
                  <a:cxn ang="0">
                    <a:pos x="26" y="21"/>
                  </a:cxn>
                  <a:cxn ang="0">
                    <a:pos x="28" y="16"/>
                  </a:cxn>
                  <a:cxn ang="0">
                    <a:pos x="30" y="12"/>
                  </a:cxn>
                  <a:cxn ang="0">
                    <a:pos x="28" y="7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0" y="0"/>
                  </a:cxn>
                  <a:cxn ang="0">
                    <a:pos x="15" y="0"/>
                  </a:cxn>
                </a:cxnLst>
                <a:rect l="0" t="0" r="r" b="b"/>
                <a:pathLst>
                  <a:path w="30" h="24">
                    <a:moveTo>
                      <a:pt x="15" y="0"/>
                    </a:moveTo>
                    <a:lnTo>
                      <a:pt x="15" y="0"/>
                    </a:lnTo>
                    <a:lnTo>
                      <a:pt x="9" y="0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0" y="7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5" y="21"/>
                    </a:lnTo>
                    <a:lnTo>
                      <a:pt x="5" y="21"/>
                    </a:lnTo>
                    <a:lnTo>
                      <a:pt x="9" y="23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20" y="23"/>
                    </a:lnTo>
                    <a:lnTo>
                      <a:pt x="26" y="21"/>
                    </a:lnTo>
                    <a:lnTo>
                      <a:pt x="26" y="21"/>
                    </a:lnTo>
                    <a:lnTo>
                      <a:pt x="28" y="16"/>
                    </a:lnTo>
                    <a:lnTo>
                      <a:pt x="30" y="12"/>
                    </a:lnTo>
                    <a:lnTo>
                      <a:pt x="28" y="7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0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77" name="Freeform 388"/>
              <p:cNvSpPr>
                <a:spLocks/>
              </p:cNvSpPr>
              <p:nvPr userDrawn="1"/>
            </p:nvSpPr>
            <p:spPr bwMode="auto">
              <a:xfrm>
                <a:off x="3578" y="3515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6" y="0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2" y="22"/>
                  </a:cxn>
                  <a:cxn ang="0">
                    <a:pos x="6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0" y="22"/>
                  </a:cxn>
                  <a:cxn ang="0">
                    <a:pos x="24" y="18"/>
                  </a:cxn>
                  <a:cxn ang="0">
                    <a:pos x="24" y="12"/>
                  </a:cxn>
                  <a:cxn ang="0">
                    <a:pos x="24" y="8"/>
                  </a:cxn>
                  <a:cxn ang="0">
                    <a:pos x="20" y="4"/>
                  </a:cxn>
                  <a:cxn ang="0">
                    <a:pos x="20" y="4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6" y="0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6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4" y="18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78" name="Freeform 389"/>
              <p:cNvSpPr>
                <a:spLocks/>
              </p:cNvSpPr>
              <p:nvPr userDrawn="1"/>
            </p:nvSpPr>
            <p:spPr bwMode="auto">
              <a:xfrm>
                <a:off x="3578" y="3515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6" y="0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2" y="22"/>
                  </a:cxn>
                  <a:cxn ang="0">
                    <a:pos x="6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0" y="22"/>
                  </a:cxn>
                  <a:cxn ang="0">
                    <a:pos x="24" y="18"/>
                  </a:cxn>
                  <a:cxn ang="0">
                    <a:pos x="24" y="12"/>
                  </a:cxn>
                  <a:cxn ang="0">
                    <a:pos x="24" y="8"/>
                  </a:cxn>
                  <a:cxn ang="0">
                    <a:pos x="20" y="4"/>
                  </a:cxn>
                  <a:cxn ang="0">
                    <a:pos x="20" y="4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6" y="0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6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4" y="18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79" name="Freeform 390"/>
              <p:cNvSpPr>
                <a:spLocks/>
              </p:cNvSpPr>
              <p:nvPr userDrawn="1"/>
            </p:nvSpPr>
            <p:spPr bwMode="auto">
              <a:xfrm>
                <a:off x="3596" y="3467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7"/>
                  </a:cxn>
                  <a:cxn ang="0">
                    <a:pos x="0" y="11"/>
                  </a:cxn>
                  <a:cxn ang="0">
                    <a:pos x="2" y="15"/>
                  </a:cxn>
                  <a:cxn ang="0">
                    <a:pos x="4" y="20"/>
                  </a:cxn>
                  <a:cxn ang="0">
                    <a:pos x="4" y="20"/>
                  </a:cxn>
                  <a:cxn ang="0">
                    <a:pos x="8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4"/>
                  </a:cxn>
                  <a:cxn ang="0">
                    <a:pos x="20" y="20"/>
                  </a:cxn>
                  <a:cxn ang="0">
                    <a:pos x="20" y="20"/>
                  </a:cxn>
                  <a:cxn ang="0">
                    <a:pos x="22" y="15"/>
                  </a:cxn>
                  <a:cxn ang="0">
                    <a:pos x="24" y="11"/>
                  </a:cxn>
                  <a:cxn ang="0">
                    <a:pos x="22" y="7"/>
                  </a:cxn>
                  <a:cxn ang="0">
                    <a:pos x="20" y="2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7"/>
                    </a:lnTo>
                    <a:lnTo>
                      <a:pt x="0" y="11"/>
                    </a:lnTo>
                    <a:lnTo>
                      <a:pt x="2" y="15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22" y="15"/>
                    </a:lnTo>
                    <a:lnTo>
                      <a:pt x="24" y="11"/>
                    </a:lnTo>
                    <a:lnTo>
                      <a:pt x="22" y="7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80" name="Freeform 391"/>
              <p:cNvSpPr>
                <a:spLocks/>
              </p:cNvSpPr>
              <p:nvPr userDrawn="1"/>
            </p:nvSpPr>
            <p:spPr bwMode="auto">
              <a:xfrm>
                <a:off x="3596" y="3467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7"/>
                  </a:cxn>
                  <a:cxn ang="0">
                    <a:pos x="0" y="11"/>
                  </a:cxn>
                  <a:cxn ang="0">
                    <a:pos x="2" y="15"/>
                  </a:cxn>
                  <a:cxn ang="0">
                    <a:pos x="4" y="20"/>
                  </a:cxn>
                  <a:cxn ang="0">
                    <a:pos x="4" y="20"/>
                  </a:cxn>
                  <a:cxn ang="0">
                    <a:pos x="8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4"/>
                  </a:cxn>
                  <a:cxn ang="0">
                    <a:pos x="20" y="20"/>
                  </a:cxn>
                  <a:cxn ang="0">
                    <a:pos x="20" y="20"/>
                  </a:cxn>
                  <a:cxn ang="0">
                    <a:pos x="22" y="15"/>
                  </a:cxn>
                  <a:cxn ang="0">
                    <a:pos x="24" y="11"/>
                  </a:cxn>
                  <a:cxn ang="0">
                    <a:pos x="22" y="7"/>
                  </a:cxn>
                  <a:cxn ang="0">
                    <a:pos x="20" y="2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7"/>
                    </a:lnTo>
                    <a:lnTo>
                      <a:pt x="0" y="11"/>
                    </a:lnTo>
                    <a:lnTo>
                      <a:pt x="2" y="15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22" y="15"/>
                    </a:lnTo>
                    <a:lnTo>
                      <a:pt x="24" y="11"/>
                    </a:lnTo>
                    <a:lnTo>
                      <a:pt x="22" y="7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81" name="Freeform 392"/>
              <p:cNvSpPr>
                <a:spLocks/>
              </p:cNvSpPr>
              <p:nvPr userDrawn="1"/>
            </p:nvSpPr>
            <p:spPr bwMode="auto">
              <a:xfrm>
                <a:off x="3614" y="3419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9"/>
                  </a:cxn>
                  <a:cxn ang="0">
                    <a:pos x="0" y="13"/>
                  </a:cxn>
                  <a:cxn ang="0">
                    <a:pos x="2" y="15"/>
                  </a:cxn>
                  <a:cxn ang="0">
                    <a:pos x="2" y="15"/>
                  </a:cxn>
                  <a:cxn ang="0">
                    <a:pos x="6" y="18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3" y="18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18" y="13"/>
                  </a:cxn>
                  <a:cxn ang="0">
                    <a:pos x="18" y="9"/>
                  </a:cxn>
                  <a:cxn ang="0">
                    <a:pos x="18" y="6"/>
                  </a:cxn>
                  <a:cxn ang="0">
                    <a:pos x="15" y="2"/>
                  </a:cxn>
                  <a:cxn ang="0">
                    <a:pos x="15" y="2"/>
                  </a:cxn>
                  <a:cxn ang="0">
                    <a:pos x="13" y="0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13"/>
                    </a:lnTo>
                    <a:lnTo>
                      <a:pt x="2" y="15"/>
                    </a:lnTo>
                    <a:lnTo>
                      <a:pt x="2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8"/>
                    </a:lnTo>
                    <a:lnTo>
                      <a:pt x="15" y="15"/>
                    </a:lnTo>
                    <a:lnTo>
                      <a:pt x="15" y="15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2"/>
                    </a:lnTo>
                    <a:lnTo>
                      <a:pt x="15" y="2"/>
                    </a:lnTo>
                    <a:lnTo>
                      <a:pt x="13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82" name="Freeform 393"/>
              <p:cNvSpPr>
                <a:spLocks/>
              </p:cNvSpPr>
              <p:nvPr userDrawn="1"/>
            </p:nvSpPr>
            <p:spPr bwMode="auto">
              <a:xfrm>
                <a:off x="3614" y="3419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9"/>
                  </a:cxn>
                  <a:cxn ang="0">
                    <a:pos x="0" y="13"/>
                  </a:cxn>
                  <a:cxn ang="0">
                    <a:pos x="2" y="15"/>
                  </a:cxn>
                  <a:cxn ang="0">
                    <a:pos x="2" y="15"/>
                  </a:cxn>
                  <a:cxn ang="0">
                    <a:pos x="6" y="18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3" y="18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18" y="13"/>
                  </a:cxn>
                  <a:cxn ang="0">
                    <a:pos x="18" y="9"/>
                  </a:cxn>
                  <a:cxn ang="0">
                    <a:pos x="18" y="6"/>
                  </a:cxn>
                  <a:cxn ang="0">
                    <a:pos x="15" y="2"/>
                  </a:cxn>
                  <a:cxn ang="0">
                    <a:pos x="15" y="2"/>
                  </a:cxn>
                  <a:cxn ang="0">
                    <a:pos x="13" y="0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13"/>
                    </a:lnTo>
                    <a:lnTo>
                      <a:pt x="2" y="15"/>
                    </a:lnTo>
                    <a:lnTo>
                      <a:pt x="2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8"/>
                    </a:lnTo>
                    <a:lnTo>
                      <a:pt x="15" y="15"/>
                    </a:lnTo>
                    <a:lnTo>
                      <a:pt x="15" y="15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2"/>
                    </a:lnTo>
                    <a:lnTo>
                      <a:pt x="15" y="2"/>
                    </a:lnTo>
                    <a:lnTo>
                      <a:pt x="13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83" name="Freeform 394"/>
              <p:cNvSpPr>
                <a:spLocks/>
              </p:cNvSpPr>
              <p:nvPr userDrawn="1"/>
            </p:nvSpPr>
            <p:spPr bwMode="auto">
              <a:xfrm>
                <a:off x="3620" y="3365"/>
                <a:ext cx="18" cy="18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4" y="18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2" y="18"/>
                  </a:cxn>
                  <a:cxn ang="0">
                    <a:pos x="14" y="16"/>
                  </a:cxn>
                  <a:cxn ang="0">
                    <a:pos x="14" y="16"/>
                  </a:cxn>
                  <a:cxn ang="0">
                    <a:pos x="16" y="12"/>
                  </a:cxn>
                  <a:cxn ang="0">
                    <a:pos x="18" y="10"/>
                  </a:cxn>
                  <a:cxn ang="0">
                    <a:pos x="16" y="6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12" y="0"/>
                  </a:cxn>
                  <a:cxn ang="0">
                    <a:pos x="8" y="0"/>
                  </a:cxn>
                </a:cxnLst>
                <a:rect l="0" t="0" r="r" b="b"/>
                <a:pathLst>
                  <a:path w="18" h="18">
                    <a:moveTo>
                      <a:pt x="8" y="0"/>
                    </a:moveTo>
                    <a:lnTo>
                      <a:pt x="8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4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6" y="12"/>
                    </a:lnTo>
                    <a:lnTo>
                      <a:pt x="18" y="10"/>
                    </a:lnTo>
                    <a:lnTo>
                      <a:pt x="16" y="6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84" name="Freeform 395"/>
              <p:cNvSpPr>
                <a:spLocks/>
              </p:cNvSpPr>
              <p:nvPr userDrawn="1"/>
            </p:nvSpPr>
            <p:spPr bwMode="auto">
              <a:xfrm>
                <a:off x="3620" y="3365"/>
                <a:ext cx="18" cy="18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4" y="18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2" y="18"/>
                  </a:cxn>
                  <a:cxn ang="0">
                    <a:pos x="14" y="16"/>
                  </a:cxn>
                  <a:cxn ang="0">
                    <a:pos x="14" y="16"/>
                  </a:cxn>
                  <a:cxn ang="0">
                    <a:pos x="16" y="12"/>
                  </a:cxn>
                  <a:cxn ang="0">
                    <a:pos x="18" y="10"/>
                  </a:cxn>
                  <a:cxn ang="0">
                    <a:pos x="16" y="6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12" y="0"/>
                  </a:cxn>
                  <a:cxn ang="0">
                    <a:pos x="8" y="0"/>
                  </a:cxn>
                </a:cxnLst>
                <a:rect l="0" t="0" r="r" b="b"/>
                <a:pathLst>
                  <a:path w="18" h="18">
                    <a:moveTo>
                      <a:pt x="8" y="0"/>
                    </a:moveTo>
                    <a:lnTo>
                      <a:pt x="8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4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6" y="12"/>
                    </a:lnTo>
                    <a:lnTo>
                      <a:pt x="18" y="10"/>
                    </a:lnTo>
                    <a:lnTo>
                      <a:pt x="16" y="6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85" name="Freeform 396"/>
              <p:cNvSpPr>
                <a:spLocks/>
              </p:cNvSpPr>
              <p:nvPr userDrawn="1"/>
            </p:nvSpPr>
            <p:spPr bwMode="auto">
              <a:xfrm>
                <a:off x="3614" y="3311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5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7"/>
                  </a:cxn>
                  <a:cxn ang="0">
                    <a:pos x="0" y="9"/>
                  </a:cxn>
                  <a:cxn ang="0">
                    <a:pos x="0" y="14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5" y="18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1" y="18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18" y="14"/>
                  </a:cxn>
                  <a:cxn ang="0">
                    <a:pos x="18" y="9"/>
                  </a:cxn>
                  <a:cxn ang="0">
                    <a:pos x="18" y="7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1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5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7"/>
                    </a:lnTo>
                    <a:lnTo>
                      <a:pt x="0" y="9"/>
                    </a:lnTo>
                    <a:lnTo>
                      <a:pt x="0" y="14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5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1" y="18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8" y="14"/>
                    </a:lnTo>
                    <a:lnTo>
                      <a:pt x="18" y="9"/>
                    </a:lnTo>
                    <a:lnTo>
                      <a:pt x="18" y="7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1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86" name="Freeform 397"/>
              <p:cNvSpPr>
                <a:spLocks/>
              </p:cNvSpPr>
              <p:nvPr userDrawn="1"/>
            </p:nvSpPr>
            <p:spPr bwMode="auto">
              <a:xfrm>
                <a:off x="3614" y="3311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5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7"/>
                  </a:cxn>
                  <a:cxn ang="0">
                    <a:pos x="0" y="9"/>
                  </a:cxn>
                  <a:cxn ang="0">
                    <a:pos x="0" y="14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5" y="18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1" y="18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18" y="14"/>
                  </a:cxn>
                  <a:cxn ang="0">
                    <a:pos x="18" y="9"/>
                  </a:cxn>
                  <a:cxn ang="0">
                    <a:pos x="18" y="7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1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5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7"/>
                    </a:lnTo>
                    <a:lnTo>
                      <a:pt x="0" y="9"/>
                    </a:lnTo>
                    <a:lnTo>
                      <a:pt x="0" y="14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5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1" y="18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8" y="14"/>
                    </a:lnTo>
                    <a:lnTo>
                      <a:pt x="18" y="9"/>
                    </a:lnTo>
                    <a:lnTo>
                      <a:pt x="18" y="7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1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87" name="Freeform 398"/>
              <p:cNvSpPr>
                <a:spLocks/>
              </p:cNvSpPr>
              <p:nvPr userDrawn="1"/>
            </p:nvSpPr>
            <p:spPr bwMode="auto">
              <a:xfrm>
                <a:off x="3602" y="3263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9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18" y="9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9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8" y="9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88" name="Freeform 399"/>
              <p:cNvSpPr>
                <a:spLocks/>
              </p:cNvSpPr>
              <p:nvPr userDrawn="1"/>
            </p:nvSpPr>
            <p:spPr bwMode="auto">
              <a:xfrm>
                <a:off x="3602" y="3263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9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18" y="9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9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8" y="9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89" name="Freeform 400"/>
              <p:cNvSpPr>
                <a:spLocks/>
              </p:cNvSpPr>
              <p:nvPr userDrawn="1"/>
            </p:nvSpPr>
            <p:spPr bwMode="auto">
              <a:xfrm>
                <a:off x="3584" y="3215"/>
                <a:ext cx="12" cy="12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90" name="Freeform 401"/>
              <p:cNvSpPr>
                <a:spLocks/>
              </p:cNvSpPr>
              <p:nvPr userDrawn="1"/>
            </p:nvSpPr>
            <p:spPr bwMode="auto">
              <a:xfrm>
                <a:off x="3584" y="3215"/>
                <a:ext cx="12" cy="12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91" name="Freeform 402"/>
              <p:cNvSpPr>
                <a:spLocks/>
              </p:cNvSpPr>
              <p:nvPr userDrawn="1"/>
            </p:nvSpPr>
            <p:spPr bwMode="auto">
              <a:xfrm>
                <a:off x="3554" y="3173"/>
                <a:ext cx="12" cy="12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2"/>
                  </a:cxn>
                  <a:cxn ang="0">
                    <a:pos x="10" y="12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92" name="Freeform 403"/>
              <p:cNvSpPr>
                <a:spLocks/>
              </p:cNvSpPr>
              <p:nvPr userDrawn="1"/>
            </p:nvSpPr>
            <p:spPr bwMode="auto">
              <a:xfrm>
                <a:off x="3554" y="3173"/>
                <a:ext cx="12" cy="12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2"/>
                  </a:cxn>
                  <a:cxn ang="0">
                    <a:pos x="10" y="12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93" name="Freeform 404"/>
              <p:cNvSpPr>
                <a:spLocks/>
              </p:cNvSpPr>
              <p:nvPr userDrawn="1"/>
            </p:nvSpPr>
            <p:spPr bwMode="auto">
              <a:xfrm>
                <a:off x="3512" y="3137"/>
                <a:ext cx="12" cy="12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94" name="Freeform 405"/>
              <p:cNvSpPr>
                <a:spLocks/>
              </p:cNvSpPr>
              <p:nvPr userDrawn="1"/>
            </p:nvSpPr>
            <p:spPr bwMode="auto">
              <a:xfrm>
                <a:off x="3512" y="3137"/>
                <a:ext cx="12" cy="12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sp>
          <p:nvSpPr>
            <p:cNvPr id="580" name="Freeform 407"/>
            <p:cNvSpPr>
              <a:spLocks/>
            </p:cNvSpPr>
            <p:nvPr userDrawn="1"/>
          </p:nvSpPr>
          <p:spPr bwMode="auto">
            <a:xfrm>
              <a:off x="5641976" y="5475288"/>
              <a:ext cx="38100" cy="38100"/>
            </a:xfrm>
            <a:custGeom>
              <a:avLst/>
              <a:gdLst/>
              <a:ahLst/>
              <a:cxnLst>
                <a:cxn ang="0">
                  <a:pos x="12" y="0"/>
                </a:cxn>
                <a:cxn ang="0">
                  <a:pos x="12" y="0"/>
                </a:cxn>
                <a:cxn ang="0">
                  <a:pos x="8" y="0"/>
                </a:cxn>
                <a:cxn ang="0">
                  <a:pos x="4" y="2"/>
                </a:cxn>
                <a:cxn ang="0">
                  <a:pos x="2" y="5"/>
                </a:cxn>
                <a:cxn ang="0">
                  <a:pos x="0" y="9"/>
                </a:cxn>
                <a:cxn ang="0">
                  <a:pos x="0" y="9"/>
                </a:cxn>
                <a:cxn ang="0">
                  <a:pos x="0" y="13"/>
                </a:cxn>
                <a:cxn ang="0">
                  <a:pos x="2" y="20"/>
                </a:cxn>
                <a:cxn ang="0">
                  <a:pos x="4" y="22"/>
                </a:cxn>
                <a:cxn ang="0">
                  <a:pos x="8" y="24"/>
                </a:cxn>
                <a:cxn ang="0">
                  <a:pos x="8" y="24"/>
                </a:cxn>
                <a:cxn ang="0">
                  <a:pos x="12" y="24"/>
                </a:cxn>
                <a:cxn ang="0">
                  <a:pos x="12" y="24"/>
                </a:cxn>
                <a:cxn ang="0">
                  <a:pos x="16" y="24"/>
                </a:cxn>
                <a:cxn ang="0">
                  <a:pos x="18" y="22"/>
                </a:cxn>
                <a:cxn ang="0">
                  <a:pos x="22" y="20"/>
                </a:cxn>
                <a:cxn ang="0">
                  <a:pos x="22" y="15"/>
                </a:cxn>
                <a:cxn ang="0">
                  <a:pos x="22" y="15"/>
                </a:cxn>
                <a:cxn ang="0">
                  <a:pos x="24" y="11"/>
                </a:cxn>
                <a:cxn ang="0">
                  <a:pos x="22" y="7"/>
                </a:cxn>
                <a:cxn ang="0">
                  <a:pos x="18" y="2"/>
                </a:cxn>
                <a:cxn ang="0">
                  <a:pos x="14" y="0"/>
                </a:cxn>
                <a:cxn ang="0">
                  <a:pos x="14" y="0"/>
                </a:cxn>
                <a:cxn ang="0">
                  <a:pos x="12" y="0"/>
                </a:cxn>
              </a:cxnLst>
              <a:rect l="0" t="0" r="r" b="b"/>
              <a:pathLst>
                <a:path w="24" h="24">
                  <a:moveTo>
                    <a:pt x="12" y="0"/>
                  </a:moveTo>
                  <a:lnTo>
                    <a:pt x="12" y="0"/>
                  </a:lnTo>
                  <a:lnTo>
                    <a:pt x="8" y="0"/>
                  </a:lnTo>
                  <a:lnTo>
                    <a:pt x="4" y="2"/>
                  </a:lnTo>
                  <a:lnTo>
                    <a:pt x="2" y="5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13"/>
                  </a:lnTo>
                  <a:lnTo>
                    <a:pt x="2" y="20"/>
                  </a:lnTo>
                  <a:lnTo>
                    <a:pt x="4" y="22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8" y="22"/>
                  </a:lnTo>
                  <a:lnTo>
                    <a:pt x="22" y="20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4" y="11"/>
                  </a:lnTo>
                  <a:lnTo>
                    <a:pt x="22" y="7"/>
                  </a:lnTo>
                  <a:lnTo>
                    <a:pt x="18" y="2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1" name="Freeform 408"/>
            <p:cNvSpPr>
              <a:spLocks/>
            </p:cNvSpPr>
            <p:nvPr userDrawn="1"/>
          </p:nvSpPr>
          <p:spPr bwMode="auto">
            <a:xfrm>
              <a:off x="5641976" y="5475288"/>
              <a:ext cx="38100" cy="38100"/>
            </a:xfrm>
            <a:custGeom>
              <a:avLst/>
              <a:gdLst/>
              <a:ahLst/>
              <a:cxnLst>
                <a:cxn ang="0">
                  <a:pos x="12" y="0"/>
                </a:cxn>
                <a:cxn ang="0">
                  <a:pos x="12" y="0"/>
                </a:cxn>
                <a:cxn ang="0">
                  <a:pos x="8" y="0"/>
                </a:cxn>
                <a:cxn ang="0">
                  <a:pos x="4" y="2"/>
                </a:cxn>
                <a:cxn ang="0">
                  <a:pos x="2" y="5"/>
                </a:cxn>
                <a:cxn ang="0">
                  <a:pos x="0" y="9"/>
                </a:cxn>
                <a:cxn ang="0">
                  <a:pos x="0" y="9"/>
                </a:cxn>
                <a:cxn ang="0">
                  <a:pos x="0" y="13"/>
                </a:cxn>
                <a:cxn ang="0">
                  <a:pos x="2" y="20"/>
                </a:cxn>
                <a:cxn ang="0">
                  <a:pos x="4" y="22"/>
                </a:cxn>
                <a:cxn ang="0">
                  <a:pos x="8" y="24"/>
                </a:cxn>
                <a:cxn ang="0">
                  <a:pos x="8" y="24"/>
                </a:cxn>
                <a:cxn ang="0">
                  <a:pos x="12" y="24"/>
                </a:cxn>
                <a:cxn ang="0">
                  <a:pos x="12" y="24"/>
                </a:cxn>
                <a:cxn ang="0">
                  <a:pos x="16" y="24"/>
                </a:cxn>
                <a:cxn ang="0">
                  <a:pos x="18" y="22"/>
                </a:cxn>
                <a:cxn ang="0">
                  <a:pos x="22" y="20"/>
                </a:cxn>
                <a:cxn ang="0">
                  <a:pos x="22" y="15"/>
                </a:cxn>
                <a:cxn ang="0">
                  <a:pos x="22" y="15"/>
                </a:cxn>
                <a:cxn ang="0">
                  <a:pos x="24" y="11"/>
                </a:cxn>
                <a:cxn ang="0">
                  <a:pos x="22" y="7"/>
                </a:cxn>
                <a:cxn ang="0">
                  <a:pos x="18" y="2"/>
                </a:cxn>
                <a:cxn ang="0">
                  <a:pos x="14" y="0"/>
                </a:cxn>
                <a:cxn ang="0">
                  <a:pos x="14" y="0"/>
                </a:cxn>
                <a:cxn ang="0">
                  <a:pos x="12" y="0"/>
                </a:cxn>
              </a:cxnLst>
              <a:rect l="0" t="0" r="r" b="b"/>
              <a:pathLst>
                <a:path w="24" h="24">
                  <a:moveTo>
                    <a:pt x="12" y="0"/>
                  </a:moveTo>
                  <a:lnTo>
                    <a:pt x="12" y="0"/>
                  </a:lnTo>
                  <a:lnTo>
                    <a:pt x="8" y="0"/>
                  </a:lnTo>
                  <a:lnTo>
                    <a:pt x="4" y="2"/>
                  </a:lnTo>
                  <a:lnTo>
                    <a:pt x="2" y="5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13"/>
                  </a:lnTo>
                  <a:lnTo>
                    <a:pt x="2" y="20"/>
                  </a:lnTo>
                  <a:lnTo>
                    <a:pt x="4" y="22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8" y="22"/>
                  </a:lnTo>
                  <a:lnTo>
                    <a:pt x="22" y="20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4" y="11"/>
                  </a:lnTo>
                  <a:lnTo>
                    <a:pt x="22" y="7"/>
                  </a:lnTo>
                  <a:lnTo>
                    <a:pt x="18" y="2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37" name="Freeform 409"/>
            <p:cNvSpPr>
              <a:spLocks/>
            </p:cNvSpPr>
            <p:nvPr userDrawn="1"/>
          </p:nvSpPr>
          <p:spPr bwMode="auto">
            <a:xfrm>
              <a:off x="5613401" y="5541963"/>
              <a:ext cx="38100" cy="38100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11" y="0"/>
                </a:cxn>
                <a:cxn ang="0">
                  <a:pos x="5" y="5"/>
                </a:cxn>
                <a:cxn ang="0">
                  <a:pos x="2" y="7"/>
                </a:cxn>
                <a:cxn ang="0">
                  <a:pos x="0" y="9"/>
                </a:cxn>
                <a:cxn ang="0">
                  <a:pos x="0" y="9"/>
                </a:cxn>
                <a:cxn ang="0">
                  <a:pos x="0" y="15"/>
                </a:cxn>
                <a:cxn ang="0">
                  <a:pos x="2" y="18"/>
                </a:cxn>
                <a:cxn ang="0">
                  <a:pos x="5" y="22"/>
                </a:cxn>
                <a:cxn ang="0">
                  <a:pos x="9" y="24"/>
                </a:cxn>
                <a:cxn ang="0">
                  <a:pos x="9" y="24"/>
                </a:cxn>
                <a:cxn ang="0">
                  <a:pos x="11" y="24"/>
                </a:cxn>
                <a:cxn ang="0">
                  <a:pos x="11" y="24"/>
                </a:cxn>
                <a:cxn ang="0">
                  <a:pos x="18" y="22"/>
                </a:cxn>
                <a:cxn ang="0">
                  <a:pos x="22" y="20"/>
                </a:cxn>
                <a:cxn ang="0">
                  <a:pos x="22" y="15"/>
                </a:cxn>
                <a:cxn ang="0">
                  <a:pos x="22" y="15"/>
                </a:cxn>
                <a:cxn ang="0">
                  <a:pos x="24" y="11"/>
                </a:cxn>
                <a:cxn ang="0">
                  <a:pos x="22" y="7"/>
                </a:cxn>
                <a:cxn ang="0">
                  <a:pos x="20" y="5"/>
                </a:cxn>
                <a:cxn ang="0">
                  <a:pos x="15" y="2"/>
                </a:cxn>
                <a:cxn ang="0">
                  <a:pos x="15" y="2"/>
                </a:cxn>
                <a:cxn ang="0">
                  <a:pos x="11" y="0"/>
                </a:cxn>
              </a:cxnLst>
              <a:rect l="0" t="0" r="r" b="b"/>
              <a:pathLst>
                <a:path w="24" h="24">
                  <a:moveTo>
                    <a:pt x="11" y="0"/>
                  </a:moveTo>
                  <a:lnTo>
                    <a:pt x="11" y="0"/>
                  </a:lnTo>
                  <a:lnTo>
                    <a:pt x="5" y="5"/>
                  </a:lnTo>
                  <a:lnTo>
                    <a:pt x="2" y="7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15"/>
                  </a:lnTo>
                  <a:lnTo>
                    <a:pt x="2" y="18"/>
                  </a:lnTo>
                  <a:lnTo>
                    <a:pt x="5" y="22"/>
                  </a:lnTo>
                  <a:lnTo>
                    <a:pt x="9" y="24"/>
                  </a:lnTo>
                  <a:lnTo>
                    <a:pt x="9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8" y="22"/>
                  </a:lnTo>
                  <a:lnTo>
                    <a:pt x="22" y="20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4" y="11"/>
                  </a:lnTo>
                  <a:lnTo>
                    <a:pt x="22" y="7"/>
                  </a:lnTo>
                  <a:lnTo>
                    <a:pt x="20" y="5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38" name="Freeform 410"/>
            <p:cNvSpPr>
              <a:spLocks/>
            </p:cNvSpPr>
            <p:nvPr userDrawn="1"/>
          </p:nvSpPr>
          <p:spPr bwMode="auto">
            <a:xfrm>
              <a:off x="5613401" y="5541963"/>
              <a:ext cx="38100" cy="38100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11" y="0"/>
                </a:cxn>
                <a:cxn ang="0">
                  <a:pos x="5" y="5"/>
                </a:cxn>
                <a:cxn ang="0">
                  <a:pos x="2" y="7"/>
                </a:cxn>
                <a:cxn ang="0">
                  <a:pos x="0" y="9"/>
                </a:cxn>
                <a:cxn ang="0">
                  <a:pos x="0" y="9"/>
                </a:cxn>
                <a:cxn ang="0">
                  <a:pos x="0" y="15"/>
                </a:cxn>
                <a:cxn ang="0">
                  <a:pos x="2" y="18"/>
                </a:cxn>
                <a:cxn ang="0">
                  <a:pos x="5" y="22"/>
                </a:cxn>
                <a:cxn ang="0">
                  <a:pos x="9" y="24"/>
                </a:cxn>
                <a:cxn ang="0">
                  <a:pos x="9" y="24"/>
                </a:cxn>
                <a:cxn ang="0">
                  <a:pos x="11" y="24"/>
                </a:cxn>
                <a:cxn ang="0">
                  <a:pos x="11" y="24"/>
                </a:cxn>
                <a:cxn ang="0">
                  <a:pos x="18" y="22"/>
                </a:cxn>
                <a:cxn ang="0">
                  <a:pos x="22" y="20"/>
                </a:cxn>
                <a:cxn ang="0">
                  <a:pos x="22" y="15"/>
                </a:cxn>
                <a:cxn ang="0">
                  <a:pos x="22" y="15"/>
                </a:cxn>
                <a:cxn ang="0">
                  <a:pos x="24" y="11"/>
                </a:cxn>
                <a:cxn ang="0">
                  <a:pos x="22" y="7"/>
                </a:cxn>
                <a:cxn ang="0">
                  <a:pos x="20" y="5"/>
                </a:cxn>
                <a:cxn ang="0">
                  <a:pos x="15" y="2"/>
                </a:cxn>
                <a:cxn ang="0">
                  <a:pos x="15" y="2"/>
                </a:cxn>
                <a:cxn ang="0">
                  <a:pos x="11" y="0"/>
                </a:cxn>
              </a:cxnLst>
              <a:rect l="0" t="0" r="r" b="b"/>
              <a:pathLst>
                <a:path w="24" h="24">
                  <a:moveTo>
                    <a:pt x="11" y="0"/>
                  </a:moveTo>
                  <a:lnTo>
                    <a:pt x="11" y="0"/>
                  </a:lnTo>
                  <a:lnTo>
                    <a:pt x="5" y="5"/>
                  </a:lnTo>
                  <a:lnTo>
                    <a:pt x="2" y="7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15"/>
                  </a:lnTo>
                  <a:lnTo>
                    <a:pt x="2" y="18"/>
                  </a:lnTo>
                  <a:lnTo>
                    <a:pt x="5" y="22"/>
                  </a:lnTo>
                  <a:lnTo>
                    <a:pt x="9" y="24"/>
                  </a:lnTo>
                  <a:lnTo>
                    <a:pt x="9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8" y="22"/>
                  </a:lnTo>
                  <a:lnTo>
                    <a:pt x="22" y="20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4" y="11"/>
                  </a:lnTo>
                  <a:lnTo>
                    <a:pt x="22" y="7"/>
                  </a:lnTo>
                  <a:lnTo>
                    <a:pt x="20" y="5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39" name="Freeform 411"/>
            <p:cNvSpPr>
              <a:spLocks/>
            </p:cNvSpPr>
            <p:nvPr userDrawn="1"/>
          </p:nvSpPr>
          <p:spPr bwMode="auto">
            <a:xfrm>
              <a:off x="5575301" y="5599113"/>
              <a:ext cx="28575" cy="38100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2" y="3"/>
                </a:cxn>
                <a:cxn ang="0">
                  <a:pos x="0" y="10"/>
                </a:cxn>
                <a:cxn ang="0">
                  <a:pos x="0" y="10"/>
                </a:cxn>
                <a:cxn ang="0">
                  <a:pos x="0" y="15"/>
                </a:cxn>
                <a:cxn ang="0">
                  <a:pos x="0" y="20"/>
                </a:cxn>
                <a:cxn ang="0">
                  <a:pos x="2" y="22"/>
                </a:cxn>
                <a:cxn ang="0">
                  <a:pos x="6" y="24"/>
                </a:cxn>
                <a:cxn ang="0">
                  <a:pos x="6" y="24"/>
                </a:cxn>
                <a:cxn ang="0">
                  <a:pos x="8" y="24"/>
                </a:cxn>
                <a:cxn ang="0">
                  <a:pos x="8" y="24"/>
                </a:cxn>
                <a:cxn ang="0">
                  <a:pos x="14" y="22"/>
                </a:cxn>
                <a:cxn ang="0">
                  <a:pos x="18" y="15"/>
                </a:cxn>
                <a:cxn ang="0">
                  <a:pos x="18" y="15"/>
                </a:cxn>
                <a:cxn ang="0">
                  <a:pos x="18" y="10"/>
                </a:cxn>
                <a:cxn ang="0">
                  <a:pos x="18" y="8"/>
                </a:cxn>
                <a:cxn ang="0">
                  <a:pos x="14" y="3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8" y="0"/>
                </a:cxn>
              </a:cxnLst>
              <a:rect l="0" t="0" r="r" b="b"/>
              <a:pathLst>
                <a:path w="18" h="24">
                  <a:moveTo>
                    <a:pt x="8" y="0"/>
                  </a:moveTo>
                  <a:lnTo>
                    <a:pt x="8" y="0"/>
                  </a:lnTo>
                  <a:lnTo>
                    <a:pt x="2" y="3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5"/>
                  </a:lnTo>
                  <a:lnTo>
                    <a:pt x="0" y="20"/>
                  </a:lnTo>
                  <a:lnTo>
                    <a:pt x="2" y="22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14" y="22"/>
                  </a:lnTo>
                  <a:lnTo>
                    <a:pt x="18" y="15"/>
                  </a:lnTo>
                  <a:lnTo>
                    <a:pt x="18" y="15"/>
                  </a:lnTo>
                  <a:lnTo>
                    <a:pt x="18" y="10"/>
                  </a:lnTo>
                  <a:lnTo>
                    <a:pt x="18" y="8"/>
                  </a:lnTo>
                  <a:lnTo>
                    <a:pt x="14" y="3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0" name="Freeform 412"/>
            <p:cNvSpPr>
              <a:spLocks/>
            </p:cNvSpPr>
            <p:nvPr userDrawn="1"/>
          </p:nvSpPr>
          <p:spPr bwMode="auto">
            <a:xfrm>
              <a:off x="5575301" y="5599113"/>
              <a:ext cx="28575" cy="38100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2" y="3"/>
                </a:cxn>
                <a:cxn ang="0">
                  <a:pos x="0" y="10"/>
                </a:cxn>
                <a:cxn ang="0">
                  <a:pos x="0" y="10"/>
                </a:cxn>
                <a:cxn ang="0">
                  <a:pos x="0" y="15"/>
                </a:cxn>
                <a:cxn ang="0">
                  <a:pos x="0" y="20"/>
                </a:cxn>
                <a:cxn ang="0">
                  <a:pos x="2" y="22"/>
                </a:cxn>
                <a:cxn ang="0">
                  <a:pos x="6" y="24"/>
                </a:cxn>
                <a:cxn ang="0">
                  <a:pos x="6" y="24"/>
                </a:cxn>
                <a:cxn ang="0">
                  <a:pos x="8" y="24"/>
                </a:cxn>
                <a:cxn ang="0">
                  <a:pos x="8" y="24"/>
                </a:cxn>
                <a:cxn ang="0">
                  <a:pos x="14" y="22"/>
                </a:cxn>
                <a:cxn ang="0">
                  <a:pos x="18" y="15"/>
                </a:cxn>
                <a:cxn ang="0">
                  <a:pos x="18" y="15"/>
                </a:cxn>
                <a:cxn ang="0">
                  <a:pos x="18" y="10"/>
                </a:cxn>
                <a:cxn ang="0">
                  <a:pos x="18" y="8"/>
                </a:cxn>
                <a:cxn ang="0">
                  <a:pos x="14" y="3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8" y="0"/>
                </a:cxn>
              </a:cxnLst>
              <a:rect l="0" t="0" r="r" b="b"/>
              <a:pathLst>
                <a:path w="18" h="24">
                  <a:moveTo>
                    <a:pt x="8" y="0"/>
                  </a:moveTo>
                  <a:lnTo>
                    <a:pt x="8" y="0"/>
                  </a:lnTo>
                  <a:lnTo>
                    <a:pt x="2" y="3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5"/>
                  </a:lnTo>
                  <a:lnTo>
                    <a:pt x="0" y="20"/>
                  </a:lnTo>
                  <a:lnTo>
                    <a:pt x="2" y="22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14" y="22"/>
                  </a:lnTo>
                  <a:lnTo>
                    <a:pt x="18" y="15"/>
                  </a:lnTo>
                  <a:lnTo>
                    <a:pt x="18" y="15"/>
                  </a:lnTo>
                  <a:lnTo>
                    <a:pt x="18" y="10"/>
                  </a:lnTo>
                  <a:lnTo>
                    <a:pt x="18" y="8"/>
                  </a:lnTo>
                  <a:lnTo>
                    <a:pt x="14" y="3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1" name="Freeform 413"/>
            <p:cNvSpPr>
              <a:spLocks/>
            </p:cNvSpPr>
            <p:nvPr userDrawn="1"/>
          </p:nvSpPr>
          <p:spPr bwMode="auto">
            <a:xfrm>
              <a:off x="5527676" y="5656263"/>
              <a:ext cx="28575" cy="28575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10" y="0"/>
                </a:cxn>
                <a:cxn ang="0">
                  <a:pos x="4" y="2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11"/>
                </a:cxn>
                <a:cxn ang="0">
                  <a:pos x="2" y="14"/>
                </a:cxn>
                <a:cxn ang="0">
                  <a:pos x="4" y="16"/>
                </a:cxn>
                <a:cxn ang="0">
                  <a:pos x="6" y="18"/>
                </a:cxn>
                <a:cxn ang="0">
                  <a:pos x="6" y="18"/>
                </a:cxn>
                <a:cxn ang="0">
                  <a:pos x="10" y="18"/>
                </a:cxn>
                <a:cxn ang="0">
                  <a:pos x="10" y="18"/>
                </a:cxn>
                <a:cxn ang="0">
                  <a:pos x="14" y="16"/>
                </a:cxn>
                <a:cxn ang="0">
                  <a:pos x="18" y="11"/>
                </a:cxn>
                <a:cxn ang="0">
                  <a:pos x="18" y="11"/>
                </a:cxn>
                <a:cxn ang="0">
                  <a:pos x="18" y="7"/>
                </a:cxn>
                <a:cxn ang="0">
                  <a:pos x="16" y="5"/>
                </a:cxn>
                <a:cxn ang="0">
                  <a:pos x="14" y="2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0" y="0"/>
                </a:cxn>
              </a:cxnLst>
              <a:rect l="0" t="0" r="r" b="b"/>
              <a:pathLst>
                <a:path w="18" h="18">
                  <a:moveTo>
                    <a:pt x="10" y="0"/>
                  </a:moveTo>
                  <a:lnTo>
                    <a:pt x="10" y="0"/>
                  </a:lnTo>
                  <a:lnTo>
                    <a:pt x="4" y="2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11"/>
                  </a:lnTo>
                  <a:lnTo>
                    <a:pt x="2" y="14"/>
                  </a:lnTo>
                  <a:lnTo>
                    <a:pt x="4" y="16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4" y="16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7"/>
                  </a:lnTo>
                  <a:lnTo>
                    <a:pt x="16" y="5"/>
                  </a:lnTo>
                  <a:lnTo>
                    <a:pt x="14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2" name="Freeform 414"/>
            <p:cNvSpPr>
              <a:spLocks/>
            </p:cNvSpPr>
            <p:nvPr userDrawn="1"/>
          </p:nvSpPr>
          <p:spPr bwMode="auto">
            <a:xfrm>
              <a:off x="5527676" y="5656263"/>
              <a:ext cx="28575" cy="28575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10" y="0"/>
                </a:cxn>
                <a:cxn ang="0">
                  <a:pos x="4" y="2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11"/>
                </a:cxn>
                <a:cxn ang="0">
                  <a:pos x="2" y="14"/>
                </a:cxn>
                <a:cxn ang="0">
                  <a:pos x="4" y="16"/>
                </a:cxn>
                <a:cxn ang="0">
                  <a:pos x="6" y="18"/>
                </a:cxn>
                <a:cxn ang="0">
                  <a:pos x="6" y="18"/>
                </a:cxn>
                <a:cxn ang="0">
                  <a:pos x="10" y="18"/>
                </a:cxn>
                <a:cxn ang="0">
                  <a:pos x="10" y="18"/>
                </a:cxn>
                <a:cxn ang="0">
                  <a:pos x="14" y="16"/>
                </a:cxn>
                <a:cxn ang="0">
                  <a:pos x="18" y="11"/>
                </a:cxn>
                <a:cxn ang="0">
                  <a:pos x="18" y="11"/>
                </a:cxn>
                <a:cxn ang="0">
                  <a:pos x="18" y="7"/>
                </a:cxn>
                <a:cxn ang="0">
                  <a:pos x="16" y="5"/>
                </a:cxn>
                <a:cxn ang="0">
                  <a:pos x="14" y="2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0" y="0"/>
                </a:cxn>
              </a:cxnLst>
              <a:rect l="0" t="0" r="r" b="b"/>
              <a:pathLst>
                <a:path w="18" h="18">
                  <a:moveTo>
                    <a:pt x="10" y="0"/>
                  </a:moveTo>
                  <a:lnTo>
                    <a:pt x="10" y="0"/>
                  </a:lnTo>
                  <a:lnTo>
                    <a:pt x="4" y="2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11"/>
                  </a:lnTo>
                  <a:lnTo>
                    <a:pt x="2" y="14"/>
                  </a:lnTo>
                  <a:lnTo>
                    <a:pt x="4" y="16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4" y="16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7"/>
                  </a:lnTo>
                  <a:lnTo>
                    <a:pt x="16" y="5"/>
                  </a:lnTo>
                  <a:lnTo>
                    <a:pt x="14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3" name="Freeform 415"/>
            <p:cNvSpPr>
              <a:spLocks/>
            </p:cNvSpPr>
            <p:nvPr userDrawn="1"/>
          </p:nvSpPr>
          <p:spPr bwMode="auto">
            <a:xfrm>
              <a:off x="5470526" y="5694363"/>
              <a:ext cx="28575" cy="28575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5" y="2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9"/>
                </a:cxn>
                <a:cxn ang="0">
                  <a:pos x="2" y="14"/>
                </a:cxn>
                <a:cxn ang="0">
                  <a:pos x="5" y="16"/>
                </a:cxn>
                <a:cxn ang="0">
                  <a:pos x="7" y="18"/>
                </a:cxn>
                <a:cxn ang="0">
                  <a:pos x="7" y="18"/>
                </a:cxn>
                <a:cxn ang="0">
                  <a:pos x="9" y="18"/>
                </a:cxn>
                <a:cxn ang="0">
                  <a:pos x="9" y="18"/>
                </a:cxn>
                <a:cxn ang="0">
                  <a:pos x="16" y="16"/>
                </a:cxn>
                <a:cxn ang="0">
                  <a:pos x="18" y="11"/>
                </a:cxn>
                <a:cxn ang="0">
                  <a:pos x="18" y="11"/>
                </a:cxn>
                <a:cxn ang="0">
                  <a:pos x="18" y="7"/>
                </a:cxn>
                <a:cxn ang="0">
                  <a:pos x="18" y="5"/>
                </a:cxn>
                <a:cxn ang="0">
                  <a:pos x="16" y="2"/>
                </a:cxn>
                <a:cxn ang="0">
                  <a:pos x="11" y="0"/>
                </a:cxn>
                <a:cxn ang="0">
                  <a:pos x="11" y="0"/>
                </a:cxn>
                <a:cxn ang="0">
                  <a:pos x="9" y="0"/>
                </a:cxn>
              </a:cxnLst>
              <a:rect l="0" t="0" r="r" b="b"/>
              <a:pathLst>
                <a:path w="18" h="18">
                  <a:moveTo>
                    <a:pt x="9" y="0"/>
                  </a:moveTo>
                  <a:lnTo>
                    <a:pt x="9" y="0"/>
                  </a:lnTo>
                  <a:lnTo>
                    <a:pt x="5" y="2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9"/>
                  </a:lnTo>
                  <a:lnTo>
                    <a:pt x="2" y="14"/>
                  </a:lnTo>
                  <a:lnTo>
                    <a:pt x="5" y="16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16" y="16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7"/>
                  </a:lnTo>
                  <a:lnTo>
                    <a:pt x="18" y="5"/>
                  </a:lnTo>
                  <a:lnTo>
                    <a:pt x="16" y="2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4" name="Freeform 416"/>
            <p:cNvSpPr>
              <a:spLocks/>
            </p:cNvSpPr>
            <p:nvPr userDrawn="1"/>
          </p:nvSpPr>
          <p:spPr bwMode="auto">
            <a:xfrm>
              <a:off x="5470526" y="5694363"/>
              <a:ext cx="28575" cy="28575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5" y="2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9"/>
                </a:cxn>
                <a:cxn ang="0">
                  <a:pos x="2" y="14"/>
                </a:cxn>
                <a:cxn ang="0">
                  <a:pos x="5" y="16"/>
                </a:cxn>
                <a:cxn ang="0">
                  <a:pos x="7" y="18"/>
                </a:cxn>
                <a:cxn ang="0">
                  <a:pos x="7" y="18"/>
                </a:cxn>
                <a:cxn ang="0">
                  <a:pos x="9" y="18"/>
                </a:cxn>
                <a:cxn ang="0">
                  <a:pos x="9" y="18"/>
                </a:cxn>
                <a:cxn ang="0">
                  <a:pos x="16" y="16"/>
                </a:cxn>
                <a:cxn ang="0">
                  <a:pos x="18" y="11"/>
                </a:cxn>
                <a:cxn ang="0">
                  <a:pos x="18" y="11"/>
                </a:cxn>
                <a:cxn ang="0">
                  <a:pos x="18" y="7"/>
                </a:cxn>
                <a:cxn ang="0">
                  <a:pos x="18" y="5"/>
                </a:cxn>
                <a:cxn ang="0">
                  <a:pos x="16" y="2"/>
                </a:cxn>
                <a:cxn ang="0">
                  <a:pos x="11" y="0"/>
                </a:cxn>
                <a:cxn ang="0">
                  <a:pos x="11" y="0"/>
                </a:cxn>
                <a:cxn ang="0">
                  <a:pos x="9" y="0"/>
                </a:cxn>
              </a:cxnLst>
              <a:rect l="0" t="0" r="r" b="b"/>
              <a:pathLst>
                <a:path w="18" h="18">
                  <a:moveTo>
                    <a:pt x="9" y="0"/>
                  </a:moveTo>
                  <a:lnTo>
                    <a:pt x="9" y="0"/>
                  </a:lnTo>
                  <a:lnTo>
                    <a:pt x="5" y="2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9"/>
                  </a:lnTo>
                  <a:lnTo>
                    <a:pt x="2" y="14"/>
                  </a:lnTo>
                  <a:lnTo>
                    <a:pt x="5" y="16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16" y="16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7"/>
                  </a:lnTo>
                  <a:lnTo>
                    <a:pt x="18" y="5"/>
                  </a:lnTo>
                  <a:lnTo>
                    <a:pt x="16" y="2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5" name="Freeform 417"/>
            <p:cNvSpPr>
              <a:spLocks/>
            </p:cNvSpPr>
            <p:nvPr userDrawn="1"/>
          </p:nvSpPr>
          <p:spPr bwMode="auto">
            <a:xfrm>
              <a:off x="5413376" y="5732463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0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9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1"/>
                </a:cxn>
                <a:cxn ang="0">
                  <a:pos x="12" y="7"/>
                </a:cxn>
                <a:cxn ang="0">
                  <a:pos x="12" y="7"/>
                </a:cxn>
                <a:cxn ang="0">
                  <a:pos x="12" y="4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9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1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2" y="4"/>
                  </a:lnTo>
                  <a:lnTo>
                    <a:pt x="8" y="0"/>
                  </a:lnTo>
                  <a:lnTo>
                    <a:pt x="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6" name="Freeform 418"/>
            <p:cNvSpPr>
              <a:spLocks/>
            </p:cNvSpPr>
            <p:nvPr userDrawn="1"/>
          </p:nvSpPr>
          <p:spPr bwMode="auto">
            <a:xfrm>
              <a:off x="5413376" y="5732463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0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9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1"/>
                </a:cxn>
                <a:cxn ang="0">
                  <a:pos x="12" y="7"/>
                </a:cxn>
                <a:cxn ang="0">
                  <a:pos x="12" y="7"/>
                </a:cxn>
                <a:cxn ang="0">
                  <a:pos x="12" y="4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9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1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2" y="4"/>
                  </a:lnTo>
                  <a:lnTo>
                    <a:pt x="8" y="0"/>
                  </a:lnTo>
                  <a:lnTo>
                    <a:pt x="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7" name="Freeform 419"/>
            <p:cNvSpPr>
              <a:spLocks/>
            </p:cNvSpPr>
            <p:nvPr userDrawn="1"/>
          </p:nvSpPr>
          <p:spPr bwMode="auto">
            <a:xfrm>
              <a:off x="5337176" y="5751513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2" y="10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2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2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10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2"/>
                  </a:lnTo>
                  <a:lnTo>
                    <a:pt x="8" y="0"/>
                  </a:lnTo>
                  <a:lnTo>
                    <a:pt x="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8" name="Freeform 420"/>
            <p:cNvSpPr>
              <a:spLocks/>
            </p:cNvSpPr>
            <p:nvPr userDrawn="1"/>
          </p:nvSpPr>
          <p:spPr bwMode="auto">
            <a:xfrm>
              <a:off x="5337176" y="5751513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2" y="10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2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2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10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2"/>
                  </a:lnTo>
                  <a:lnTo>
                    <a:pt x="8" y="0"/>
                  </a:lnTo>
                  <a:lnTo>
                    <a:pt x="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9" name="Freeform 421"/>
            <p:cNvSpPr>
              <a:spLocks/>
            </p:cNvSpPr>
            <p:nvPr userDrawn="1"/>
          </p:nvSpPr>
          <p:spPr bwMode="auto">
            <a:xfrm>
              <a:off x="5270501" y="5751513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2" y="8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0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0" y="4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8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0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0" y="4"/>
                  </a:lnTo>
                  <a:lnTo>
                    <a:pt x="8" y="0"/>
                  </a:lnTo>
                  <a:lnTo>
                    <a:pt x="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0" name="Freeform 422"/>
            <p:cNvSpPr>
              <a:spLocks/>
            </p:cNvSpPr>
            <p:nvPr userDrawn="1"/>
          </p:nvSpPr>
          <p:spPr bwMode="auto">
            <a:xfrm>
              <a:off x="5270501" y="5751513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2" y="8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0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0" y="4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8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0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0" y="4"/>
                  </a:lnTo>
                  <a:lnTo>
                    <a:pt x="8" y="0"/>
                  </a:lnTo>
                  <a:lnTo>
                    <a:pt x="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1" name="Freeform 423"/>
            <p:cNvSpPr>
              <a:spLocks/>
            </p:cNvSpPr>
            <p:nvPr userDrawn="1"/>
          </p:nvSpPr>
          <p:spPr bwMode="auto">
            <a:xfrm>
              <a:off x="5203826" y="5751513"/>
              <a:ext cx="9525" cy="19050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8"/>
                </a:cxn>
                <a:cxn ang="0">
                  <a:pos x="3" y="12"/>
                </a:cxn>
                <a:cxn ang="0">
                  <a:pos x="3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5" y="10"/>
                </a:cxn>
                <a:cxn ang="0">
                  <a:pos x="6" y="8"/>
                </a:cxn>
                <a:cxn ang="0">
                  <a:pos x="6" y="8"/>
                </a:cxn>
                <a:cxn ang="0">
                  <a:pos x="6" y="3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</a:cxnLst>
              <a:rect l="0" t="0" r="r" b="b"/>
              <a:pathLst>
                <a:path w="6" h="12">
                  <a:moveTo>
                    <a:pt x="4" y="0"/>
                  </a:moveTo>
                  <a:lnTo>
                    <a:pt x="4" y="0"/>
                  </a:lnTo>
                  <a:lnTo>
                    <a:pt x="2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8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5" y="10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3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2" name="Freeform 424"/>
            <p:cNvSpPr>
              <a:spLocks/>
            </p:cNvSpPr>
            <p:nvPr userDrawn="1"/>
          </p:nvSpPr>
          <p:spPr bwMode="auto">
            <a:xfrm>
              <a:off x="5203826" y="5751513"/>
              <a:ext cx="9525" cy="19050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8"/>
                </a:cxn>
                <a:cxn ang="0">
                  <a:pos x="3" y="12"/>
                </a:cxn>
                <a:cxn ang="0">
                  <a:pos x="3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5" y="10"/>
                </a:cxn>
                <a:cxn ang="0">
                  <a:pos x="6" y="8"/>
                </a:cxn>
                <a:cxn ang="0">
                  <a:pos x="6" y="8"/>
                </a:cxn>
                <a:cxn ang="0">
                  <a:pos x="6" y="3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</a:cxnLst>
              <a:rect l="0" t="0" r="r" b="b"/>
              <a:pathLst>
                <a:path w="6" h="12">
                  <a:moveTo>
                    <a:pt x="4" y="0"/>
                  </a:moveTo>
                  <a:lnTo>
                    <a:pt x="4" y="0"/>
                  </a:lnTo>
                  <a:lnTo>
                    <a:pt x="2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8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5" y="10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3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3" name="Freeform 425"/>
            <p:cNvSpPr>
              <a:spLocks/>
            </p:cNvSpPr>
            <p:nvPr userDrawn="1"/>
          </p:nvSpPr>
          <p:spPr bwMode="auto">
            <a:xfrm>
              <a:off x="5137151" y="5732463"/>
              <a:ext cx="9525" cy="19050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0" y="8"/>
                </a:cxn>
                <a:cxn ang="0">
                  <a:pos x="2" y="12"/>
                </a:cxn>
                <a:cxn ang="0">
                  <a:pos x="2" y="12"/>
                </a:cxn>
                <a:cxn ang="0">
                  <a:pos x="3" y="12"/>
                </a:cxn>
                <a:cxn ang="0">
                  <a:pos x="3" y="12"/>
                </a:cxn>
                <a:cxn ang="0">
                  <a:pos x="5" y="10"/>
                </a:cxn>
                <a:cxn ang="0">
                  <a:pos x="6" y="8"/>
                </a:cxn>
                <a:cxn ang="0">
                  <a:pos x="6" y="8"/>
                </a:cxn>
                <a:cxn ang="0">
                  <a:pos x="6" y="3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3" y="0"/>
                </a:cxn>
              </a:cxnLst>
              <a:rect l="0" t="0" r="r" b="b"/>
              <a:pathLst>
                <a:path w="6" h="12">
                  <a:moveTo>
                    <a:pt x="3" y="0"/>
                  </a:moveTo>
                  <a:lnTo>
                    <a:pt x="3" y="0"/>
                  </a:lnTo>
                  <a:lnTo>
                    <a:pt x="2" y="0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8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5" y="10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3"/>
                  </a:lnTo>
                  <a:lnTo>
                    <a:pt x="5" y="0"/>
                  </a:lnTo>
                  <a:lnTo>
                    <a:pt x="5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4" name="Freeform 426"/>
            <p:cNvSpPr>
              <a:spLocks/>
            </p:cNvSpPr>
            <p:nvPr userDrawn="1"/>
          </p:nvSpPr>
          <p:spPr bwMode="auto">
            <a:xfrm>
              <a:off x="5137151" y="5732463"/>
              <a:ext cx="9525" cy="19050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0" y="8"/>
                </a:cxn>
                <a:cxn ang="0">
                  <a:pos x="2" y="12"/>
                </a:cxn>
                <a:cxn ang="0">
                  <a:pos x="2" y="12"/>
                </a:cxn>
                <a:cxn ang="0">
                  <a:pos x="3" y="12"/>
                </a:cxn>
                <a:cxn ang="0">
                  <a:pos x="3" y="12"/>
                </a:cxn>
                <a:cxn ang="0">
                  <a:pos x="5" y="10"/>
                </a:cxn>
                <a:cxn ang="0">
                  <a:pos x="6" y="8"/>
                </a:cxn>
                <a:cxn ang="0">
                  <a:pos x="6" y="8"/>
                </a:cxn>
                <a:cxn ang="0">
                  <a:pos x="6" y="3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3" y="0"/>
                </a:cxn>
              </a:cxnLst>
              <a:rect l="0" t="0" r="r" b="b"/>
              <a:pathLst>
                <a:path w="6" h="12">
                  <a:moveTo>
                    <a:pt x="3" y="0"/>
                  </a:moveTo>
                  <a:lnTo>
                    <a:pt x="3" y="0"/>
                  </a:lnTo>
                  <a:lnTo>
                    <a:pt x="2" y="0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8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5" y="10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3"/>
                  </a:lnTo>
                  <a:lnTo>
                    <a:pt x="5" y="0"/>
                  </a:lnTo>
                  <a:lnTo>
                    <a:pt x="5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5" name="Freeform 427"/>
            <p:cNvSpPr>
              <a:spLocks/>
            </p:cNvSpPr>
            <p:nvPr userDrawn="1"/>
          </p:nvSpPr>
          <p:spPr bwMode="auto">
            <a:xfrm>
              <a:off x="5661026" y="5408613"/>
              <a:ext cx="38100" cy="38100"/>
            </a:xfrm>
            <a:custGeom>
              <a:avLst/>
              <a:gdLst/>
              <a:ahLst/>
              <a:cxnLst>
                <a:cxn ang="0">
                  <a:pos x="13" y="0"/>
                </a:cxn>
                <a:cxn ang="0">
                  <a:pos x="13" y="0"/>
                </a:cxn>
                <a:cxn ang="0">
                  <a:pos x="9" y="0"/>
                </a:cxn>
                <a:cxn ang="0">
                  <a:pos x="5" y="2"/>
                </a:cxn>
                <a:cxn ang="0">
                  <a:pos x="2" y="6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14"/>
                </a:cxn>
                <a:cxn ang="0">
                  <a:pos x="0" y="18"/>
                </a:cxn>
                <a:cxn ang="0">
                  <a:pos x="5" y="22"/>
                </a:cxn>
                <a:cxn ang="0">
                  <a:pos x="9" y="24"/>
                </a:cxn>
                <a:cxn ang="0">
                  <a:pos x="9" y="24"/>
                </a:cxn>
                <a:cxn ang="0">
                  <a:pos x="11" y="24"/>
                </a:cxn>
                <a:cxn ang="0">
                  <a:pos x="11" y="24"/>
                </a:cxn>
                <a:cxn ang="0">
                  <a:pos x="15" y="24"/>
                </a:cxn>
                <a:cxn ang="0">
                  <a:pos x="20" y="22"/>
                </a:cxn>
                <a:cxn ang="0">
                  <a:pos x="22" y="18"/>
                </a:cxn>
                <a:cxn ang="0">
                  <a:pos x="24" y="14"/>
                </a:cxn>
                <a:cxn ang="0">
                  <a:pos x="24" y="14"/>
                </a:cxn>
                <a:cxn ang="0">
                  <a:pos x="24" y="10"/>
                </a:cxn>
                <a:cxn ang="0">
                  <a:pos x="24" y="6"/>
                </a:cxn>
                <a:cxn ang="0">
                  <a:pos x="20" y="2"/>
                </a:cxn>
                <a:cxn ang="0">
                  <a:pos x="15" y="0"/>
                </a:cxn>
                <a:cxn ang="0">
                  <a:pos x="15" y="0"/>
                </a:cxn>
                <a:cxn ang="0">
                  <a:pos x="13" y="0"/>
                </a:cxn>
              </a:cxnLst>
              <a:rect l="0" t="0" r="r" b="b"/>
              <a:pathLst>
                <a:path w="24" h="24">
                  <a:moveTo>
                    <a:pt x="13" y="0"/>
                  </a:moveTo>
                  <a:lnTo>
                    <a:pt x="13" y="0"/>
                  </a:lnTo>
                  <a:lnTo>
                    <a:pt x="9" y="0"/>
                  </a:lnTo>
                  <a:lnTo>
                    <a:pt x="5" y="2"/>
                  </a:lnTo>
                  <a:lnTo>
                    <a:pt x="2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4"/>
                  </a:lnTo>
                  <a:lnTo>
                    <a:pt x="0" y="18"/>
                  </a:lnTo>
                  <a:lnTo>
                    <a:pt x="5" y="22"/>
                  </a:lnTo>
                  <a:lnTo>
                    <a:pt x="9" y="24"/>
                  </a:lnTo>
                  <a:lnTo>
                    <a:pt x="9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5" y="24"/>
                  </a:lnTo>
                  <a:lnTo>
                    <a:pt x="20" y="22"/>
                  </a:lnTo>
                  <a:lnTo>
                    <a:pt x="22" y="18"/>
                  </a:lnTo>
                  <a:lnTo>
                    <a:pt x="24" y="14"/>
                  </a:lnTo>
                  <a:lnTo>
                    <a:pt x="24" y="14"/>
                  </a:lnTo>
                  <a:lnTo>
                    <a:pt x="24" y="10"/>
                  </a:lnTo>
                  <a:lnTo>
                    <a:pt x="24" y="6"/>
                  </a:lnTo>
                  <a:lnTo>
                    <a:pt x="20" y="2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6" name="Freeform 428"/>
            <p:cNvSpPr>
              <a:spLocks/>
            </p:cNvSpPr>
            <p:nvPr userDrawn="1"/>
          </p:nvSpPr>
          <p:spPr bwMode="auto">
            <a:xfrm>
              <a:off x="5661026" y="5408613"/>
              <a:ext cx="38100" cy="38100"/>
            </a:xfrm>
            <a:custGeom>
              <a:avLst/>
              <a:gdLst/>
              <a:ahLst/>
              <a:cxnLst>
                <a:cxn ang="0">
                  <a:pos x="13" y="0"/>
                </a:cxn>
                <a:cxn ang="0">
                  <a:pos x="13" y="0"/>
                </a:cxn>
                <a:cxn ang="0">
                  <a:pos x="9" y="0"/>
                </a:cxn>
                <a:cxn ang="0">
                  <a:pos x="5" y="2"/>
                </a:cxn>
                <a:cxn ang="0">
                  <a:pos x="2" y="6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14"/>
                </a:cxn>
                <a:cxn ang="0">
                  <a:pos x="0" y="18"/>
                </a:cxn>
                <a:cxn ang="0">
                  <a:pos x="5" y="22"/>
                </a:cxn>
                <a:cxn ang="0">
                  <a:pos x="9" y="24"/>
                </a:cxn>
                <a:cxn ang="0">
                  <a:pos x="9" y="24"/>
                </a:cxn>
                <a:cxn ang="0">
                  <a:pos x="11" y="24"/>
                </a:cxn>
                <a:cxn ang="0">
                  <a:pos x="11" y="24"/>
                </a:cxn>
                <a:cxn ang="0">
                  <a:pos x="15" y="24"/>
                </a:cxn>
                <a:cxn ang="0">
                  <a:pos x="20" y="22"/>
                </a:cxn>
                <a:cxn ang="0">
                  <a:pos x="22" y="18"/>
                </a:cxn>
                <a:cxn ang="0">
                  <a:pos x="24" y="14"/>
                </a:cxn>
                <a:cxn ang="0">
                  <a:pos x="24" y="14"/>
                </a:cxn>
                <a:cxn ang="0">
                  <a:pos x="24" y="10"/>
                </a:cxn>
                <a:cxn ang="0">
                  <a:pos x="24" y="6"/>
                </a:cxn>
                <a:cxn ang="0">
                  <a:pos x="20" y="2"/>
                </a:cxn>
                <a:cxn ang="0">
                  <a:pos x="15" y="0"/>
                </a:cxn>
                <a:cxn ang="0">
                  <a:pos x="15" y="0"/>
                </a:cxn>
                <a:cxn ang="0">
                  <a:pos x="13" y="0"/>
                </a:cxn>
              </a:cxnLst>
              <a:rect l="0" t="0" r="r" b="b"/>
              <a:pathLst>
                <a:path w="24" h="24">
                  <a:moveTo>
                    <a:pt x="13" y="0"/>
                  </a:moveTo>
                  <a:lnTo>
                    <a:pt x="13" y="0"/>
                  </a:lnTo>
                  <a:lnTo>
                    <a:pt x="9" y="0"/>
                  </a:lnTo>
                  <a:lnTo>
                    <a:pt x="5" y="2"/>
                  </a:lnTo>
                  <a:lnTo>
                    <a:pt x="2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4"/>
                  </a:lnTo>
                  <a:lnTo>
                    <a:pt x="0" y="18"/>
                  </a:lnTo>
                  <a:lnTo>
                    <a:pt x="5" y="22"/>
                  </a:lnTo>
                  <a:lnTo>
                    <a:pt x="9" y="24"/>
                  </a:lnTo>
                  <a:lnTo>
                    <a:pt x="9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5" y="24"/>
                  </a:lnTo>
                  <a:lnTo>
                    <a:pt x="20" y="22"/>
                  </a:lnTo>
                  <a:lnTo>
                    <a:pt x="22" y="18"/>
                  </a:lnTo>
                  <a:lnTo>
                    <a:pt x="24" y="14"/>
                  </a:lnTo>
                  <a:lnTo>
                    <a:pt x="24" y="14"/>
                  </a:lnTo>
                  <a:lnTo>
                    <a:pt x="24" y="10"/>
                  </a:lnTo>
                  <a:lnTo>
                    <a:pt x="24" y="6"/>
                  </a:lnTo>
                  <a:lnTo>
                    <a:pt x="20" y="2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7" name="Freeform 429"/>
            <p:cNvSpPr>
              <a:spLocks/>
            </p:cNvSpPr>
            <p:nvPr userDrawn="1"/>
          </p:nvSpPr>
          <p:spPr bwMode="auto">
            <a:xfrm>
              <a:off x="5670551" y="5341938"/>
              <a:ext cx="38100" cy="28575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11" y="0"/>
                </a:cxn>
                <a:cxn ang="0">
                  <a:pos x="5" y="2"/>
                </a:cxn>
                <a:cxn ang="0">
                  <a:pos x="2" y="5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10"/>
                </a:cxn>
                <a:cxn ang="0">
                  <a:pos x="2" y="13"/>
                </a:cxn>
                <a:cxn ang="0">
                  <a:pos x="5" y="17"/>
                </a:cxn>
                <a:cxn ang="0">
                  <a:pos x="9" y="18"/>
                </a:cxn>
                <a:cxn ang="0">
                  <a:pos x="9" y="18"/>
                </a:cxn>
                <a:cxn ang="0">
                  <a:pos x="11" y="18"/>
                </a:cxn>
                <a:cxn ang="0">
                  <a:pos x="11" y="18"/>
                </a:cxn>
                <a:cxn ang="0">
                  <a:pos x="20" y="17"/>
                </a:cxn>
                <a:cxn ang="0">
                  <a:pos x="22" y="15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8"/>
                </a:cxn>
                <a:cxn ang="0">
                  <a:pos x="22" y="5"/>
                </a:cxn>
                <a:cxn ang="0">
                  <a:pos x="20" y="2"/>
                </a:cxn>
                <a:cxn ang="0">
                  <a:pos x="15" y="0"/>
                </a:cxn>
                <a:cxn ang="0">
                  <a:pos x="15" y="0"/>
                </a:cxn>
                <a:cxn ang="0">
                  <a:pos x="11" y="0"/>
                </a:cxn>
              </a:cxnLst>
              <a:rect l="0" t="0" r="r" b="b"/>
              <a:pathLst>
                <a:path w="24" h="18">
                  <a:moveTo>
                    <a:pt x="11" y="0"/>
                  </a:moveTo>
                  <a:lnTo>
                    <a:pt x="11" y="0"/>
                  </a:lnTo>
                  <a:lnTo>
                    <a:pt x="5" y="2"/>
                  </a:lnTo>
                  <a:lnTo>
                    <a:pt x="2" y="5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10"/>
                  </a:lnTo>
                  <a:lnTo>
                    <a:pt x="2" y="13"/>
                  </a:lnTo>
                  <a:lnTo>
                    <a:pt x="5" y="17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20" y="17"/>
                  </a:lnTo>
                  <a:lnTo>
                    <a:pt x="22" y="15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2" y="5"/>
                  </a:lnTo>
                  <a:lnTo>
                    <a:pt x="20" y="2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8" name="Freeform 430"/>
            <p:cNvSpPr>
              <a:spLocks/>
            </p:cNvSpPr>
            <p:nvPr userDrawn="1"/>
          </p:nvSpPr>
          <p:spPr bwMode="auto">
            <a:xfrm>
              <a:off x="5670551" y="5341938"/>
              <a:ext cx="38100" cy="28575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11" y="0"/>
                </a:cxn>
                <a:cxn ang="0">
                  <a:pos x="5" y="2"/>
                </a:cxn>
                <a:cxn ang="0">
                  <a:pos x="2" y="5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10"/>
                </a:cxn>
                <a:cxn ang="0">
                  <a:pos x="2" y="13"/>
                </a:cxn>
                <a:cxn ang="0">
                  <a:pos x="5" y="17"/>
                </a:cxn>
                <a:cxn ang="0">
                  <a:pos x="9" y="18"/>
                </a:cxn>
                <a:cxn ang="0">
                  <a:pos x="9" y="18"/>
                </a:cxn>
                <a:cxn ang="0">
                  <a:pos x="11" y="18"/>
                </a:cxn>
                <a:cxn ang="0">
                  <a:pos x="11" y="18"/>
                </a:cxn>
                <a:cxn ang="0">
                  <a:pos x="20" y="17"/>
                </a:cxn>
                <a:cxn ang="0">
                  <a:pos x="22" y="15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8"/>
                </a:cxn>
                <a:cxn ang="0">
                  <a:pos x="22" y="5"/>
                </a:cxn>
                <a:cxn ang="0">
                  <a:pos x="20" y="2"/>
                </a:cxn>
                <a:cxn ang="0">
                  <a:pos x="15" y="0"/>
                </a:cxn>
                <a:cxn ang="0">
                  <a:pos x="15" y="0"/>
                </a:cxn>
                <a:cxn ang="0">
                  <a:pos x="11" y="0"/>
                </a:cxn>
              </a:cxnLst>
              <a:rect l="0" t="0" r="r" b="b"/>
              <a:pathLst>
                <a:path w="24" h="18">
                  <a:moveTo>
                    <a:pt x="11" y="0"/>
                  </a:moveTo>
                  <a:lnTo>
                    <a:pt x="11" y="0"/>
                  </a:lnTo>
                  <a:lnTo>
                    <a:pt x="5" y="2"/>
                  </a:lnTo>
                  <a:lnTo>
                    <a:pt x="2" y="5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10"/>
                  </a:lnTo>
                  <a:lnTo>
                    <a:pt x="2" y="13"/>
                  </a:lnTo>
                  <a:lnTo>
                    <a:pt x="5" y="17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20" y="17"/>
                  </a:lnTo>
                  <a:lnTo>
                    <a:pt x="22" y="15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2" y="5"/>
                  </a:lnTo>
                  <a:lnTo>
                    <a:pt x="20" y="2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9" name="Freeform 431"/>
            <p:cNvSpPr>
              <a:spLocks/>
            </p:cNvSpPr>
            <p:nvPr userDrawn="1"/>
          </p:nvSpPr>
          <p:spPr bwMode="auto">
            <a:xfrm>
              <a:off x="5670551" y="5265738"/>
              <a:ext cx="28575" cy="38100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4" y="3"/>
                </a:cxn>
                <a:cxn ang="0">
                  <a:pos x="0" y="10"/>
                </a:cxn>
                <a:cxn ang="0">
                  <a:pos x="0" y="10"/>
                </a:cxn>
                <a:cxn ang="0">
                  <a:pos x="0" y="15"/>
                </a:cxn>
                <a:cxn ang="0">
                  <a:pos x="0" y="20"/>
                </a:cxn>
                <a:cxn ang="0">
                  <a:pos x="4" y="22"/>
                </a:cxn>
                <a:cxn ang="0">
                  <a:pos x="6" y="24"/>
                </a:cxn>
                <a:cxn ang="0">
                  <a:pos x="6" y="24"/>
                </a:cxn>
                <a:cxn ang="0">
                  <a:pos x="8" y="24"/>
                </a:cxn>
                <a:cxn ang="0">
                  <a:pos x="8" y="24"/>
                </a:cxn>
                <a:cxn ang="0">
                  <a:pos x="14" y="22"/>
                </a:cxn>
                <a:cxn ang="0">
                  <a:pos x="18" y="17"/>
                </a:cxn>
                <a:cxn ang="0">
                  <a:pos x="18" y="17"/>
                </a:cxn>
                <a:cxn ang="0">
                  <a:pos x="18" y="12"/>
                </a:cxn>
                <a:cxn ang="0">
                  <a:pos x="18" y="8"/>
                </a:cxn>
                <a:cxn ang="0">
                  <a:pos x="14" y="3"/>
                </a:cxn>
                <a:cxn ang="0">
                  <a:pos x="12" y="3"/>
                </a:cxn>
                <a:cxn ang="0">
                  <a:pos x="12" y="3"/>
                </a:cxn>
                <a:cxn ang="0">
                  <a:pos x="8" y="0"/>
                </a:cxn>
              </a:cxnLst>
              <a:rect l="0" t="0" r="r" b="b"/>
              <a:pathLst>
                <a:path w="18" h="24">
                  <a:moveTo>
                    <a:pt x="8" y="0"/>
                  </a:moveTo>
                  <a:lnTo>
                    <a:pt x="8" y="0"/>
                  </a:lnTo>
                  <a:lnTo>
                    <a:pt x="4" y="3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5"/>
                  </a:lnTo>
                  <a:lnTo>
                    <a:pt x="0" y="20"/>
                  </a:lnTo>
                  <a:lnTo>
                    <a:pt x="4" y="22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14" y="22"/>
                  </a:lnTo>
                  <a:lnTo>
                    <a:pt x="18" y="17"/>
                  </a:lnTo>
                  <a:lnTo>
                    <a:pt x="18" y="17"/>
                  </a:lnTo>
                  <a:lnTo>
                    <a:pt x="18" y="12"/>
                  </a:lnTo>
                  <a:lnTo>
                    <a:pt x="18" y="8"/>
                  </a:lnTo>
                  <a:lnTo>
                    <a:pt x="14" y="3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0" name="Freeform 432"/>
            <p:cNvSpPr>
              <a:spLocks/>
            </p:cNvSpPr>
            <p:nvPr userDrawn="1"/>
          </p:nvSpPr>
          <p:spPr bwMode="auto">
            <a:xfrm>
              <a:off x="5670551" y="5265738"/>
              <a:ext cx="28575" cy="38100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4" y="3"/>
                </a:cxn>
                <a:cxn ang="0">
                  <a:pos x="0" y="10"/>
                </a:cxn>
                <a:cxn ang="0">
                  <a:pos x="0" y="10"/>
                </a:cxn>
                <a:cxn ang="0">
                  <a:pos x="0" y="15"/>
                </a:cxn>
                <a:cxn ang="0">
                  <a:pos x="0" y="20"/>
                </a:cxn>
                <a:cxn ang="0">
                  <a:pos x="4" y="22"/>
                </a:cxn>
                <a:cxn ang="0">
                  <a:pos x="6" y="24"/>
                </a:cxn>
                <a:cxn ang="0">
                  <a:pos x="6" y="24"/>
                </a:cxn>
                <a:cxn ang="0">
                  <a:pos x="8" y="24"/>
                </a:cxn>
                <a:cxn ang="0">
                  <a:pos x="8" y="24"/>
                </a:cxn>
                <a:cxn ang="0">
                  <a:pos x="14" y="22"/>
                </a:cxn>
                <a:cxn ang="0">
                  <a:pos x="18" y="17"/>
                </a:cxn>
                <a:cxn ang="0">
                  <a:pos x="18" y="17"/>
                </a:cxn>
                <a:cxn ang="0">
                  <a:pos x="18" y="12"/>
                </a:cxn>
                <a:cxn ang="0">
                  <a:pos x="18" y="8"/>
                </a:cxn>
                <a:cxn ang="0">
                  <a:pos x="14" y="3"/>
                </a:cxn>
                <a:cxn ang="0">
                  <a:pos x="12" y="3"/>
                </a:cxn>
                <a:cxn ang="0">
                  <a:pos x="12" y="3"/>
                </a:cxn>
                <a:cxn ang="0">
                  <a:pos x="8" y="0"/>
                </a:cxn>
              </a:cxnLst>
              <a:rect l="0" t="0" r="r" b="b"/>
              <a:pathLst>
                <a:path w="18" h="24">
                  <a:moveTo>
                    <a:pt x="8" y="0"/>
                  </a:moveTo>
                  <a:lnTo>
                    <a:pt x="8" y="0"/>
                  </a:lnTo>
                  <a:lnTo>
                    <a:pt x="4" y="3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5"/>
                  </a:lnTo>
                  <a:lnTo>
                    <a:pt x="0" y="20"/>
                  </a:lnTo>
                  <a:lnTo>
                    <a:pt x="4" y="22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14" y="22"/>
                  </a:lnTo>
                  <a:lnTo>
                    <a:pt x="18" y="17"/>
                  </a:lnTo>
                  <a:lnTo>
                    <a:pt x="18" y="17"/>
                  </a:lnTo>
                  <a:lnTo>
                    <a:pt x="18" y="12"/>
                  </a:lnTo>
                  <a:lnTo>
                    <a:pt x="18" y="8"/>
                  </a:lnTo>
                  <a:lnTo>
                    <a:pt x="14" y="3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1" name="Freeform 433"/>
            <p:cNvSpPr>
              <a:spLocks/>
            </p:cNvSpPr>
            <p:nvPr userDrawn="1"/>
          </p:nvSpPr>
          <p:spPr bwMode="auto">
            <a:xfrm>
              <a:off x="5651501" y="5199063"/>
              <a:ext cx="28575" cy="28575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10" y="0"/>
                </a:cxn>
                <a:cxn ang="0">
                  <a:pos x="4" y="2"/>
                </a:cxn>
                <a:cxn ang="0">
                  <a:pos x="2" y="8"/>
                </a:cxn>
                <a:cxn ang="0">
                  <a:pos x="2" y="8"/>
                </a:cxn>
                <a:cxn ang="0">
                  <a:pos x="0" y="10"/>
                </a:cxn>
                <a:cxn ang="0">
                  <a:pos x="2" y="14"/>
                </a:cxn>
                <a:cxn ang="0">
                  <a:pos x="4" y="16"/>
                </a:cxn>
                <a:cxn ang="0">
                  <a:pos x="8" y="18"/>
                </a:cxn>
                <a:cxn ang="0">
                  <a:pos x="8" y="18"/>
                </a:cxn>
                <a:cxn ang="0">
                  <a:pos x="10" y="18"/>
                </a:cxn>
                <a:cxn ang="0">
                  <a:pos x="10" y="18"/>
                </a:cxn>
                <a:cxn ang="0">
                  <a:pos x="14" y="16"/>
                </a:cxn>
                <a:cxn ang="0">
                  <a:pos x="18" y="12"/>
                </a:cxn>
                <a:cxn ang="0">
                  <a:pos x="18" y="12"/>
                </a:cxn>
                <a:cxn ang="0">
                  <a:pos x="18" y="8"/>
                </a:cxn>
                <a:cxn ang="0">
                  <a:pos x="16" y="4"/>
                </a:cxn>
                <a:cxn ang="0">
                  <a:pos x="14" y="2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0" y="0"/>
                </a:cxn>
              </a:cxnLst>
              <a:rect l="0" t="0" r="r" b="b"/>
              <a:pathLst>
                <a:path w="18" h="18">
                  <a:moveTo>
                    <a:pt x="10" y="0"/>
                  </a:moveTo>
                  <a:lnTo>
                    <a:pt x="10" y="0"/>
                  </a:lnTo>
                  <a:lnTo>
                    <a:pt x="4" y="2"/>
                  </a:lnTo>
                  <a:lnTo>
                    <a:pt x="2" y="8"/>
                  </a:lnTo>
                  <a:lnTo>
                    <a:pt x="2" y="8"/>
                  </a:lnTo>
                  <a:lnTo>
                    <a:pt x="0" y="10"/>
                  </a:lnTo>
                  <a:lnTo>
                    <a:pt x="2" y="14"/>
                  </a:lnTo>
                  <a:lnTo>
                    <a:pt x="4" y="16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4" y="16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8"/>
                  </a:lnTo>
                  <a:lnTo>
                    <a:pt x="16" y="4"/>
                  </a:lnTo>
                  <a:lnTo>
                    <a:pt x="14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2" name="Freeform 434"/>
            <p:cNvSpPr>
              <a:spLocks/>
            </p:cNvSpPr>
            <p:nvPr userDrawn="1"/>
          </p:nvSpPr>
          <p:spPr bwMode="auto">
            <a:xfrm>
              <a:off x="5651501" y="5199063"/>
              <a:ext cx="28575" cy="28575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10" y="0"/>
                </a:cxn>
                <a:cxn ang="0">
                  <a:pos x="4" y="2"/>
                </a:cxn>
                <a:cxn ang="0">
                  <a:pos x="2" y="8"/>
                </a:cxn>
                <a:cxn ang="0">
                  <a:pos x="2" y="8"/>
                </a:cxn>
                <a:cxn ang="0">
                  <a:pos x="0" y="10"/>
                </a:cxn>
                <a:cxn ang="0">
                  <a:pos x="2" y="14"/>
                </a:cxn>
                <a:cxn ang="0">
                  <a:pos x="4" y="16"/>
                </a:cxn>
                <a:cxn ang="0">
                  <a:pos x="8" y="18"/>
                </a:cxn>
                <a:cxn ang="0">
                  <a:pos x="8" y="18"/>
                </a:cxn>
                <a:cxn ang="0">
                  <a:pos x="10" y="18"/>
                </a:cxn>
                <a:cxn ang="0">
                  <a:pos x="10" y="18"/>
                </a:cxn>
                <a:cxn ang="0">
                  <a:pos x="14" y="16"/>
                </a:cxn>
                <a:cxn ang="0">
                  <a:pos x="18" y="12"/>
                </a:cxn>
                <a:cxn ang="0">
                  <a:pos x="18" y="12"/>
                </a:cxn>
                <a:cxn ang="0">
                  <a:pos x="18" y="8"/>
                </a:cxn>
                <a:cxn ang="0">
                  <a:pos x="16" y="4"/>
                </a:cxn>
                <a:cxn ang="0">
                  <a:pos x="14" y="2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0" y="0"/>
                </a:cxn>
              </a:cxnLst>
              <a:rect l="0" t="0" r="r" b="b"/>
              <a:pathLst>
                <a:path w="18" h="18">
                  <a:moveTo>
                    <a:pt x="10" y="0"/>
                  </a:moveTo>
                  <a:lnTo>
                    <a:pt x="10" y="0"/>
                  </a:lnTo>
                  <a:lnTo>
                    <a:pt x="4" y="2"/>
                  </a:lnTo>
                  <a:lnTo>
                    <a:pt x="2" y="8"/>
                  </a:lnTo>
                  <a:lnTo>
                    <a:pt x="2" y="8"/>
                  </a:lnTo>
                  <a:lnTo>
                    <a:pt x="0" y="10"/>
                  </a:lnTo>
                  <a:lnTo>
                    <a:pt x="2" y="14"/>
                  </a:lnTo>
                  <a:lnTo>
                    <a:pt x="4" y="16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4" y="16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8"/>
                  </a:lnTo>
                  <a:lnTo>
                    <a:pt x="16" y="4"/>
                  </a:lnTo>
                  <a:lnTo>
                    <a:pt x="14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3" name="Freeform 435"/>
            <p:cNvSpPr>
              <a:spLocks/>
            </p:cNvSpPr>
            <p:nvPr userDrawn="1"/>
          </p:nvSpPr>
          <p:spPr bwMode="auto">
            <a:xfrm>
              <a:off x="5622926" y="5141913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3" y="2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0" y="8"/>
                </a:cxn>
                <a:cxn ang="0">
                  <a:pos x="2" y="9"/>
                </a:cxn>
                <a:cxn ang="0">
                  <a:pos x="3" y="11"/>
                </a:cxn>
                <a:cxn ang="0">
                  <a:pos x="5" y="12"/>
                </a:cxn>
                <a:cxn ang="0">
                  <a:pos x="5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1" y="11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6"/>
                </a:cxn>
                <a:cxn ang="0">
                  <a:pos x="12" y="3"/>
                </a:cxn>
                <a:cxn ang="0">
                  <a:pos x="11" y="2"/>
                </a:cxn>
                <a:cxn ang="0">
                  <a:pos x="8" y="2"/>
                </a:cxn>
                <a:cxn ang="0">
                  <a:pos x="8" y="2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3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8"/>
                  </a:lnTo>
                  <a:lnTo>
                    <a:pt x="2" y="9"/>
                  </a:lnTo>
                  <a:lnTo>
                    <a:pt x="3" y="11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1" y="11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6"/>
                  </a:lnTo>
                  <a:lnTo>
                    <a:pt x="12" y="3"/>
                  </a:lnTo>
                  <a:lnTo>
                    <a:pt x="11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4" name="Freeform 436"/>
            <p:cNvSpPr>
              <a:spLocks/>
            </p:cNvSpPr>
            <p:nvPr userDrawn="1"/>
          </p:nvSpPr>
          <p:spPr bwMode="auto">
            <a:xfrm>
              <a:off x="5622926" y="5141913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3" y="2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0" y="8"/>
                </a:cxn>
                <a:cxn ang="0">
                  <a:pos x="2" y="9"/>
                </a:cxn>
                <a:cxn ang="0">
                  <a:pos x="3" y="11"/>
                </a:cxn>
                <a:cxn ang="0">
                  <a:pos x="5" y="12"/>
                </a:cxn>
                <a:cxn ang="0">
                  <a:pos x="5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1" y="11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6"/>
                </a:cxn>
                <a:cxn ang="0">
                  <a:pos x="12" y="3"/>
                </a:cxn>
                <a:cxn ang="0">
                  <a:pos x="11" y="2"/>
                </a:cxn>
                <a:cxn ang="0">
                  <a:pos x="8" y="2"/>
                </a:cxn>
                <a:cxn ang="0">
                  <a:pos x="8" y="2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3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8"/>
                  </a:lnTo>
                  <a:lnTo>
                    <a:pt x="2" y="9"/>
                  </a:lnTo>
                  <a:lnTo>
                    <a:pt x="3" y="11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1" y="11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6"/>
                  </a:lnTo>
                  <a:lnTo>
                    <a:pt x="12" y="3"/>
                  </a:lnTo>
                  <a:lnTo>
                    <a:pt x="11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5" name="Freeform 437"/>
            <p:cNvSpPr>
              <a:spLocks/>
            </p:cNvSpPr>
            <p:nvPr userDrawn="1"/>
          </p:nvSpPr>
          <p:spPr bwMode="auto">
            <a:xfrm>
              <a:off x="5584826" y="5084763"/>
              <a:ext cx="19050" cy="19050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5" y="0"/>
                </a:cxn>
                <a:cxn ang="0">
                  <a:pos x="2" y="2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0" y="9"/>
                </a:cxn>
                <a:cxn ang="0">
                  <a:pos x="4" y="11"/>
                </a:cxn>
                <a:cxn ang="0">
                  <a:pos x="4" y="11"/>
                </a:cxn>
                <a:cxn ang="0">
                  <a:pos x="5" y="12"/>
                </a:cxn>
                <a:cxn ang="0">
                  <a:pos x="5" y="12"/>
                </a:cxn>
                <a:cxn ang="0">
                  <a:pos x="11" y="11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1" y="3"/>
                </a:cxn>
                <a:cxn ang="0">
                  <a:pos x="7" y="2"/>
                </a:cxn>
                <a:cxn ang="0">
                  <a:pos x="7" y="2"/>
                </a:cxn>
                <a:cxn ang="0">
                  <a:pos x="5" y="0"/>
                </a:cxn>
              </a:cxnLst>
              <a:rect l="0" t="0" r="r" b="b"/>
              <a:pathLst>
                <a:path w="12" h="12">
                  <a:moveTo>
                    <a:pt x="5" y="0"/>
                  </a:moveTo>
                  <a:lnTo>
                    <a:pt x="5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9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11" y="11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1" y="3"/>
                  </a:lnTo>
                  <a:lnTo>
                    <a:pt x="7" y="2"/>
                  </a:lnTo>
                  <a:lnTo>
                    <a:pt x="7" y="2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6" name="Freeform 438"/>
            <p:cNvSpPr>
              <a:spLocks/>
            </p:cNvSpPr>
            <p:nvPr userDrawn="1"/>
          </p:nvSpPr>
          <p:spPr bwMode="auto">
            <a:xfrm>
              <a:off x="5584826" y="5084763"/>
              <a:ext cx="19050" cy="19050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5" y="0"/>
                </a:cxn>
                <a:cxn ang="0">
                  <a:pos x="2" y="2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0" y="9"/>
                </a:cxn>
                <a:cxn ang="0">
                  <a:pos x="4" y="11"/>
                </a:cxn>
                <a:cxn ang="0">
                  <a:pos x="4" y="11"/>
                </a:cxn>
                <a:cxn ang="0">
                  <a:pos x="5" y="12"/>
                </a:cxn>
                <a:cxn ang="0">
                  <a:pos x="5" y="12"/>
                </a:cxn>
                <a:cxn ang="0">
                  <a:pos x="11" y="11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1" y="3"/>
                </a:cxn>
                <a:cxn ang="0">
                  <a:pos x="7" y="2"/>
                </a:cxn>
                <a:cxn ang="0">
                  <a:pos x="7" y="2"/>
                </a:cxn>
                <a:cxn ang="0">
                  <a:pos x="5" y="0"/>
                </a:cxn>
              </a:cxnLst>
              <a:rect l="0" t="0" r="r" b="b"/>
              <a:pathLst>
                <a:path w="12" h="12">
                  <a:moveTo>
                    <a:pt x="5" y="0"/>
                  </a:moveTo>
                  <a:lnTo>
                    <a:pt x="5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9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11" y="11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1" y="3"/>
                  </a:lnTo>
                  <a:lnTo>
                    <a:pt x="7" y="2"/>
                  </a:lnTo>
                  <a:lnTo>
                    <a:pt x="7" y="2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7" name="Freeform 439"/>
            <p:cNvSpPr>
              <a:spLocks/>
            </p:cNvSpPr>
            <p:nvPr userDrawn="1"/>
          </p:nvSpPr>
          <p:spPr bwMode="auto">
            <a:xfrm>
              <a:off x="5537201" y="503713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10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8" y="12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0" y="4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10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8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0" y="4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8" name="Freeform 440"/>
            <p:cNvSpPr>
              <a:spLocks/>
            </p:cNvSpPr>
            <p:nvPr userDrawn="1"/>
          </p:nvSpPr>
          <p:spPr bwMode="auto">
            <a:xfrm>
              <a:off x="5537201" y="503713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10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8" y="12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0" y="4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10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8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0" y="4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9" name="Freeform 441"/>
            <p:cNvSpPr>
              <a:spLocks/>
            </p:cNvSpPr>
            <p:nvPr userDrawn="1"/>
          </p:nvSpPr>
          <p:spPr bwMode="auto">
            <a:xfrm>
              <a:off x="5470526" y="4989513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4" y="2"/>
                </a:cxn>
                <a:cxn ang="0">
                  <a:pos x="0" y="6"/>
                </a:cxn>
                <a:cxn ang="0">
                  <a:pos x="0" y="6"/>
                </a:cxn>
                <a:cxn ang="0">
                  <a:pos x="2" y="10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2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4"/>
                </a:cxn>
                <a:cxn ang="0">
                  <a:pos x="8" y="2"/>
                </a:cxn>
                <a:cxn ang="0">
                  <a:pos x="8" y="2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4" y="2"/>
                  </a:lnTo>
                  <a:lnTo>
                    <a:pt x="0" y="6"/>
                  </a:lnTo>
                  <a:lnTo>
                    <a:pt x="0" y="6"/>
                  </a:lnTo>
                  <a:lnTo>
                    <a:pt x="2" y="10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8" y="2"/>
                  </a:lnTo>
                  <a:lnTo>
                    <a:pt x="8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0" name="Freeform 442"/>
            <p:cNvSpPr>
              <a:spLocks/>
            </p:cNvSpPr>
            <p:nvPr userDrawn="1"/>
          </p:nvSpPr>
          <p:spPr bwMode="auto">
            <a:xfrm>
              <a:off x="5470526" y="4989513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4" y="2"/>
                </a:cxn>
                <a:cxn ang="0">
                  <a:pos x="0" y="6"/>
                </a:cxn>
                <a:cxn ang="0">
                  <a:pos x="0" y="6"/>
                </a:cxn>
                <a:cxn ang="0">
                  <a:pos x="2" y="10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2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4"/>
                </a:cxn>
                <a:cxn ang="0">
                  <a:pos x="8" y="2"/>
                </a:cxn>
                <a:cxn ang="0">
                  <a:pos x="8" y="2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4" y="2"/>
                  </a:lnTo>
                  <a:lnTo>
                    <a:pt x="0" y="6"/>
                  </a:lnTo>
                  <a:lnTo>
                    <a:pt x="0" y="6"/>
                  </a:lnTo>
                  <a:lnTo>
                    <a:pt x="2" y="10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8" y="2"/>
                  </a:lnTo>
                  <a:lnTo>
                    <a:pt x="8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1" name="Freeform 443"/>
            <p:cNvSpPr>
              <a:spLocks/>
            </p:cNvSpPr>
            <p:nvPr userDrawn="1"/>
          </p:nvSpPr>
          <p:spPr bwMode="auto">
            <a:xfrm>
              <a:off x="5413376" y="4960938"/>
              <a:ext cx="9525" cy="19050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2" y="3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2" y="10"/>
                </a:cxn>
                <a:cxn ang="0">
                  <a:pos x="3" y="12"/>
                </a:cxn>
                <a:cxn ang="0">
                  <a:pos x="3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5" y="12"/>
                </a:cxn>
                <a:cxn ang="0">
                  <a:pos x="6" y="10"/>
                </a:cxn>
                <a:cxn ang="0">
                  <a:pos x="6" y="10"/>
                </a:cxn>
                <a:cxn ang="0">
                  <a:pos x="6" y="5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4" y="0"/>
                </a:cxn>
              </a:cxnLst>
              <a:rect l="0" t="0" r="r" b="b"/>
              <a:pathLst>
                <a:path w="6" h="12">
                  <a:moveTo>
                    <a:pt x="4" y="0"/>
                  </a:moveTo>
                  <a:lnTo>
                    <a:pt x="4" y="0"/>
                  </a:lnTo>
                  <a:lnTo>
                    <a:pt x="2" y="3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10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5" y="12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5"/>
                  </a:lnTo>
                  <a:lnTo>
                    <a:pt x="5" y="0"/>
                  </a:lnTo>
                  <a:lnTo>
                    <a:pt x="5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2" name="Freeform 444"/>
            <p:cNvSpPr>
              <a:spLocks/>
            </p:cNvSpPr>
            <p:nvPr userDrawn="1"/>
          </p:nvSpPr>
          <p:spPr bwMode="auto">
            <a:xfrm>
              <a:off x="5413376" y="4960938"/>
              <a:ext cx="9525" cy="19050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2" y="3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2" y="10"/>
                </a:cxn>
                <a:cxn ang="0">
                  <a:pos x="3" y="12"/>
                </a:cxn>
                <a:cxn ang="0">
                  <a:pos x="3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5" y="12"/>
                </a:cxn>
                <a:cxn ang="0">
                  <a:pos x="6" y="10"/>
                </a:cxn>
                <a:cxn ang="0">
                  <a:pos x="6" y="10"/>
                </a:cxn>
                <a:cxn ang="0">
                  <a:pos x="6" y="5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4" y="0"/>
                </a:cxn>
              </a:cxnLst>
              <a:rect l="0" t="0" r="r" b="b"/>
              <a:pathLst>
                <a:path w="6" h="12">
                  <a:moveTo>
                    <a:pt x="4" y="0"/>
                  </a:moveTo>
                  <a:lnTo>
                    <a:pt x="4" y="0"/>
                  </a:lnTo>
                  <a:lnTo>
                    <a:pt x="2" y="3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10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5" y="12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5"/>
                  </a:lnTo>
                  <a:lnTo>
                    <a:pt x="5" y="0"/>
                  </a:lnTo>
                  <a:lnTo>
                    <a:pt x="5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3" name="Freeform 445"/>
            <p:cNvSpPr>
              <a:spLocks/>
            </p:cNvSpPr>
            <p:nvPr userDrawn="1"/>
          </p:nvSpPr>
          <p:spPr bwMode="auto">
            <a:xfrm>
              <a:off x="5346701" y="495141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5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6"/>
                </a:cxn>
                <a:cxn ang="0">
                  <a:pos x="6" y="5"/>
                </a:cxn>
                <a:cxn ang="0">
                  <a:pos x="6" y="5"/>
                </a:cxn>
                <a:cxn ang="0">
                  <a:pos x="5" y="2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5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6"/>
                  </a:lnTo>
                  <a:lnTo>
                    <a:pt x="6" y="5"/>
                  </a:lnTo>
                  <a:lnTo>
                    <a:pt x="6" y="5"/>
                  </a:lnTo>
                  <a:lnTo>
                    <a:pt x="5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4" name="Freeform 446"/>
            <p:cNvSpPr>
              <a:spLocks/>
            </p:cNvSpPr>
            <p:nvPr userDrawn="1"/>
          </p:nvSpPr>
          <p:spPr bwMode="auto">
            <a:xfrm>
              <a:off x="5346701" y="495141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5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6"/>
                </a:cxn>
                <a:cxn ang="0">
                  <a:pos x="6" y="5"/>
                </a:cxn>
                <a:cxn ang="0">
                  <a:pos x="6" y="5"/>
                </a:cxn>
                <a:cxn ang="0">
                  <a:pos x="5" y="2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5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6"/>
                  </a:lnTo>
                  <a:lnTo>
                    <a:pt x="6" y="5"/>
                  </a:lnTo>
                  <a:lnTo>
                    <a:pt x="6" y="5"/>
                  </a:lnTo>
                  <a:lnTo>
                    <a:pt x="5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5" name="Freeform 447"/>
            <p:cNvSpPr>
              <a:spLocks/>
            </p:cNvSpPr>
            <p:nvPr userDrawn="1"/>
          </p:nvSpPr>
          <p:spPr bwMode="auto">
            <a:xfrm>
              <a:off x="5603876" y="5284788"/>
              <a:ext cx="38100" cy="28575"/>
            </a:xfrm>
            <a:custGeom>
              <a:avLst/>
              <a:gdLst/>
              <a:ahLst/>
              <a:cxnLst>
                <a:cxn ang="0">
                  <a:pos x="13" y="0"/>
                </a:cxn>
                <a:cxn ang="0">
                  <a:pos x="13" y="0"/>
                </a:cxn>
                <a:cxn ang="0">
                  <a:pos x="9" y="0"/>
                </a:cxn>
                <a:cxn ang="0">
                  <a:pos x="9" y="0"/>
                </a:cxn>
                <a:cxn ang="0">
                  <a:pos x="5" y="2"/>
                </a:cxn>
                <a:cxn ang="0">
                  <a:pos x="2" y="4"/>
                </a:cxn>
                <a:cxn ang="0">
                  <a:pos x="0" y="8"/>
                </a:cxn>
                <a:cxn ang="0">
                  <a:pos x="2" y="11"/>
                </a:cxn>
                <a:cxn ang="0">
                  <a:pos x="2" y="11"/>
                </a:cxn>
                <a:cxn ang="0">
                  <a:pos x="5" y="17"/>
                </a:cxn>
                <a:cxn ang="0">
                  <a:pos x="13" y="18"/>
                </a:cxn>
                <a:cxn ang="0">
                  <a:pos x="13" y="18"/>
                </a:cxn>
                <a:cxn ang="0">
                  <a:pos x="15" y="18"/>
                </a:cxn>
                <a:cxn ang="0">
                  <a:pos x="15" y="18"/>
                </a:cxn>
                <a:cxn ang="0">
                  <a:pos x="20" y="17"/>
                </a:cxn>
                <a:cxn ang="0">
                  <a:pos x="22" y="13"/>
                </a:cxn>
                <a:cxn ang="0">
                  <a:pos x="24" y="9"/>
                </a:cxn>
                <a:cxn ang="0">
                  <a:pos x="22" y="6"/>
                </a:cxn>
                <a:cxn ang="0">
                  <a:pos x="22" y="6"/>
                </a:cxn>
                <a:cxn ang="0">
                  <a:pos x="20" y="2"/>
                </a:cxn>
                <a:cxn ang="0">
                  <a:pos x="13" y="0"/>
                </a:cxn>
              </a:cxnLst>
              <a:rect l="0" t="0" r="r" b="b"/>
              <a:pathLst>
                <a:path w="24" h="18">
                  <a:moveTo>
                    <a:pt x="13" y="0"/>
                  </a:moveTo>
                  <a:lnTo>
                    <a:pt x="13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5" y="2"/>
                  </a:lnTo>
                  <a:lnTo>
                    <a:pt x="2" y="4"/>
                  </a:lnTo>
                  <a:lnTo>
                    <a:pt x="0" y="8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5" y="17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20" y="17"/>
                  </a:lnTo>
                  <a:lnTo>
                    <a:pt x="22" y="13"/>
                  </a:lnTo>
                  <a:lnTo>
                    <a:pt x="24" y="9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0" y="2"/>
                  </a:lnTo>
                  <a:lnTo>
                    <a:pt x="1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6" name="Freeform 448"/>
            <p:cNvSpPr>
              <a:spLocks/>
            </p:cNvSpPr>
            <p:nvPr userDrawn="1"/>
          </p:nvSpPr>
          <p:spPr bwMode="auto">
            <a:xfrm>
              <a:off x="5603876" y="5284788"/>
              <a:ext cx="38100" cy="28575"/>
            </a:xfrm>
            <a:custGeom>
              <a:avLst/>
              <a:gdLst/>
              <a:ahLst/>
              <a:cxnLst>
                <a:cxn ang="0">
                  <a:pos x="13" y="0"/>
                </a:cxn>
                <a:cxn ang="0">
                  <a:pos x="13" y="0"/>
                </a:cxn>
                <a:cxn ang="0">
                  <a:pos x="9" y="0"/>
                </a:cxn>
                <a:cxn ang="0">
                  <a:pos x="9" y="0"/>
                </a:cxn>
                <a:cxn ang="0">
                  <a:pos x="5" y="2"/>
                </a:cxn>
                <a:cxn ang="0">
                  <a:pos x="2" y="4"/>
                </a:cxn>
                <a:cxn ang="0">
                  <a:pos x="0" y="8"/>
                </a:cxn>
                <a:cxn ang="0">
                  <a:pos x="2" y="11"/>
                </a:cxn>
                <a:cxn ang="0">
                  <a:pos x="2" y="11"/>
                </a:cxn>
                <a:cxn ang="0">
                  <a:pos x="5" y="17"/>
                </a:cxn>
                <a:cxn ang="0">
                  <a:pos x="13" y="18"/>
                </a:cxn>
                <a:cxn ang="0">
                  <a:pos x="13" y="18"/>
                </a:cxn>
                <a:cxn ang="0">
                  <a:pos x="15" y="18"/>
                </a:cxn>
                <a:cxn ang="0">
                  <a:pos x="15" y="18"/>
                </a:cxn>
                <a:cxn ang="0">
                  <a:pos x="20" y="17"/>
                </a:cxn>
                <a:cxn ang="0">
                  <a:pos x="22" y="13"/>
                </a:cxn>
                <a:cxn ang="0">
                  <a:pos x="24" y="9"/>
                </a:cxn>
                <a:cxn ang="0">
                  <a:pos x="22" y="6"/>
                </a:cxn>
                <a:cxn ang="0">
                  <a:pos x="22" y="6"/>
                </a:cxn>
                <a:cxn ang="0">
                  <a:pos x="20" y="2"/>
                </a:cxn>
                <a:cxn ang="0">
                  <a:pos x="13" y="0"/>
                </a:cxn>
              </a:cxnLst>
              <a:rect l="0" t="0" r="r" b="b"/>
              <a:pathLst>
                <a:path w="24" h="18">
                  <a:moveTo>
                    <a:pt x="13" y="0"/>
                  </a:moveTo>
                  <a:lnTo>
                    <a:pt x="13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5" y="2"/>
                  </a:lnTo>
                  <a:lnTo>
                    <a:pt x="2" y="4"/>
                  </a:lnTo>
                  <a:lnTo>
                    <a:pt x="0" y="8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5" y="17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20" y="17"/>
                  </a:lnTo>
                  <a:lnTo>
                    <a:pt x="22" y="13"/>
                  </a:lnTo>
                  <a:lnTo>
                    <a:pt x="24" y="9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0" y="2"/>
                  </a:lnTo>
                  <a:lnTo>
                    <a:pt x="1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7" name="Freeform 449"/>
            <p:cNvSpPr>
              <a:spLocks/>
            </p:cNvSpPr>
            <p:nvPr userDrawn="1"/>
          </p:nvSpPr>
          <p:spPr bwMode="auto">
            <a:xfrm>
              <a:off x="5613401" y="5341938"/>
              <a:ext cx="28575" cy="28575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0" y="8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2" y="16"/>
                </a:cxn>
                <a:cxn ang="0">
                  <a:pos x="8" y="18"/>
                </a:cxn>
                <a:cxn ang="0">
                  <a:pos x="8" y="18"/>
                </a:cxn>
                <a:cxn ang="0">
                  <a:pos x="10" y="18"/>
                </a:cxn>
                <a:cxn ang="0">
                  <a:pos x="10" y="18"/>
                </a:cxn>
                <a:cxn ang="0">
                  <a:pos x="14" y="16"/>
                </a:cxn>
                <a:cxn ang="0">
                  <a:pos x="16" y="14"/>
                </a:cxn>
                <a:cxn ang="0">
                  <a:pos x="18" y="10"/>
                </a:cxn>
                <a:cxn ang="0">
                  <a:pos x="18" y="6"/>
                </a:cxn>
                <a:cxn ang="0">
                  <a:pos x="18" y="6"/>
                </a:cxn>
                <a:cxn ang="0">
                  <a:pos x="14" y="2"/>
                </a:cxn>
                <a:cxn ang="0">
                  <a:pos x="8" y="0"/>
                </a:cxn>
              </a:cxnLst>
              <a:rect l="0" t="0" r="r" b="b"/>
              <a:pathLst>
                <a:path w="18" h="18">
                  <a:moveTo>
                    <a:pt x="8" y="0"/>
                  </a:moveTo>
                  <a:lnTo>
                    <a:pt x="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8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2" y="16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4" y="16"/>
                  </a:lnTo>
                  <a:lnTo>
                    <a:pt x="16" y="14"/>
                  </a:lnTo>
                  <a:lnTo>
                    <a:pt x="18" y="10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4" y="2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8" name="Freeform 450"/>
            <p:cNvSpPr>
              <a:spLocks/>
            </p:cNvSpPr>
            <p:nvPr userDrawn="1"/>
          </p:nvSpPr>
          <p:spPr bwMode="auto">
            <a:xfrm>
              <a:off x="5613401" y="5341938"/>
              <a:ext cx="28575" cy="28575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0" y="8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2" y="16"/>
                </a:cxn>
                <a:cxn ang="0">
                  <a:pos x="8" y="18"/>
                </a:cxn>
                <a:cxn ang="0">
                  <a:pos x="8" y="18"/>
                </a:cxn>
                <a:cxn ang="0">
                  <a:pos x="10" y="18"/>
                </a:cxn>
                <a:cxn ang="0">
                  <a:pos x="10" y="18"/>
                </a:cxn>
                <a:cxn ang="0">
                  <a:pos x="14" y="16"/>
                </a:cxn>
                <a:cxn ang="0">
                  <a:pos x="16" y="14"/>
                </a:cxn>
                <a:cxn ang="0">
                  <a:pos x="18" y="10"/>
                </a:cxn>
                <a:cxn ang="0">
                  <a:pos x="18" y="6"/>
                </a:cxn>
                <a:cxn ang="0">
                  <a:pos x="18" y="6"/>
                </a:cxn>
                <a:cxn ang="0">
                  <a:pos x="14" y="2"/>
                </a:cxn>
                <a:cxn ang="0">
                  <a:pos x="8" y="0"/>
                </a:cxn>
              </a:cxnLst>
              <a:rect l="0" t="0" r="r" b="b"/>
              <a:pathLst>
                <a:path w="18" h="18">
                  <a:moveTo>
                    <a:pt x="8" y="0"/>
                  </a:moveTo>
                  <a:lnTo>
                    <a:pt x="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8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2" y="16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4" y="16"/>
                  </a:lnTo>
                  <a:lnTo>
                    <a:pt x="16" y="14"/>
                  </a:lnTo>
                  <a:lnTo>
                    <a:pt x="18" y="10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4" y="2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9" name="Freeform 451"/>
            <p:cNvSpPr>
              <a:spLocks/>
            </p:cNvSpPr>
            <p:nvPr userDrawn="1"/>
          </p:nvSpPr>
          <p:spPr bwMode="auto">
            <a:xfrm>
              <a:off x="5603876" y="5399088"/>
              <a:ext cx="28575" cy="28575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10" y="0"/>
                </a:cxn>
                <a:cxn ang="0">
                  <a:pos x="6" y="2"/>
                </a:cxn>
                <a:cxn ang="0">
                  <a:pos x="6" y="2"/>
                </a:cxn>
                <a:cxn ang="0">
                  <a:pos x="4" y="2"/>
                </a:cxn>
                <a:cxn ang="0">
                  <a:pos x="2" y="4"/>
                </a:cxn>
                <a:cxn ang="0">
                  <a:pos x="0" y="8"/>
                </a:cxn>
                <a:cxn ang="0">
                  <a:pos x="2" y="12"/>
                </a:cxn>
                <a:cxn ang="0">
                  <a:pos x="2" y="12"/>
                </a:cxn>
                <a:cxn ang="0">
                  <a:pos x="4" y="16"/>
                </a:cxn>
                <a:cxn ang="0">
                  <a:pos x="10" y="18"/>
                </a:cxn>
                <a:cxn ang="0">
                  <a:pos x="10" y="18"/>
                </a:cxn>
                <a:cxn ang="0">
                  <a:pos x="12" y="18"/>
                </a:cxn>
                <a:cxn ang="0">
                  <a:pos x="12" y="18"/>
                </a:cxn>
                <a:cxn ang="0">
                  <a:pos x="14" y="16"/>
                </a:cxn>
                <a:cxn ang="0">
                  <a:pos x="16" y="14"/>
                </a:cxn>
                <a:cxn ang="0">
                  <a:pos x="18" y="10"/>
                </a:cxn>
                <a:cxn ang="0">
                  <a:pos x="16" y="6"/>
                </a:cxn>
                <a:cxn ang="0">
                  <a:pos x="16" y="6"/>
                </a:cxn>
                <a:cxn ang="0">
                  <a:pos x="14" y="2"/>
                </a:cxn>
                <a:cxn ang="0">
                  <a:pos x="10" y="0"/>
                </a:cxn>
              </a:cxnLst>
              <a:rect l="0" t="0" r="r" b="b"/>
              <a:pathLst>
                <a:path w="18" h="18">
                  <a:moveTo>
                    <a:pt x="10" y="0"/>
                  </a:moveTo>
                  <a:lnTo>
                    <a:pt x="10" y="0"/>
                  </a:lnTo>
                  <a:lnTo>
                    <a:pt x="6" y="2"/>
                  </a:lnTo>
                  <a:lnTo>
                    <a:pt x="6" y="2"/>
                  </a:lnTo>
                  <a:lnTo>
                    <a:pt x="4" y="2"/>
                  </a:lnTo>
                  <a:lnTo>
                    <a:pt x="2" y="4"/>
                  </a:lnTo>
                  <a:lnTo>
                    <a:pt x="0" y="8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4" y="16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4" y="16"/>
                  </a:lnTo>
                  <a:lnTo>
                    <a:pt x="16" y="14"/>
                  </a:lnTo>
                  <a:lnTo>
                    <a:pt x="18" y="10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4" y="2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0" name="Freeform 452"/>
            <p:cNvSpPr>
              <a:spLocks/>
            </p:cNvSpPr>
            <p:nvPr userDrawn="1"/>
          </p:nvSpPr>
          <p:spPr bwMode="auto">
            <a:xfrm>
              <a:off x="5603876" y="5399088"/>
              <a:ext cx="28575" cy="28575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10" y="0"/>
                </a:cxn>
                <a:cxn ang="0">
                  <a:pos x="6" y="2"/>
                </a:cxn>
                <a:cxn ang="0">
                  <a:pos x="6" y="2"/>
                </a:cxn>
                <a:cxn ang="0">
                  <a:pos x="4" y="2"/>
                </a:cxn>
                <a:cxn ang="0">
                  <a:pos x="2" y="4"/>
                </a:cxn>
                <a:cxn ang="0">
                  <a:pos x="0" y="8"/>
                </a:cxn>
                <a:cxn ang="0">
                  <a:pos x="2" y="12"/>
                </a:cxn>
                <a:cxn ang="0">
                  <a:pos x="2" y="12"/>
                </a:cxn>
                <a:cxn ang="0">
                  <a:pos x="4" y="16"/>
                </a:cxn>
                <a:cxn ang="0">
                  <a:pos x="10" y="18"/>
                </a:cxn>
                <a:cxn ang="0">
                  <a:pos x="10" y="18"/>
                </a:cxn>
                <a:cxn ang="0">
                  <a:pos x="12" y="18"/>
                </a:cxn>
                <a:cxn ang="0">
                  <a:pos x="12" y="18"/>
                </a:cxn>
                <a:cxn ang="0">
                  <a:pos x="14" y="16"/>
                </a:cxn>
                <a:cxn ang="0">
                  <a:pos x="16" y="14"/>
                </a:cxn>
                <a:cxn ang="0">
                  <a:pos x="18" y="10"/>
                </a:cxn>
                <a:cxn ang="0">
                  <a:pos x="16" y="6"/>
                </a:cxn>
                <a:cxn ang="0">
                  <a:pos x="16" y="6"/>
                </a:cxn>
                <a:cxn ang="0">
                  <a:pos x="14" y="2"/>
                </a:cxn>
                <a:cxn ang="0">
                  <a:pos x="10" y="0"/>
                </a:cxn>
              </a:cxnLst>
              <a:rect l="0" t="0" r="r" b="b"/>
              <a:pathLst>
                <a:path w="18" h="18">
                  <a:moveTo>
                    <a:pt x="10" y="0"/>
                  </a:moveTo>
                  <a:lnTo>
                    <a:pt x="10" y="0"/>
                  </a:lnTo>
                  <a:lnTo>
                    <a:pt x="6" y="2"/>
                  </a:lnTo>
                  <a:lnTo>
                    <a:pt x="6" y="2"/>
                  </a:lnTo>
                  <a:lnTo>
                    <a:pt x="4" y="2"/>
                  </a:lnTo>
                  <a:lnTo>
                    <a:pt x="2" y="4"/>
                  </a:lnTo>
                  <a:lnTo>
                    <a:pt x="0" y="8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4" y="16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4" y="16"/>
                  </a:lnTo>
                  <a:lnTo>
                    <a:pt x="16" y="14"/>
                  </a:lnTo>
                  <a:lnTo>
                    <a:pt x="18" y="10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4" y="2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1" name="Freeform 453"/>
            <p:cNvSpPr>
              <a:spLocks/>
            </p:cNvSpPr>
            <p:nvPr userDrawn="1"/>
          </p:nvSpPr>
          <p:spPr bwMode="auto">
            <a:xfrm>
              <a:off x="5594351" y="5465763"/>
              <a:ext cx="19050" cy="19050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7" y="0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0" y="3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2" y="11"/>
                </a:cxn>
                <a:cxn ang="0">
                  <a:pos x="7" y="12"/>
                </a:cxn>
                <a:cxn ang="0">
                  <a:pos x="7" y="12"/>
                </a:cxn>
                <a:cxn ang="0">
                  <a:pos x="9" y="12"/>
                </a:cxn>
                <a:cxn ang="0">
                  <a:pos x="9" y="12"/>
                </a:cxn>
                <a:cxn ang="0">
                  <a:pos x="12" y="9"/>
                </a:cxn>
                <a:cxn ang="0">
                  <a:pos x="12" y="5"/>
                </a:cxn>
                <a:cxn ang="0">
                  <a:pos x="12" y="5"/>
                </a:cxn>
                <a:cxn ang="0">
                  <a:pos x="11" y="2"/>
                </a:cxn>
                <a:cxn ang="0">
                  <a:pos x="7" y="0"/>
                </a:cxn>
              </a:cxnLst>
              <a:rect l="0" t="0" r="r" b="b"/>
              <a:pathLst>
                <a:path w="12" h="12">
                  <a:moveTo>
                    <a:pt x="7" y="0"/>
                  </a:moveTo>
                  <a:lnTo>
                    <a:pt x="7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0" y="3"/>
                  </a:lnTo>
                  <a:lnTo>
                    <a:pt x="0" y="8"/>
                  </a:lnTo>
                  <a:lnTo>
                    <a:pt x="0" y="8"/>
                  </a:lnTo>
                  <a:lnTo>
                    <a:pt x="2" y="11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12" y="9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11" y="2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2" name="Freeform 454"/>
            <p:cNvSpPr>
              <a:spLocks/>
            </p:cNvSpPr>
            <p:nvPr userDrawn="1"/>
          </p:nvSpPr>
          <p:spPr bwMode="auto">
            <a:xfrm>
              <a:off x="5594351" y="5465763"/>
              <a:ext cx="19050" cy="19050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7" y="0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0" y="3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2" y="11"/>
                </a:cxn>
                <a:cxn ang="0">
                  <a:pos x="7" y="12"/>
                </a:cxn>
                <a:cxn ang="0">
                  <a:pos x="7" y="12"/>
                </a:cxn>
                <a:cxn ang="0">
                  <a:pos x="9" y="12"/>
                </a:cxn>
                <a:cxn ang="0">
                  <a:pos x="9" y="12"/>
                </a:cxn>
                <a:cxn ang="0">
                  <a:pos x="12" y="9"/>
                </a:cxn>
                <a:cxn ang="0">
                  <a:pos x="12" y="5"/>
                </a:cxn>
                <a:cxn ang="0">
                  <a:pos x="12" y="5"/>
                </a:cxn>
                <a:cxn ang="0">
                  <a:pos x="11" y="2"/>
                </a:cxn>
                <a:cxn ang="0">
                  <a:pos x="7" y="0"/>
                </a:cxn>
              </a:cxnLst>
              <a:rect l="0" t="0" r="r" b="b"/>
              <a:pathLst>
                <a:path w="12" h="12">
                  <a:moveTo>
                    <a:pt x="7" y="0"/>
                  </a:moveTo>
                  <a:lnTo>
                    <a:pt x="7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0" y="3"/>
                  </a:lnTo>
                  <a:lnTo>
                    <a:pt x="0" y="8"/>
                  </a:lnTo>
                  <a:lnTo>
                    <a:pt x="0" y="8"/>
                  </a:lnTo>
                  <a:lnTo>
                    <a:pt x="2" y="11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12" y="9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11" y="2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3" name="Freeform 455"/>
            <p:cNvSpPr>
              <a:spLocks/>
            </p:cNvSpPr>
            <p:nvPr userDrawn="1"/>
          </p:nvSpPr>
          <p:spPr bwMode="auto">
            <a:xfrm>
              <a:off x="5565776" y="5522913"/>
              <a:ext cx="28575" cy="19050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11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3" y="4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5" y="11"/>
                </a:cxn>
                <a:cxn ang="0">
                  <a:pos x="11" y="12"/>
                </a:cxn>
                <a:cxn ang="0">
                  <a:pos x="11" y="12"/>
                </a:cxn>
                <a:cxn ang="0">
                  <a:pos x="11" y="11"/>
                </a:cxn>
                <a:cxn ang="0">
                  <a:pos x="11" y="11"/>
                </a:cxn>
                <a:cxn ang="0">
                  <a:pos x="16" y="9"/>
                </a:cxn>
                <a:cxn ang="0">
                  <a:pos x="18" y="4"/>
                </a:cxn>
                <a:cxn ang="0">
                  <a:pos x="18" y="4"/>
                </a:cxn>
                <a:cxn ang="0">
                  <a:pos x="16" y="2"/>
                </a:cxn>
                <a:cxn ang="0">
                  <a:pos x="11" y="0"/>
                </a:cxn>
              </a:cxnLst>
              <a:rect l="0" t="0" r="r" b="b"/>
              <a:pathLst>
                <a:path w="18" h="12">
                  <a:moveTo>
                    <a:pt x="11" y="0"/>
                  </a:moveTo>
                  <a:lnTo>
                    <a:pt x="11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3" y="4"/>
                  </a:lnTo>
                  <a:lnTo>
                    <a:pt x="0" y="7"/>
                  </a:lnTo>
                  <a:lnTo>
                    <a:pt x="0" y="7"/>
                  </a:lnTo>
                  <a:lnTo>
                    <a:pt x="5" y="11"/>
                  </a:lnTo>
                  <a:lnTo>
                    <a:pt x="11" y="12"/>
                  </a:lnTo>
                  <a:lnTo>
                    <a:pt x="11" y="12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6" y="9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6" y="2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4" name="Freeform 456"/>
            <p:cNvSpPr>
              <a:spLocks/>
            </p:cNvSpPr>
            <p:nvPr userDrawn="1"/>
          </p:nvSpPr>
          <p:spPr bwMode="auto">
            <a:xfrm>
              <a:off x="5565776" y="5522913"/>
              <a:ext cx="28575" cy="19050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11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3" y="4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5" y="11"/>
                </a:cxn>
                <a:cxn ang="0">
                  <a:pos x="11" y="12"/>
                </a:cxn>
                <a:cxn ang="0">
                  <a:pos x="11" y="12"/>
                </a:cxn>
                <a:cxn ang="0">
                  <a:pos x="11" y="11"/>
                </a:cxn>
                <a:cxn ang="0">
                  <a:pos x="11" y="11"/>
                </a:cxn>
                <a:cxn ang="0">
                  <a:pos x="16" y="9"/>
                </a:cxn>
                <a:cxn ang="0">
                  <a:pos x="18" y="4"/>
                </a:cxn>
                <a:cxn ang="0">
                  <a:pos x="18" y="4"/>
                </a:cxn>
                <a:cxn ang="0">
                  <a:pos x="16" y="2"/>
                </a:cxn>
                <a:cxn ang="0">
                  <a:pos x="11" y="0"/>
                </a:cxn>
              </a:cxnLst>
              <a:rect l="0" t="0" r="r" b="b"/>
              <a:pathLst>
                <a:path w="18" h="12">
                  <a:moveTo>
                    <a:pt x="11" y="0"/>
                  </a:moveTo>
                  <a:lnTo>
                    <a:pt x="11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3" y="4"/>
                  </a:lnTo>
                  <a:lnTo>
                    <a:pt x="0" y="7"/>
                  </a:lnTo>
                  <a:lnTo>
                    <a:pt x="0" y="7"/>
                  </a:lnTo>
                  <a:lnTo>
                    <a:pt x="5" y="11"/>
                  </a:lnTo>
                  <a:lnTo>
                    <a:pt x="11" y="12"/>
                  </a:lnTo>
                  <a:lnTo>
                    <a:pt x="11" y="12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6" y="9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6" y="2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5" name="Freeform 457"/>
            <p:cNvSpPr>
              <a:spLocks/>
            </p:cNvSpPr>
            <p:nvPr userDrawn="1"/>
          </p:nvSpPr>
          <p:spPr bwMode="auto">
            <a:xfrm>
              <a:off x="5537201" y="557053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0" y="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2" y="10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8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8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0" y="2"/>
                  </a:lnTo>
                  <a:lnTo>
                    <a:pt x="0" y="8"/>
                  </a:lnTo>
                  <a:lnTo>
                    <a:pt x="0" y="8"/>
                  </a:lnTo>
                  <a:lnTo>
                    <a:pt x="2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6" name="Freeform 458"/>
            <p:cNvSpPr>
              <a:spLocks/>
            </p:cNvSpPr>
            <p:nvPr userDrawn="1"/>
          </p:nvSpPr>
          <p:spPr bwMode="auto">
            <a:xfrm>
              <a:off x="5537201" y="557053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0" y="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2" y="10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8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8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0" y="2"/>
                  </a:lnTo>
                  <a:lnTo>
                    <a:pt x="0" y="8"/>
                  </a:lnTo>
                  <a:lnTo>
                    <a:pt x="0" y="8"/>
                  </a:lnTo>
                  <a:lnTo>
                    <a:pt x="2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7" name="Freeform 459"/>
            <p:cNvSpPr>
              <a:spLocks/>
            </p:cNvSpPr>
            <p:nvPr userDrawn="1"/>
          </p:nvSpPr>
          <p:spPr bwMode="auto">
            <a:xfrm>
              <a:off x="5499101" y="561816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2" y="5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4" y="6"/>
                </a:cxn>
                <a:cxn ang="0">
                  <a:pos x="4" y="6"/>
                </a:cxn>
                <a:cxn ang="0">
                  <a:pos x="6" y="5"/>
                </a:cxn>
                <a:cxn ang="0">
                  <a:pos x="6" y="3"/>
                </a:cxn>
                <a:cxn ang="0">
                  <a:pos x="6" y="3"/>
                </a:cxn>
                <a:cxn ang="0">
                  <a:pos x="5" y="0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5"/>
                  </a:lnTo>
                  <a:lnTo>
                    <a:pt x="3" y="6"/>
                  </a:lnTo>
                  <a:lnTo>
                    <a:pt x="3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6" y="5"/>
                  </a:lnTo>
                  <a:lnTo>
                    <a:pt x="6" y="3"/>
                  </a:lnTo>
                  <a:lnTo>
                    <a:pt x="6" y="3"/>
                  </a:lnTo>
                  <a:lnTo>
                    <a:pt x="5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8" name="Freeform 460"/>
            <p:cNvSpPr>
              <a:spLocks/>
            </p:cNvSpPr>
            <p:nvPr userDrawn="1"/>
          </p:nvSpPr>
          <p:spPr bwMode="auto">
            <a:xfrm>
              <a:off x="5499101" y="561816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2" y="5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4" y="6"/>
                </a:cxn>
                <a:cxn ang="0">
                  <a:pos x="4" y="6"/>
                </a:cxn>
                <a:cxn ang="0">
                  <a:pos x="6" y="5"/>
                </a:cxn>
                <a:cxn ang="0">
                  <a:pos x="6" y="3"/>
                </a:cxn>
                <a:cxn ang="0">
                  <a:pos x="6" y="3"/>
                </a:cxn>
                <a:cxn ang="0">
                  <a:pos x="5" y="0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5"/>
                  </a:lnTo>
                  <a:lnTo>
                    <a:pt x="3" y="6"/>
                  </a:lnTo>
                  <a:lnTo>
                    <a:pt x="3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6" y="5"/>
                  </a:lnTo>
                  <a:lnTo>
                    <a:pt x="6" y="3"/>
                  </a:lnTo>
                  <a:lnTo>
                    <a:pt x="6" y="3"/>
                  </a:lnTo>
                  <a:lnTo>
                    <a:pt x="5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9" name="Freeform 461"/>
            <p:cNvSpPr>
              <a:spLocks/>
            </p:cNvSpPr>
            <p:nvPr userDrawn="1"/>
          </p:nvSpPr>
          <p:spPr bwMode="auto">
            <a:xfrm>
              <a:off x="5441951" y="5646738"/>
              <a:ext cx="19050" cy="19050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0" y="3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3" y="10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10"/>
                </a:cxn>
                <a:cxn ang="0">
                  <a:pos x="8" y="10"/>
                </a:cxn>
                <a:cxn ang="0">
                  <a:pos x="12" y="8"/>
                </a:cxn>
                <a:cxn ang="0">
                  <a:pos x="12" y="5"/>
                </a:cxn>
                <a:cxn ang="0">
                  <a:pos x="12" y="5"/>
                </a:cxn>
                <a:cxn ang="0">
                  <a:pos x="10" y="0"/>
                </a:cxn>
                <a:cxn ang="0">
                  <a:pos x="8" y="0"/>
                </a:cxn>
              </a:cxnLst>
              <a:rect l="0" t="0" r="r" b="b"/>
              <a:pathLst>
                <a:path w="12" h="12">
                  <a:moveTo>
                    <a:pt x="8" y="0"/>
                  </a:moveTo>
                  <a:lnTo>
                    <a:pt x="8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0" y="3"/>
                  </a:lnTo>
                  <a:lnTo>
                    <a:pt x="0" y="8"/>
                  </a:lnTo>
                  <a:lnTo>
                    <a:pt x="0" y="8"/>
                  </a:lnTo>
                  <a:lnTo>
                    <a:pt x="3" y="10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12" y="8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10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0" name="Freeform 462"/>
            <p:cNvSpPr>
              <a:spLocks/>
            </p:cNvSpPr>
            <p:nvPr userDrawn="1"/>
          </p:nvSpPr>
          <p:spPr bwMode="auto">
            <a:xfrm>
              <a:off x="5441951" y="5646738"/>
              <a:ext cx="19050" cy="19050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0" y="3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3" y="10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10"/>
                </a:cxn>
                <a:cxn ang="0">
                  <a:pos x="8" y="10"/>
                </a:cxn>
                <a:cxn ang="0">
                  <a:pos x="12" y="8"/>
                </a:cxn>
                <a:cxn ang="0">
                  <a:pos x="12" y="5"/>
                </a:cxn>
                <a:cxn ang="0">
                  <a:pos x="12" y="5"/>
                </a:cxn>
                <a:cxn ang="0">
                  <a:pos x="10" y="0"/>
                </a:cxn>
                <a:cxn ang="0">
                  <a:pos x="8" y="0"/>
                </a:cxn>
              </a:cxnLst>
              <a:rect l="0" t="0" r="r" b="b"/>
              <a:pathLst>
                <a:path w="12" h="12">
                  <a:moveTo>
                    <a:pt x="8" y="0"/>
                  </a:moveTo>
                  <a:lnTo>
                    <a:pt x="8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0" y="3"/>
                  </a:lnTo>
                  <a:lnTo>
                    <a:pt x="0" y="8"/>
                  </a:lnTo>
                  <a:lnTo>
                    <a:pt x="0" y="8"/>
                  </a:lnTo>
                  <a:lnTo>
                    <a:pt x="3" y="10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12" y="8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10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1" name="Freeform 463"/>
            <p:cNvSpPr>
              <a:spLocks/>
            </p:cNvSpPr>
            <p:nvPr userDrawn="1"/>
          </p:nvSpPr>
          <p:spPr bwMode="auto">
            <a:xfrm>
              <a:off x="5394326" y="567531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0" y="2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2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6"/>
                </a:cxn>
                <a:cxn ang="0">
                  <a:pos x="5" y="6"/>
                </a:cxn>
                <a:cxn ang="0">
                  <a:pos x="6" y="5"/>
                </a:cxn>
                <a:cxn ang="0">
                  <a:pos x="6" y="3"/>
                </a:cxn>
                <a:cxn ang="0">
                  <a:pos x="6" y="3"/>
                </a:cxn>
                <a:cxn ang="0">
                  <a:pos x="6" y="0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6"/>
                  </a:lnTo>
                  <a:lnTo>
                    <a:pt x="5" y="6"/>
                  </a:lnTo>
                  <a:lnTo>
                    <a:pt x="6" y="5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2" name="Freeform 464"/>
            <p:cNvSpPr>
              <a:spLocks/>
            </p:cNvSpPr>
            <p:nvPr userDrawn="1"/>
          </p:nvSpPr>
          <p:spPr bwMode="auto">
            <a:xfrm>
              <a:off x="5394326" y="567531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0" y="2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2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6"/>
                </a:cxn>
                <a:cxn ang="0">
                  <a:pos x="5" y="6"/>
                </a:cxn>
                <a:cxn ang="0">
                  <a:pos x="6" y="5"/>
                </a:cxn>
                <a:cxn ang="0">
                  <a:pos x="6" y="3"/>
                </a:cxn>
                <a:cxn ang="0">
                  <a:pos x="6" y="3"/>
                </a:cxn>
                <a:cxn ang="0">
                  <a:pos x="6" y="0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6"/>
                  </a:lnTo>
                  <a:lnTo>
                    <a:pt x="5" y="6"/>
                  </a:lnTo>
                  <a:lnTo>
                    <a:pt x="6" y="5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3" name="Freeform 465"/>
            <p:cNvSpPr>
              <a:spLocks/>
            </p:cNvSpPr>
            <p:nvPr userDrawn="1"/>
          </p:nvSpPr>
          <p:spPr bwMode="auto">
            <a:xfrm>
              <a:off x="5337176" y="569436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2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6" y="5"/>
                </a:cxn>
                <a:cxn ang="0">
                  <a:pos x="6" y="3"/>
                </a:cxn>
                <a:cxn ang="0">
                  <a:pos x="6" y="3"/>
                </a:cxn>
                <a:cxn ang="0">
                  <a:pos x="5" y="2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6" y="5"/>
                  </a:lnTo>
                  <a:lnTo>
                    <a:pt x="6" y="3"/>
                  </a:lnTo>
                  <a:lnTo>
                    <a:pt x="6" y="3"/>
                  </a:lnTo>
                  <a:lnTo>
                    <a:pt x="5" y="2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4" name="Freeform 466"/>
            <p:cNvSpPr>
              <a:spLocks/>
            </p:cNvSpPr>
            <p:nvPr userDrawn="1"/>
          </p:nvSpPr>
          <p:spPr bwMode="auto">
            <a:xfrm>
              <a:off x="5337176" y="569436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2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6" y="5"/>
                </a:cxn>
                <a:cxn ang="0">
                  <a:pos x="6" y="3"/>
                </a:cxn>
                <a:cxn ang="0">
                  <a:pos x="6" y="3"/>
                </a:cxn>
                <a:cxn ang="0">
                  <a:pos x="5" y="2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6" y="5"/>
                  </a:lnTo>
                  <a:lnTo>
                    <a:pt x="6" y="3"/>
                  </a:lnTo>
                  <a:lnTo>
                    <a:pt x="6" y="3"/>
                  </a:lnTo>
                  <a:lnTo>
                    <a:pt x="5" y="2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5" name="Freeform 467"/>
            <p:cNvSpPr>
              <a:spLocks/>
            </p:cNvSpPr>
            <p:nvPr userDrawn="1"/>
          </p:nvSpPr>
          <p:spPr bwMode="auto">
            <a:xfrm>
              <a:off x="5594351" y="5218113"/>
              <a:ext cx="28575" cy="38100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2" y="3"/>
                </a:cxn>
                <a:cxn ang="0">
                  <a:pos x="0" y="8"/>
                </a:cxn>
                <a:cxn ang="0">
                  <a:pos x="0" y="12"/>
                </a:cxn>
                <a:cxn ang="0">
                  <a:pos x="0" y="17"/>
                </a:cxn>
                <a:cxn ang="0">
                  <a:pos x="0" y="17"/>
                </a:cxn>
                <a:cxn ang="0">
                  <a:pos x="4" y="22"/>
                </a:cxn>
                <a:cxn ang="0">
                  <a:pos x="9" y="24"/>
                </a:cxn>
                <a:cxn ang="0">
                  <a:pos x="9" y="24"/>
                </a:cxn>
                <a:cxn ang="0">
                  <a:pos x="11" y="24"/>
                </a:cxn>
                <a:cxn ang="0">
                  <a:pos x="11" y="24"/>
                </a:cxn>
                <a:cxn ang="0">
                  <a:pos x="15" y="22"/>
                </a:cxn>
                <a:cxn ang="0">
                  <a:pos x="17" y="20"/>
                </a:cxn>
                <a:cxn ang="0">
                  <a:pos x="18" y="15"/>
                </a:cxn>
                <a:cxn ang="0">
                  <a:pos x="18" y="10"/>
                </a:cxn>
                <a:cxn ang="0">
                  <a:pos x="18" y="10"/>
                </a:cxn>
                <a:cxn ang="0">
                  <a:pos x="15" y="3"/>
                </a:cxn>
                <a:cxn ang="0">
                  <a:pos x="9" y="0"/>
                </a:cxn>
              </a:cxnLst>
              <a:rect l="0" t="0" r="r" b="b"/>
              <a:pathLst>
                <a:path w="18" h="24">
                  <a:moveTo>
                    <a:pt x="9" y="0"/>
                  </a:moveTo>
                  <a:lnTo>
                    <a:pt x="9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3"/>
                  </a:lnTo>
                  <a:lnTo>
                    <a:pt x="0" y="8"/>
                  </a:lnTo>
                  <a:lnTo>
                    <a:pt x="0" y="12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4" y="22"/>
                  </a:lnTo>
                  <a:lnTo>
                    <a:pt x="9" y="24"/>
                  </a:lnTo>
                  <a:lnTo>
                    <a:pt x="9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5" y="22"/>
                  </a:lnTo>
                  <a:lnTo>
                    <a:pt x="17" y="20"/>
                  </a:lnTo>
                  <a:lnTo>
                    <a:pt x="18" y="15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5" y="3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6" name="Freeform 468"/>
            <p:cNvSpPr>
              <a:spLocks/>
            </p:cNvSpPr>
            <p:nvPr userDrawn="1"/>
          </p:nvSpPr>
          <p:spPr bwMode="auto">
            <a:xfrm>
              <a:off x="5594351" y="5218113"/>
              <a:ext cx="28575" cy="38100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2" y="3"/>
                </a:cxn>
                <a:cxn ang="0">
                  <a:pos x="0" y="8"/>
                </a:cxn>
                <a:cxn ang="0">
                  <a:pos x="0" y="12"/>
                </a:cxn>
                <a:cxn ang="0">
                  <a:pos x="0" y="17"/>
                </a:cxn>
                <a:cxn ang="0">
                  <a:pos x="0" y="17"/>
                </a:cxn>
                <a:cxn ang="0">
                  <a:pos x="4" y="22"/>
                </a:cxn>
                <a:cxn ang="0">
                  <a:pos x="9" y="24"/>
                </a:cxn>
                <a:cxn ang="0">
                  <a:pos x="9" y="24"/>
                </a:cxn>
                <a:cxn ang="0">
                  <a:pos x="11" y="24"/>
                </a:cxn>
                <a:cxn ang="0">
                  <a:pos x="11" y="24"/>
                </a:cxn>
                <a:cxn ang="0">
                  <a:pos x="15" y="22"/>
                </a:cxn>
                <a:cxn ang="0">
                  <a:pos x="17" y="20"/>
                </a:cxn>
                <a:cxn ang="0">
                  <a:pos x="18" y="15"/>
                </a:cxn>
                <a:cxn ang="0">
                  <a:pos x="18" y="10"/>
                </a:cxn>
                <a:cxn ang="0">
                  <a:pos x="18" y="10"/>
                </a:cxn>
                <a:cxn ang="0">
                  <a:pos x="15" y="3"/>
                </a:cxn>
                <a:cxn ang="0">
                  <a:pos x="9" y="0"/>
                </a:cxn>
              </a:cxnLst>
              <a:rect l="0" t="0" r="r" b="b"/>
              <a:pathLst>
                <a:path w="18" h="24">
                  <a:moveTo>
                    <a:pt x="9" y="0"/>
                  </a:moveTo>
                  <a:lnTo>
                    <a:pt x="9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3"/>
                  </a:lnTo>
                  <a:lnTo>
                    <a:pt x="0" y="8"/>
                  </a:lnTo>
                  <a:lnTo>
                    <a:pt x="0" y="12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4" y="22"/>
                  </a:lnTo>
                  <a:lnTo>
                    <a:pt x="9" y="24"/>
                  </a:lnTo>
                  <a:lnTo>
                    <a:pt x="9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5" y="22"/>
                  </a:lnTo>
                  <a:lnTo>
                    <a:pt x="17" y="20"/>
                  </a:lnTo>
                  <a:lnTo>
                    <a:pt x="18" y="15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5" y="3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7" name="Freeform 469"/>
            <p:cNvSpPr>
              <a:spLocks/>
            </p:cNvSpPr>
            <p:nvPr userDrawn="1"/>
          </p:nvSpPr>
          <p:spPr bwMode="auto">
            <a:xfrm>
              <a:off x="5565776" y="5170488"/>
              <a:ext cx="28575" cy="28575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10" y="0"/>
                </a:cxn>
                <a:cxn ang="0">
                  <a:pos x="6" y="2"/>
                </a:cxn>
                <a:cxn ang="0">
                  <a:pos x="6" y="2"/>
                </a:cxn>
                <a:cxn ang="0">
                  <a:pos x="4" y="2"/>
                </a:cxn>
                <a:cxn ang="0">
                  <a:pos x="2" y="6"/>
                </a:cxn>
                <a:cxn ang="0">
                  <a:pos x="0" y="8"/>
                </a:cxn>
                <a:cxn ang="0">
                  <a:pos x="0" y="11"/>
                </a:cxn>
                <a:cxn ang="0">
                  <a:pos x="0" y="11"/>
                </a:cxn>
                <a:cxn ang="0">
                  <a:pos x="4" y="17"/>
                </a:cxn>
                <a:cxn ang="0">
                  <a:pos x="10" y="18"/>
                </a:cxn>
                <a:cxn ang="0">
                  <a:pos x="10" y="18"/>
                </a:cxn>
                <a:cxn ang="0">
                  <a:pos x="12" y="17"/>
                </a:cxn>
                <a:cxn ang="0">
                  <a:pos x="12" y="17"/>
                </a:cxn>
                <a:cxn ang="0">
                  <a:pos x="14" y="17"/>
                </a:cxn>
                <a:cxn ang="0">
                  <a:pos x="18" y="13"/>
                </a:cxn>
                <a:cxn ang="0">
                  <a:pos x="18" y="11"/>
                </a:cxn>
                <a:cxn ang="0">
                  <a:pos x="18" y="8"/>
                </a:cxn>
                <a:cxn ang="0">
                  <a:pos x="18" y="8"/>
                </a:cxn>
                <a:cxn ang="0">
                  <a:pos x="14" y="2"/>
                </a:cxn>
                <a:cxn ang="0">
                  <a:pos x="10" y="0"/>
                </a:cxn>
              </a:cxnLst>
              <a:rect l="0" t="0" r="r" b="b"/>
              <a:pathLst>
                <a:path w="18" h="18">
                  <a:moveTo>
                    <a:pt x="10" y="0"/>
                  </a:moveTo>
                  <a:lnTo>
                    <a:pt x="10" y="0"/>
                  </a:lnTo>
                  <a:lnTo>
                    <a:pt x="6" y="2"/>
                  </a:lnTo>
                  <a:lnTo>
                    <a:pt x="6" y="2"/>
                  </a:lnTo>
                  <a:lnTo>
                    <a:pt x="4" y="2"/>
                  </a:lnTo>
                  <a:lnTo>
                    <a:pt x="2" y="6"/>
                  </a:lnTo>
                  <a:lnTo>
                    <a:pt x="0" y="8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4" y="17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2" y="17"/>
                  </a:lnTo>
                  <a:lnTo>
                    <a:pt x="12" y="17"/>
                  </a:lnTo>
                  <a:lnTo>
                    <a:pt x="14" y="17"/>
                  </a:lnTo>
                  <a:lnTo>
                    <a:pt x="18" y="13"/>
                  </a:lnTo>
                  <a:lnTo>
                    <a:pt x="18" y="11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4" y="2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8" name="Freeform 470"/>
            <p:cNvSpPr>
              <a:spLocks/>
            </p:cNvSpPr>
            <p:nvPr userDrawn="1"/>
          </p:nvSpPr>
          <p:spPr bwMode="auto">
            <a:xfrm>
              <a:off x="5565776" y="5170488"/>
              <a:ext cx="28575" cy="28575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10" y="0"/>
                </a:cxn>
                <a:cxn ang="0">
                  <a:pos x="6" y="2"/>
                </a:cxn>
                <a:cxn ang="0">
                  <a:pos x="6" y="2"/>
                </a:cxn>
                <a:cxn ang="0">
                  <a:pos x="4" y="2"/>
                </a:cxn>
                <a:cxn ang="0">
                  <a:pos x="2" y="6"/>
                </a:cxn>
                <a:cxn ang="0">
                  <a:pos x="0" y="8"/>
                </a:cxn>
                <a:cxn ang="0">
                  <a:pos x="0" y="11"/>
                </a:cxn>
                <a:cxn ang="0">
                  <a:pos x="0" y="11"/>
                </a:cxn>
                <a:cxn ang="0">
                  <a:pos x="4" y="17"/>
                </a:cxn>
                <a:cxn ang="0">
                  <a:pos x="10" y="18"/>
                </a:cxn>
                <a:cxn ang="0">
                  <a:pos x="10" y="18"/>
                </a:cxn>
                <a:cxn ang="0">
                  <a:pos x="12" y="17"/>
                </a:cxn>
                <a:cxn ang="0">
                  <a:pos x="12" y="17"/>
                </a:cxn>
                <a:cxn ang="0">
                  <a:pos x="14" y="17"/>
                </a:cxn>
                <a:cxn ang="0">
                  <a:pos x="18" y="13"/>
                </a:cxn>
                <a:cxn ang="0">
                  <a:pos x="18" y="11"/>
                </a:cxn>
                <a:cxn ang="0">
                  <a:pos x="18" y="8"/>
                </a:cxn>
                <a:cxn ang="0">
                  <a:pos x="18" y="8"/>
                </a:cxn>
                <a:cxn ang="0">
                  <a:pos x="14" y="2"/>
                </a:cxn>
                <a:cxn ang="0">
                  <a:pos x="10" y="0"/>
                </a:cxn>
              </a:cxnLst>
              <a:rect l="0" t="0" r="r" b="b"/>
              <a:pathLst>
                <a:path w="18" h="18">
                  <a:moveTo>
                    <a:pt x="10" y="0"/>
                  </a:moveTo>
                  <a:lnTo>
                    <a:pt x="10" y="0"/>
                  </a:lnTo>
                  <a:lnTo>
                    <a:pt x="6" y="2"/>
                  </a:lnTo>
                  <a:lnTo>
                    <a:pt x="6" y="2"/>
                  </a:lnTo>
                  <a:lnTo>
                    <a:pt x="4" y="2"/>
                  </a:lnTo>
                  <a:lnTo>
                    <a:pt x="2" y="6"/>
                  </a:lnTo>
                  <a:lnTo>
                    <a:pt x="0" y="8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4" y="17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2" y="17"/>
                  </a:lnTo>
                  <a:lnTo>
                    <a:pt x="12" y="17"/>
                  </a:lnTo>
                  <a:lnTo>
                    <a:pt x="14" y="17"/>
                  </a:lnTo>
                  <a:lnTo>
                    <a:pt x="18" y="13"/>
                  </a:lnTo>
                  <a:lnTo>
                    <a:pt x="18" y="11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4" y="2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9" name="Freeform 471"/>
            <p:cNvSpPr>
              <a:spLocks/>
            </p:cNvSpPr>
            <p:nvPr userDrawn="1"/>
          </p:nvSpPr>
          <p:spPr bwMode="auto">
            <a:xfrm>
              <a:off x="5537201" y="5122863"/>
              <a:ext cx="19050" cy="28575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0" y="8"/>
                </a:cxn>
                <a:cxn ang="0">
                  <a:pos x="0" y="10"/>
                </a:cxn>
                <a:cxn ang="0">
                  <a:pos x="0" y="10"/>
                </a:cxn>
                <a:cxn ang="0">
                  <a:pos x="2" y="16"/>
                </a:cxn>
                <a:cxn ang="0">
                  <a:pos x="6" y="18"/>
                </a:cxn>
                <a:cxn ang="0">
                  <a:pos x="6" y="18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9" y="16"/>
                </a:cxn>
                <a:cxn ang="0">
                  <a:pos x="11" y="12"/>
                </a:cxn>
                <a:cxn ang="0">
                  <a:pos x="12" y="10"/>
                </a:cxn>
                <a:cxn ang="0">
                  <a:pos x="12" y="6"/>
                </a:cxn>
                <a:cxn ang="0">
                  <a:pos x="12" y="6"/>
                </a:cxn>
                <a:cxn ang="0">
                  <a:pos x="9" y="2"/>
                </a:cxn>
                <a:cxn ang="0">
                  <a:pos x="6" y="0"/>
                </a:cxn>
              </a:cxnLst>
              <a:rect l="0" t="0" r="r" b="b"/>
              <a:pathLst>
                <a:path w="12" h="18">
                  <a:moveTo>
                    <a:pt x="6" y="0"/>
                  </a:moveTo>
                  <a:lnTo>
                    <a:pt x="6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8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2" y="16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9" y="16"/>
                  </a:lnTo>
                  <a:lnTo>
                    <a:pt x="11" y="12"/>
                  </a:lnTo>
                  <a:lnTo>
                    <a:pt x="12" y="10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9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00" name="Freeform 472"/>
            <p:cNvSpPr>
              <a:spLocks/>
            </p:cNvSpPr>
            <p:nvPr userDrawn="1"/>
          </p:nvSpPr>
          <p:spPr bwMode="auto">
            <a:xfrm>
              <a:off x="5537201" y="5122863"/>
              <a:ext cx="19050" cy="28575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0" y="8"/>
                </a:cxn>
                <a:cxn ang="0">
                  <a:pos x="0" y="10"/>
                </a:cxn>
                <a:cxn ang="0">
                  <a:pos x="0" y="10"/>
                </a:cxn>
                <a:cxn ang="0">
                  <a:pos x="2" y="16"/>
                </a:cxn>
                <a:cxn ang="0">
                  <a:pos x="6" y="18"/>
                </a:cxn>
                <a:cxn ang="0">
                  <a:pos x="6" y="18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9" y="16"/>
                </a:cxn>
                <a:cxn ang="0">
                  <a:pos x="11" y="12"/>
                </a:cxn>
                <a:cxn ang="0">
                  <a:pos x="12" y="10"/>
                </a:cxn>
                <a:cxn ang="0">
                  <a:pos x="12" y="6"/>
                </a:cxn>
                <a:cxn ang="0">
                  <a:pos x="12" y="6"/>
                </a:cxn>
                <a:cxn ang="0">
                  <a:pos x="9" y="2"/>
                </a:cxn>
                <a:cxn ang="0">
                  <a:pos x="6" y="0"/>
                </a:cxn>
              </a:cxnLst>
              <a:rect l="0" t="0" r="r" b="b"/>
              <a:pathLst>
                <a:path w="12" h="18">
                  <a:moveTo>
                    <a:pt x="6" y="0"/>
                  </a:moveTo>
                  <a:lnTo>
                    <a:pt x="6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8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2" y="16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9" y="16"/>
                  </a:lnTo>
                  <a:lnTo>
                    <a:pt x="11" y="12"/>
                  </a:lnTo>
                  <a:lnTo>
                    <a:pt x="12" y="10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9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01" name="Freeform 473"/>
            <p:cNvSpPr>
              <a:spLocks/>
            </p:cNvSpPr>
            <p:nvPr userDrawn="1"/>
          </p:nvSpPr>
          <p:spPr bwMode="auto">
            <a:xfrm>
              <a:off x="5489576" y="5075238"/>
              <a:ext cx="28575" cy="28575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0" y="5"/>
                </a:cxn>
                <a:cxn ang="0">
                  <a:pos x="0" y="11"/>
                </a:cxn>
                <a:cxn ang="0">
                  <a:pos x="0" y="11"/>
                </a:cxn>
                <a:cxn ang="0">
                  <a:pos x="3" y="16"/>
                </a:cxn>
                <a:cxn ang="0">
                  <a:pos x="8" y="18"/>
                </a:cxn>
                <a:cxn ang="0">
                  <a:pos x="8" y="18"/>
                </a:cxn>
                <a:cxn ang="0">
                  <a:pos x="11" y="18"/>
                </a:cxn>
                <a:cxn ang="0">
                  <a:pos x="11" y="18"/>
                </a:cxn>
                <a:cxn ang="0">
                  <a:pos x="16" y="14"/>
                </a:cxn>
                <a:cxn ang="0">
                  <a:pos x="18" y="7"/>
                </a:cxn>
                <a:cxn ang="0">
                  <a:pos x="18" y="7"/>
                </a:cxn>
                <a:cxn ang="0">
                  <a:pos x="13" y="2"/>
                </a:cxn>
                <a:cxn ang="0">
                  <a:pos x="8" y="0"/>
                </a:cxn>
              </a:cxnLst>
              <a:rect l="0" t="0" r="r" b="b"/>
              <a:pathLst>
                <a:path w="18" h="18">
                  <a:moveTo>
                    <a:pt x="8" y="0"/>
                  </a:moveTo>
                  <a:lnTo>
                    <a:pt x="8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0" y="5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3" y="16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6" y="14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13" y="2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02" name="Freeform 474"/>
            <p:cNvSpPr>
              <a:spLocks/>
            </p:cNvSpPr>
            <p:nvPr userDrawn="1"/>
          </p:nvSpPr>
          <p:spPr bwMode="auto">
            <a:xfrm>
              <a:off x="5489576" y="5075238"/>
              <a:ext cx="28575" cy="28575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0" y="5"/>
                </a:cxn>
                <a:cxn ang="0">
                  <a:pos x="0" y="11"/>
                </a:cxn>
                <a:cxn ang="0">
                  <a:pos x="0" y="11"/>
                </a:cxn>
                <a:cxn ang="0">
                  <a:pos x="3" y="16"/>
                </a:cxn>
                <a:cxn ang="0">
                  <a:pos x="8" y="18"/>
                </a:cxn>
                <a:cxn ang="0">
                  <a:pos x="8" y="18"/>
                </a:cxn>
                <a:cxn ang="0">
                  <a:pos x="11" y="18"/>
                </a:cxn>
                <a:cxn ang="0">
                  <a:pos x="11" y="18"/>
                </a:cxn>
                <a:cxn ang="0">
                  <a:pos x="16" y="14"/>
                </a:cxn>
                <a:cxn ang="0">
                  <a:pos x="18" y="7"/>
                </a:cxn>
                <a:cxn ang="0">
                  <a:pos x="18" y="7"/>
                </a:cxn>
                <a:cxn ang="0">
                  <a:pos x="13" y="2"/>
                </a:cxn>
                <a:cxn ang="0">
                  <a:pos x="8" y="0"/>
                </a:cxn>
              </a:cxnLst>
              <a:rect l="0" t="0" r="r" b="b"/>
              <a:pathLst>
                <a:path w="18" h="18">
                  <a:moveTo>
                    <a:pt x="8" y="0"/>
                  </a:moveTo>
                  <a:lnTo>
                    <a:pt x="8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0" y="5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3" y="16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6" y="14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13" y="2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03" name="Freeform 475"/>
            <p:cNvSpPr>
              <a:spLocks/>
            </p:cNvSpPr>
            <p:nvPr userDrawn="1"/>
          </p:nvSpPr>
          <p:spPr bwMode="auto">
            <a:xfrm>
              <a:off x="5441951" y="5046663"/>
              <a:ext cx="19050" cy="19050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7" y="0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2" y="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4" y="12"/>
                </a:cxn>
                <a:cxn ang="0">
                  <a:pos x="7" y="12"/>
                </a:cxn>
                <a:cxn ang="0">
                  <a:pos x="7" y="12"/>
                </a:cxn>
                <a:cxn ang="0">
                  <a:pos x="7" y="12"/>
                </a:cxn>
                <a:cxn ang="0">
                  <a:pos x="7" y="12"/>
                </a:cxn>
                <a:cxn ang="0">
                  <a:pos x="11" y="10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1" y="0"/>
                </a:cxn>
                <a:cxn ang="0">
                  <a:pos x="7" y="0"/>
                </a:cxn>
              </a:cxnLst>
              <a:rect l="0" t="0" r="r" b="b"/>
              <a:pathLst>
                <a:path w="12" h="12">
                  <a:moveTo>
                    <a:pt x="7" y="0"/>
                  </a:moveTo>
                  <a:lnTo>
                    <a:pt x="7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11" y="10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1" y="0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04" name="Freeform 476"/>
            <p:cNvSpPr>
              <a:spLocks/>
            </p:cNvSpPr>
            <p:nvPr userDrawn="1"/>
          </p:nvSpPr>
          <p:spPr bwMode="auto">
            <a:xfrm>
              <a:off x="5441951" y="5046663"/>
              <a:ext cx="19050" cy="19050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7" y="0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2" y="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4" y="12"/>
                </a:cxn>
                <a:cxn ang="0">
                  <a:pos x="7" y="12"/>
                </a:cxn>
                <a:cxn ang="0">
                  <a:pos x="7" y="12"/>
                </a:cxn>
                <a:cxn ang="0">
                  <a:pos x="7" y="12"/>
                </a:cxn>
                <a:cxn ang="0">
                  <a:pos x="7" y="12"/>
                </a:cxn>
                <a:cxn ang="0">
                  <a:pos x="11" y="10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1" y="0"/>
                </a:cxn>
                <a:cxn ang="0">
                  <a:pos x="7" y="0"/>
                </a:cxn>
              </a:cxnLst>
              <a:rect l="0" t="0" r="r" b="b"/>
              <a:pathLst>
                <a:path w="12" h="12">
                  <a:moveTo>
                    <a:pt x="7" y="0"/>
                  </a:moveTo>
                  <a:lnTo>
                    <a:pt x="7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11" y="10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1" y="0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05" name="Freeform 477"/>
            <p:cNvSpPr>
              <a:spLocks/>
            </p:cNvSpPr>
            <p:nvPr userDrawn="1"/>
          </p:nvSpPr>
          <p:spPr bwMode="auto">
            <a:xfrm>
              <a:off x="5384801" y="501808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4" y="10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12" y="8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0" y="2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0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06" name="Freeform 478"/>
            <p:cNvSpPr>
              <a:spLocks/>
            </p:cNvSpPr>
            <p:nvPr userDrawn="1"/>
          </p:nvSpPr>
          <p:spPr bwMode="auto">
            <a:xfrm>
              <a:off x="5384801" y="501808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4" y="10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12" y="8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0" y="2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0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07" name="Freeform 479"/>
            <p:cNvSpPr>
              <a:spLocks/>
            </p:cNvSpPr>
            <p:nvPr userDrawn="1"/>
          </p:nvSpPr>
          <p:spPr bwMode="auto">
            <a:xfrm>
              <a:off x="5327651" y="5008563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2" y="4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2" y="10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10" y="8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0" y="2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2" y="4"/>
                  </a:lnTo>
                  <a:lnTo>
                    <a:pt x="0" y="8"/>
                  </a:lnTo>
                  <a:lnTo>
                    <a:pt x="0" y="8"/>
                  </a:lnTo>
                  <a:lnTo>
                    <a:pt x="2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0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0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08" name="Freeform 480"/>
            <p:cNvSpPr>
              <a:spLocks/>
            </p:cNvSpPr>
            <p:nvPr userDrawn="1"/>
          </p:nvSpPr>
          <p:spPr bwMode="auto">
            <a:xfrm>
              <a:off x="5327651" y="5008563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2" y="4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2" y="10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10" y="8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0" y="2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2" y="4"/>
                  </a:lnTo>
                  <a:lnTo>
                    <a:pt x="0" y="8"/>
                  </a:lnTo>
                  <a:lnTo>
                    <a:pt x="0" y="8"/>
                  </a:lnTo>
                  <a:lnTo>
                    <a:pt x="2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0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0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09" name="Freeform 481"/>
            <p:cNvSpPr>
              <a:spLocks/>
            </p:cNvSpPr>
            <p:nvPr userDrawn="1"/>
          </p:nvSpPr>
          <p:spPr bwMode="auto">
            <a:xfrm>
              <a:off x="5270501" y="499903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0" y="3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3" y="10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9" y="12"/>
                </a:cxn>
                <a:cxn ang="0">
                  <a:pos x="9" y="12"/>
                </a:cxn>
                <a:cxn ang="0">
                  <a:pos x="12" y="10"/>
                </a:cxn>
                <a:cxn ang="0">
                  <a:pos x="12" y="5"/>
                </a:cxn>
                <a:cxn ang="0">
                  <a:pos x="12" y="5"/>
                </a:cxn>
                <a:cxn ang="0">
                  <a:pos x="9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8"/>
                  </a:lnTo>
                  <a:lnTo>
                    <a:pt x="0" y="8"/>
                  </a:lnTo>
                  <a:lnTo>
                    <a:pt x="3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12" y="10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9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10" name="Freeform 482"/>
            <p:cNvSpPr>
              <a:spLocks/>
            </p:cNvSpPr>
            <p:nvPr userDrawn="1"/>
          </p:nvSpPr>
          <p:spPr bwMode="auto">
            <a:xfrm>
              <a:off x="5270501" y="499903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0" y="3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3" y="10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9" y="12"/>
                </a:cxn>
                <a:cxn ang="0">
                  <a:pos x="9" y="12"/>
                </a:cxn>
                <a:cxn ang="0">
                  <a:pos x="12" y="10"/>
                </a:cxn>
                <a:cxn ang="0">
                  <a:pos x="12" y="5"/>
                </a:cxn>
                <a:cxn ang="0">
                  <a:pos x="12" y="5"/>
                </a:cxn>
                <a:cxn ang="0">
                  <a:pos x="9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8"/>
                  </a:lnTo>
                  <a:lnTo>
                    <a:pt x="0" y="8"/>
                  </a:lnTo>
                  <a:lnTo>
                    <a:pt x="3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12" y="10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9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11" name="Freeform 483"/>
            <p:cNvSpPr>
              <a:spLocks/>
            </p:cNvSpPr>
            <p:nvPr userDrawn="1"/>
          </p:nvSpPr>
          <p:spPr bwMode="auto">
            <a:xfrm>
              <a:off x="5213351" y="500856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2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6"/>
                </a:cxn>
                <a:cxn ang="0">
                  <a:pos x="5" y="6"/>
                </a:cxn>
                <a:cxn ang="0">
                  <a:pos x="6" y="5"/>
                </a:cxn>
                <a:cxn ang="0">
                  <a:pos x="6" y="2"/>
                </a:cxn>
                <a:cxn ang="0">
                  <a:pos x="6" y="2"/>
                </a:cxn>
                <a:cxn ang="0">
                  <a:pos x="5" y="0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6"/>
                  </a:lnTo>
                  <a:lnTo>
                    <a:pt x="5" y="6"/>
                  </a:lnTo>
                  <a:lnTo>
                    <a:pt x="6" y="5"/>
                  </a:lnTo>
                  <a:lnTo>
                    <a:pt x="6" y="2"/>
                  </a:lnTo>
                  <a:lnTo>
                    <a:pt x="6" y="2"/>
                  </a:lnTo>
                  <a:lnTo>
                    <a:pt x="5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12" name="Freeform 484"/>
            <p:cNvSpPr>
              <a:spLocks/>
            </p:cNvSpPr>
            <p:nvPr userDrawn="1"/>
          </p:nvSpPr>
          <p:spPr bwMode="auto">
            <a:xfrm>
              <a:off x="5213351" y="500856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2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6"/>
                </a:cxn>
                <a:cxn ang="0">
                  <a:pos x="5" y="6"/>
                </a:cxn>
                <a:cxn ang="0">
                  <a:pos x="6" y="5"/>
                </a:cxn>
                <a:cxn ang="0">
                  <a:pos x="6" y="2"/>
                </a:cxn>
                <a:cxn ang="0">
                  <a:pos x="6" y="2"/>
                </a:cxn>
                <a:cxn ang="0">
                  <a:pos x="5" y="0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6"/>
                  </a:lnTo>
                  <a:lnTo>
                    <a:pt x="5" y="6"/>
                  </a:lnTo>
                  <a:lnTo>
                    <a:pt x="6" y="5"/>
                  </a:lnTo>
                  <a:lnTo>
                    <a:pt x="6" y="2"/>
                  </a:lnTo>
                  <a:lnTo>
                    <a:pt x="6" y="2"/>
                  </a:lnTo>
                  <a:lnTo>
                    <a:pt x="5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13" name="Freeform 485"/>
            <p:cNvSpPr>
              <a:spLocks/>
            </p:cNvSpPr>
            <p:nvPr userDrawn="1"/>
          </p:nvSpPr>
          <p:spPr bwMode="auto">
            <a:xfrm>
              <a:off x="5156201" y="502761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5"/>
                </a:cxn>
                <a:cxn ang="0">
                  <a:pos x="6" y="2"/>
                </a:cxn>
                <a:cxn ang="0">
                  <a:pos x="6" y="2"/>
                </a:cxn>
                <a:cxn ang="0">
                  <a:pos x="5" y="0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5"/>
                  </a:lnTo>
                  <a:lnTo>
                    <a:pt x="6" y="2"/>
                  </a:lnTo>
                  <a:lnTo>
                    <a:pt x="6" y="2"/>
                  </a:lnTo>
                  <a:lnTo>
                    <a:pt x="5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14" name="Freeform 486"/>
            <p:cNvSpPr>
              <a:spLocks/>
            </p:cNvSpPr>
            <p:nvPr userDrawn="1"/>
          </p:nvSpPr>
          <p:spPr bwMode="auto">
            <a:xfrm>
              <a:off x="5156201" y="502761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5"/>
                </a:cxn>
                <a:cxn ang="0">
                  <a:pos x="6" y="2"/>
                </a:cxn>
                <a:cxn ang="0">
                  <a:pos x="6" y="2"/>
                </a:cxn>
                <a:cxn ang="0">
                  <a:pos x="5" y="0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5"/>
                  </a:lnTo>
                  <a:lnTo>
                    <a:pt x="6" y="2"/>
                  </a:lnTo>
                  <a:lnTo>
                    <a:pt x="6" y="2"/>
                  </a:lnTo>
                  <a:lnTo>
                    <a:pt x="5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15" name="Freeform 487"/>
            <p:cNvSpPr>
              <a:spLocks/>
            </p:cNvSpPr>
            <p:nvPr userDrawn="1"/>
          </p:nvSpPr>
          <p:spPr bwMode="auto">
            <a:xfrm>
              <a:off x="5489576" y="5151438"/>
              <a:ext cx="28575" cy="28575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5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5"/>
                </a:cxn>
                <a:cxn ang="0">
                  <a:pos x="0" y="9"/>
                </a:cxn>
                <a:cxn ang="0">
                  <a:pos x="0" y="14"/>
                </a:cxn>
                <a:cxn ang="0">
                  <a:pos x="2" y="16"/>
                </a:cxn>
                <a:cxn ang="0">
                  <a:pos x="2" y="16"/>
                </a:cxn>
                <a:cxn ang="0">
                  <a:pos x="5" y="18"/>
                </a:cxn>
                <a:cxn ang="0">
                  <a:pos x="9" y="18"/>
                </a:cxn>
                <a:cxn ang="0">
                  <a:pos x="9" y="18"/>
                </a:cxn>
                <a:cxn ang="0">
                  <a:pos x="14" y="18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8" y="14"/>
                </a:cxn>
                <a:cxn ang="0">
                  <a:pos x="18" y="9"/>
                </a:cxn>
                <a:cxn ang="0">
                  <a:pos x="18" y="5"/>
                </a:cxn>
                <a:cxn ang="0">
                  <a:pos x="16" y="2"/>
                </a:cxn>
                <a:cxn ang="0">
                  <a:pos x="16" y="2"/>
                </a:cxn>
                <a:cxn ang="0">
                  <a:pos x="14" y="0"/>
                </a:cxn>
                <a:cxn ang="0">
                  <a:pos x="9" y="0"/>
                </a:cxn>
              </a:cxnLst>
              <a:rect l="0" t="0" r="r" b="b"/>
              <a:pathLst>
                <a:path w="18" h="18">
                  <a:moveTo>
                    <a:pt x="9" y="0"/>
                  </a:moveTo>
                  <a:lnTo>
                    <a:pt x="9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9"/>
                  </a:lnTo>
                  <a:lnTo>
                    <a:pt x="0" y="14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5" y="18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14" y="18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8" y="14"/>
                  </a:lnTo>
                  <a:lnTo>
                    <a:pt x="18" y="9"/>
                  </a:lnTo>
                  <a:lnTo>
                    <a:pt x="18" y="5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16" name="Freeform 488"/>
            <p:cNvSpPr>
              <a:spLocks/>
            </p:cNvSpPr>
            <p:nvPr userDrawn="1"/>
          </p:nvSpPr>
          <p:spPr bwMode="auto">
            <a:xfrm>
              <a:off x="5489576" y="5151438"/>
              <a:ext cx="28575" cy="28575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5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5"/>
                </a:cxn>
                <a:cxn ang="0">
                  <a:pos x="0" y="9"/>
                </a:cxn>
                <a:cxn ang="0">
                  <a:pos x="0" y="14"/>
                </a:cxn>
                <a:cxn ang="0">
                  <a:pos x="2" y="16"/>
                </a:cxn>
                <a:cxn ang="0">
                  <a:pos x="2" y="16"/>
                </a:cxn>
                <a:cxn ang="0">
                  <a:pos x="5" y="18"/>
                </a:cxn>
                <a:cxn ang="0">
                  <a:pos x="9" y="18"/>
                </a:cxn>
                <a:cxn ang="0">
                  <a:pos x="9" y="18"/>
                </a:cxn>
                <a:cxn ang="0">
                  <a:pos x="14" y="18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8" y="14"/>
                </a:cxn>
                <a:cxn ang="0">
                  <a:pos x="18" y="9"/>
                </a:cxn>
                <a:cxn ang="0">
                  <a:pos x="18" y="5"/>
                </a:cxn>
                <a:cxn ang="0">
                  <a:pos x="16" y="2"/>
                </a:cxn>
                <a:cxn ang="0">
                  <a:pos x="16" y="2"/>
                </a:cxn>
                <a:cxn ang="0">
                  <a:pos x="14" y="0"/>
                </a:cxn>
                <a:cxn ang="0">
                  <a:pos x="9" y="0"/>
                </a:cxn>
              </a:cxnLst>
              <a:rect l="0" t="0" r="r" b="b"/>
              <a:pathLst>
                <a:path w="18" h="18">
                  <a:moveTo>
                    <a:pt x="9" y="0"/>
                  </a:moveTo>
                  <a:lnTo>
                    <a:pt x="9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9"/>
                  </a:lnTo>
                  <a:lnTo>
                    <a:pt x="0" y="14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5" y="18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14" y="18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8" y="14"/>
                  </a:lnTo>
                  <a:lnTo>
                    <a:pt x="18" y="9"/>
                  </a:lnTo>
                  <a:lnTo>
                    <a:pt x="18" y="5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17" name="Freeform 489"/>
            <p:cNvSpPr>
              <a:spLocks/>
            </p:cNvSpPr>
            <p:nvPr userDrawn="1"/>
          </p:nvSpPr>
          <p:spPr bwMode="auto">
            <a:xfrm>
              <a:off x="5518151" y="5199063"/>
              <a:ext cx="28575" cy="19050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7" y="2"/>
                </a:cxn>
                <a:cxn ang="0">
                  <a:pos x="5" y="2"/>
                </a:cxn>
                <a:cxn ang="0">
                  <a:pos x="5" y="2"/>
                </a:cxn>
                <a:cxn ang="0">
                  <a:pos x="2" y="5"/>
                </a:cxn>
                <a:cxn ang="0">
                  <a:pos x="0" y="6"/>
                </a:cxn>
                <a:cxn ang="0">
                  <a:pos x="2" y="9"/>
                </a:cxn>
                <a:cxn ang="0">
                  <a:pos x="5" y="11"/>
                </a:cxn>
                <a:cxn ang="0">
                  <a:pos x="5" y="11"/>
                </a:cxn>
                <a:cxn ang="0">
                  <a:pos x="7" y="12"/>
                </a:cxn>
                <a:cxn ang="0">
                  <a:pos x="9" y="12"/>
                </a:cxn>
                <a:cxn ang="0">
                  <a:pos x="9" y="12"/>
                </a:cxn>
                <a:cxn ang="0">
                  <a:pos x="14" y="12"/>
                </a:cxn>
                <a:cxn ang="0">
                  <a:pos x="16" y="11"/>
                </a:cxn>
                <a:cxn ang="0">
                  <a:pos x="16" y="11"/>
                </a:cxn>
                <a:cxn ang="0">
                  <a:pos x="18" y="9"/>
                </a:cxn>
                <a:cxn ang="0">
                  <a:pos x="18" y="6"/>
                </a:cxn>
                <a:cxn ang="0">
                  <a:pos x="18" y="5"/>
                </a:cxn>
                <a:cxn ang="0">
                  <a:pos x="16" y="2"/>
                </a:cxn>
                <a:cxn ang="0">
                  <a:pos x="16" y="2"/>
                </a:cxn>
                <a:cxn ang="0">
                  <a:pos x="14" y="2"/>
                </a:cxn>
                <a:cxn ang="0">
                  <a:pos x="9" y="0"/>
                </a:cxn>
              </a:cxnLst>
              <a:rect l="0" t="0" r="r" b="b"/>
              <a:pathLst>
                <a:path w="18" h="12">
                  <a:moveTo>
                    <a:pt x="9" y="0"/>
                  </a:moveTo>
                  <a:lnTo>
                    <a:pt x="9" y="0"/>
                  </a:lnTo>
                  <a:lnTo>
                    <a:pt x="7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2" y="5"/>
                  </a:lnTo>
                  <a:lnTo>
                    <a:pt x="0" y="6"/>
                  </a:lnTo>
                  <a:lnTo>
                    <a:pt x="2" y="9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7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14" y="12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8" y="9"/>
                  </a:lnTo>
                  <a:lnTo>
                    <a:pt x="18" y="6"/>
                  </a:lnTo>
                  <a:lnTo>
                    <a:pt x="18" y="5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4" y="2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18" name="Freeform 490"/>
            <p:cNvSpPr>
              <a:spLocks/>
            </p:cNvSpPr>
            <p:nvPr userDrawn="1"/>
          </p:nvSpPr>
          <p:spPr bwMode="auto">
            <a:xfrm>
              <a:off x="5518151" y="5199063"/>
              <a:ext cx="28575" cy="19050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7" y="2"/>
                </a:cxn>
                <a:cxn ang="0">
                  <a:pos x="5" y="2"/>
                </a:cxn>
                <a:cxn ang="0">
                  <a:pos x="5" y="2"/>
                </a:cxn>
                <a:cxn ang="0">
                  <a:pos x="2" y="5"/>
                </a:cxn>
                <a:cxn ang="0">
                  <a:pos x="0" y="6"/>
                </a:cxn>
                <a:cxn ang="0">
                  <a:pos x="2" y="9"/>
                </a:cxn>
                <a:cxn ang="0">
                  <a:pos x="5" y="11"/>
                </a:cxn>
                <a:cxn ang="0">
                  <a:pos x="5" y="11"/>
                </a:cxn>
                <a:cxn ang="0">
                  <a:pos x="7" y="12"/>
                </a:cxn>
                <a:cxn ang="0">
                  <a:pos x="9" y="12"/>
                </a:cxn>
                <a:cxn ang="0">
                  <a:pos x="9" y="12"/>
                </a:cxn>
                <a:cxn ang="0">
                  <a:pos x="14" y="12"/>
                </a:cxn>
                <a:cxn ang="0">
                  <a:pos x="16" y="11"/>
                </a:cxn>
                <a:cxn ang="0">
                  <a:pos x="16" y="11"/>
                </a:cxn>
                <a:cxn ang="0">
                  <a:pos x="18" y="9"/>
                </a:cxn>
                <a:cxn ang="0">
                  <a:pos x="18" y="6"/>
                </a:cxn>
                <a:cxn ang="0">
                  <a:pos x="18" y="5"/>
                </a:cxn>
                <a:cxn ang="0">
                  <a:pos x="16" y="2"/>
                </a:cxn>
                <a:cxn ang="0">
                  <a:pos x="16" y="2"/>
                </a:cxn>
                <a:cxn ang="0">
                  <a:pos x="14" y="2"/>
                </a:cxn>
                <a:cxn ang="0">
                  <a:pos x="9" y="0"/>
                </a:cxn>
              </a:cxnLst>
              <a:rect l="0" t="0" r="r" b="b"/>
              <a:pathLst>
                <a:path w="18" h="12">
                  <a:moveTo>
                    <a:pt x="9" y="0"/>
                  </a:moveTo>
                  <a:lnTo>
                    <a:pt x="9" y="0"/>
                  </a:lnTo>
                  <a:lnTo>
                    <a:pt x="7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2" y="5"/>
                  </a:lnTo>
                  <a:lnTo>
                    <a:pt x="0" y="6"/>
                  </a:lnTo>
                  <a:lnTo>
                    <a:pt x="2" y="9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7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14" y="12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8" y="9"/>
                  </a:lnTo>
                  <a:lnTo>
                    <a:pt x="18" y="6"/>
                  </a:lnTo>
                  <a:lnTo>
                    <a:pt x="18" y="5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4" y="2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19" name="Freeform 491"/>
            <p:cNvSpPr>
              <a:spLocks/>
            </p:cNvSpPr>
            <p:nvPr userDrawn="1"/>
          </p:nvSpPr>
          <p:spPr bwMode="auto">
            <a:xfrm>
              <a:off x="5546726" y="5246688"/>
              <a:ext cx="19050" cy="19050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5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7"/>
                </a:cxn>
                <a:cxn ang="0">
                  <a:pos x="2" y="11"/>
                </a:cxn>
                <a:cxn ang="0">
                  <a:pos x="2" y="11"/>
                </a:cxn>
                <a:cxn ang="0">
                  <a:pos x="5" y="12"/>
                </a:cxn>
                <a:cxn ang="0">
                  <a:pos x="5" y="12"/>
                </a:cxn>
                <a:cxn ang="0">
                  <a:pos x="11" y="11"/>
                </a:cxn>
                <a:cxn ang="0">
                  <a:pos x="11" y="11"/>
                </a:cxn>
                <a:cxn ang="0">
                  <a:pos x="12" y="7"/>
                </a:cxn>
                <a:cxn ang="0">
                  <a:pos x="11" y="2"/>
                </a:cxn>
                <a:cxn ang="0">
                  <a:pos x="11" y="2"/>
                </a:cxn>
                <a:cxn ang="0">
                  <a:pos x="5" y="0"/>
                </a:cxn>
              </a:cxnLst>
              <a:rect l="0" t="0" r="r" b="b"/>
              <a:pathLst>
                <a:path w="12" h="12">
                  <a:moveTo>
                    <a:pt x="5" y="0"/>
                  </a:moveTo>
                  <a:lnTo>
                    <a:pt x="5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7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2" y="7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20" name="Freeform 492"/>
            <p:cNvSpPr>
              <a:spLocks/>
            </p:cNvSpPr>
            <p:nvPr userDrawn="1"/>
          </p:nvSpPr>
          <p:spPr bwMode="auto">
            <a:xfrm>
              <a:off x="5546726" y="5246688"/>
              <a:ext cx="19050" cy="19050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5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7"/>
                </a:cxn>
                <a:cxn ang="0">
                  <a:pos x="2" y="11"/>
                </a:cxn>
                <a:cxn ang="0">
                  <a:pos x="2" y="11"/>
                </a:cxn>
                <a:cxn ang="0">
                  <a:pos x="5" y="12"/>
                </a:cxn>
                <a:cxn ang="0">
                  <a:pos x="5" y="12"/>
                </a:cxn>
                <a:cxn ang="0">
                  <a:pos x="11" y="11"/>
                </a:cxn>
                <a:cxn ang="0">
                  <a:pos x="11" y="11"/>
                </a:cxn>
                <a:cxn ang="0">
                  <a:pos x="12" y="7"/>
                </a:cxn>
                <a:cxn ang="0">
                  <a:pos x="11" y="2"/>
                </a:cxn>
                <a:cxn ang="0">
                  <a:pos x="11" y="2"/>
                </a:cxn>
                <a:cxn ang="0">
                  <a:pos x="5" y="0"/>
                </a:cxn>
              </a:cxnLst>
              <a:rect l="0" t="0" r="r" b="b"/>
              <a:pathLst>
                <a:path w="12" h="12">
                  <a:moveTo>
                    <a:pt x="5" y="0"/>
                  </a:moveTo>
                  <a:lnTo>
                    <a:pt x="5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7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2" y="7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21" name="Freeform 493"/>
            <p:cNvSpPr>
              <a:spLocks/>
            </p:cNvSpPr>
            <p:nvPr userDrawn="1"/>
          </p:nvSpPr>
          <p:spPr bwMode="auto">
            <a:xfrm>
              <a:off x="5556251" y="5294313"/>
              <a:ext cx="28575" cy="19050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3" y="2"/>
                </a:cxn>
                <a:cxn ang="0">
                  <a:pos x="3" y="2"/>
                </a:cxn>
                <a:cxn ang="0">
                  <a:pos x="0" y="5"/>
                </a:cxn>
                <a:cxn ang="0">
                  <a:pos x="3" y="11"/>
                </a:cxn>
                <a:cxn ang="0">
                  <a:pos x="3" y="11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16" y="11"/>
                </a:cxn>
                <a:cxn ang="0">
                  <a:pos x="16" y="11"/>
                </a:cxn>
                <a:cxn ang="0">
                  <a:pos x="18" y="5"/>
                </a:cxn>
                <a:cxn ang="0">
                  <a:pos x="16" y="2"/>
                </a:cxn>
                <a:cxn ang="0">
                  <a:pos x="16" y="2"/>
                </a:cxn>
                <a:cxn ang="0">
                  <a:pos x="8" y="0"/>
                </a:cxn>
              </a:cxnLst>
              <a:rect l="0" t="0" r="r" b="b"/>
              <a:pathLst>
                <a:path w="18" h="12">
                  <a:moveTo>
                    <a:pt x="8" y="0"/>
                  </a:moveTo>
                  <a:lnTo>
                    <a:pt x="8" y="0"/>
                  </a:lnTo>
                  <a:lnTo>
                    <a:pt x="3" y="2"/>
                  </a:lnTo>
                  <a:lnTo>
                    <a:pt x="3" y="2"/>
                  </a:lnTo>
                  <a:lnTo>
                    <a:pt x="0" y="5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8" y="5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22" name="Freeform 494"/>
            <p:cNvSpPr>
              <a:spLocks/>
            </p:cNvSpPr>
            <p:nvPr userDrawn="1"/>
          </p:nvSpPr>
          <p:spPr bwMode="auto">
            <a:xfrm>
              <a:off x="5556251" y="5294313"/>
              <a:ext cx="28575" cy="19050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3" y="2"/>
                </a:cxn>
                <a:cxn ang="0">
                  <a:pos x="3" y="2"/>
                </a:cxn>
                <a:cxn ang="0">
                  <a:pos x="0" y="5"/>
                </a:cxn>
                <a:cxn ang="0">
                  <a:pos x="3" y="11"/>
                </a:cxn>
                <a:cxn ang="0">
                  <a:pos x="3" y="11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16" y="11"/>
                </a:cxn>
                <a:cxn ang="0">
                  <a:pos x="16" y="11"/>
                </a:cxn>
                <a:cxn ang="0">
                  <a:pos x="18" y="5"/>
                </a:cxn>
                <a:cxn ang="0">
                  <a:pos x="16" y="2"/>
                </a:cxn>
                <a:cxn ang="0">
                  <a:pos x="16" y="2"/>
                </a:cxn>
                <a:cxn ang="0">
                  <a:pos x="8" y="0"/>
                </a:cxn>
              </a:cxnLst>
              <a:rect l="0" t="0" r="r" b="b"/>
              <a:pathLst>
                <a:path w="18" h="12">
                  <a:moveTo>
                    <a:pt x="8" y="0"/>
                  </a:moveTo>
                  <a:lnTo>
                    <a:pt x="8" y="0"/>
                  </a:lnTo>
                  <a:lnTo>
                    <a:pt x="3" y="2"/>
                  </a:lnTo>
                  <a:lnTo>
                    <a:pt x="3" y="2"/>
                  </a:lnTo>
                  <a:lnTo>
                    <a:pt x="0" y="5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8" y="5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23" name="Freeform 495"/>
            <p:cNvSpPr>
              <a:spLocks/>
            </p:cNvSpPr>
            <p:nvPr userDrawn="1"/>
          </p:nvSpPr>
          <p:spPr bwMode="auto">
            <a:xfrm>
              <a:off x="5565776" y="5351463"/>
              <a:ext cx="19050" cy="9525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6" y="6"/>
                </a:cxn>
                <a:cxn ang="0">
                  <a:pos x="6" y="6"/>
                </a:cxn>
                <a:cxn ang="0">
                  <a:pos x="10" y="6"/>
                </a:cxn>
                <a:cxn ang="0">
                  <a:pos x="10" y="6"/>
                </a:cxn>
                <a:cxn ang="0">
                  <a:pos x="12" y="4"/>
                </a:cxn>
                <a:cxn ang="0">
                  <a:pos x="10" y="2"/>
                </a:cxn>
                <a:cxn ang="0">
                  <a:pos x="10" y="2"/>
                </a:cxn>
                <a:cxn ang="0">
                  <a:pos x="6" y="0"/>
                </a:cxn>
              </a:cxnLst>
              <a:rect l="0" t="0" r="r" b="b"/>
              <a:pathLst>
                <a:path w="12" h="6">
                  <a:moveTo>
                    <a:pt x="6" y="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4"/>
                  </a:lnTo>
                  <a:lnTo>
                    <a:pt x="2" y="6"/>
                  </a:lnTo>
                  <a:lnTo>
                    <a:pt x="2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2" y="4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24" name="Freeform 496"/>
            <p:cNvSpPr>
              <a:spLocks/>
            </p:cNvSpPr>
            <p:nvPr userDrawn="1"/>
          </p:nvSpPr>
          <p:spPr bwMode="auto">
            <a:xfrm>
              <a:off x="5565776" y="5351463"/>
              <a:ext cx="19050" cy="9525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6" y="6"/>
                </a:cxn>
                <a:cxn ang="0">
                  <a:pos x="6" y="6"/>
                </a:cxn>
                <a:cxn ang="0">
                  <a:pos x="10" y="6"/>
                </a:cxn>
                <a:cxn ang="0">
                  <a:pos x="10" y="6"/>
                </a:cxn>
                <a:cxn ang="0">
                  <a:pos x="12" y="4"/>
                </a:cxn>
                <a:cxn ang="0">
                  <a:pos x="10" y="2"/>
                </a:cxn>
                <a:cxn ang="0">
                  <a:pos x="10" y="2"/>
                </a:cxn>
                <a:cxn ang="0">
                  <a:pos x="6" y="0"/>
                </a:cxn>
              </a:cxnLst>
              <a:rect l="0" t="0" r="r" b="b"/>
              <a:pathLst>
                <a:path w="12" h="6">
                  <a:moveTo>
                    <a:pt x="6" y="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4"/>
                  </a:lnTo>
                  <a:lnTo>
                    <a:pt x="2" y="6"/>
                  </a:lnTo>
                  <a:lnTo>
                    <a:pt x="2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2" y="4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25" name="Freeform 497"/>
            <p:cNvSpPr>
              <a:spLocks/>
            </p:cNvSpPr>
            <p:nvPr userDrawn="1"/>
          </p:nvSpPr>
          <p:spPr bwMode="auto">
            <a:xfrm>
              <a:off x="5565776" y="5399088"/>
              <a:ext cx="9525" cy="19050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0" y="8"/>
                </a:cxn>
                <a:cxn ang="0">
                  <a:pos x="2" y="12"/>
                </a:cxn>
                <a:cxn ang="0">
                  <a:pos x="2" y="12"/>
                </a:cxn>
                <a:cxn ang="0">
                  <a:pos x="3" y="12"/>
                </a:cxn>
                <a:cxn ang="0">
                  <a:pos x="3" y="12"/>
                </a:cxn>
                <a:cxn ang="0">
                  <a:pos x="5" y="12"/>
                </a:cxn>
                <a:cxn ang="0">
                  <a:pos x="5" y="12"/>
                </a:cxn>
                <a:cxn ang="0">
                  <a:pos x="6" y="8"/>
                </a:cxn>
                <a:cxn ang="0">
                  <a:pos x="5" y="3"/>
                </a:cxn>
                <a:cxn ang="0">
                  <a:pos x="5" y="3"/>
                </a:cxn>
                <a:cxn ang="0">
                  <a:pos x="3" y="0"/>
                </a:cxn>
              </a:cxnLst>
              <a:rect l="0" t="0" r="r" b="b"/>
              <a:pathLst>
                <a:path w="6" h="12">
                  <a:moveTo>
                    <a:pt x="3" y="0"/>
                  </a:moveTo>
                  <a:lnTo>
                    <a:pt x="3" y="0"/>
                  </a:lnTo>
                  <a:lnTo>
                    <a:pt x="2" y="3"/>
                  </a:lnTo>
                  <a:lnTo>
                    <a:pt x="2" y="3"/>
                  </a:lnTo>
                  <a:lnTo>
                    <a:pt x="0" y="8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6" y="8"/>
                  </a:lnTo>
                  <a:lnTo>
                    <a:pt x="5" y="3"/>
                  </a:lnTo>
                  <a:lnTo>
                    <a:pt x="5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26" name="Freeform 498"/>
            <p:cNvSpPr>
              <a:spLocks/>
            </p:cNvSpPr>
            <p:nvPr userDrawn="1"/>
          </p:nvSpPr>
          <p:spPr bwMode="auto">
            <a:xfrm>
              <a:off x="5565776" y="5399088"/>
              <a:ext cx="9525" cy="19050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0" y="8"/>
                </a:cxn>
                <a:cxn ang="0">
                  <a:pos x="2" y="12"/>
                </a:cxn>
                <a:cxn ang="0">
                  <a:pos x="2" y="12"/>
                </a:cxn>
                <a:cxn ang="0">
                  <a:pos x="3" y="12"/>
                </a:cxn>
                <a:cxn ang="0">
                  <a:pos x="3" y="12"/>
                </a:cxn>
                <a:cxn ang="0">
                  <a:pos x="5" y="12"/>
                </a:cxn>
                <a:cxn ang="0">
                  <a:pos x="5" y="12"/>
                </a:cxn>
                <a:cxn ang="0">
                  <a:pos x="6" y="8"/>
                </a:cxn>
                <a:cxn ang="0">
                  <a:pos x="5" y="3"/>
                </a:cxn>
                <a:cxn ang="0">
                  <a:pos x="5" y="3"/>
                </a:cxn>
                <a:cxn ang="0">
                  <a:pos x="3" y="0"/>
                </a:cxn>
              </a:cxnLst>
              <a:rect l="0" t="0" r="r" b="b"/>
              <a:pathLst>
                <a:path w="6" h="12">
                  <a:moveTo>
                    <a:pt x="3" y="0"/>
                  </a:moveTo>
                  <a:lnTo>
                    <a:pt x="3" y="0"/>
                  </a:lnTo>
                  <a:lnTo>
                    <a:pt x="2" y="3"/>
                  </a:lnTo>
                  <a:lnTo>
                    <a:pt x="2" y="3"/>
                  </a:lnTo>
                  <a:lnTo>
                    <a:pt x="0" y="8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6" y="8"/>
                  </a:lnTo>
                  <a:lnTo>
                    <a:pt x="5" y="3"/>
                  </a:lnTo>
                  <a:lnTo>
                    <a:pt x="5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27" name="Freeform 499"/>
            <p:cNvSpPr>
              <a:spLocks/>
            </p:cNvSpPr>
            <p:nvPr userDrawn="1"/>
          </p:nvSpPr>
          <p:spPr bwMode="auto">
            <a:xfrm>
              <a:off x="5546726" y="5446713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3" y="3"/>
                </a:cxn>
                <a:cxn ang="0">
                  <a:pos x="3" y="3"/>
                </a:cxn>
                <a:cxn ang="0">
                  <a:pos x="0" y="5"/>
                </a:cxn>
                <a:cxn ang="0">
                  <a:pos x="3" y="10"/>
                </a:cxn>
                <a:cxn ang="0">
                  <a:pos x="3" y="10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2" y="10"/>
                </a:cxn>
                <a:cxn ang="0">
                  <a:pos x="12" y="10"/>
                </a:cxn>
                <a:cxn ang="0">
                  <a:pos x="12" y="5"/>
                </a:cxn>
                <a:cxn ang="0">
                  <a:pos x="12" y="3"/>
                </a:cxn>
                <a:cxn ang="0">
                  <a:pos x="12" y="3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3" y="3"/>
                  </a:lnTo>
                  <a:lnTo>
                    <a:pt x="3" y="3"/>
                  </a:lnTo>
                  <a:lnTo>
                    <a:pt x="0" y="5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5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28" name="Freeform 500"/>
            <p:cNvSpPr>
              <a:spLocks/>
            </p:cNvSpPr>
            <p:nvPr userDrawn="1"/>
          </p:nvSpPr>
          <p:spPr bwMode="auto">
            <a:xfrm>
              <a:off x="5546726" y="5446713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3" y="3"/>
                </a:cxn>
                <a:cxn ang="0">
                  <a:pos x="3" y="3"/>
                </a:cxn>
                <a:cxn ang="0">
                  <a:pos x="0" y="5"/>
                </a:cxn>
                <a:cxn ang="0">
                  <a:pos x="3" y="10"/>
                </a:cxn>
                <a:cxn ang="0">
                  <a:pos x="3" y="10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2" y="10"/>
                </a:cxn>
                <a:cxn ang="0">
                  <a:pos x="12" y="10"/>
                </a:cxn>
                <a:cxn ang="0">
                  <a:pos x="12" y="5"/>
                </a:cxn>
                <a:cxn ang="0">
                  <a:pos x="12" y="3"/>
                </a:cxn>
                <a:cxn ang="0">
                  <a:pos x="12" y="3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3" y="3"/>
                  </a:lnTo>
                  <a:lnTo>
                    <a:pt x="3" y="3"/>
                  </a:lnTo>
                  <a:lnTo>
                    <a:pt x="0" y="5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5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29" name="Freeform 501"/>
            <p:cNvSpPr>
              <a:spLocks/>
            </p:cNvSpPr>
            <p:nvPr userDrawn="1"/>
          </p:nvSpPr>
          <p:spPr bwMode="auto">
            <a:xfrm>
              <a:off x="5527676" y="5494338"/>
              <a:ext cx="9525" cy="19050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0" y="6"/>
                </a:cxn>
                <a:cxn ang="0">
                  <a:pos x="2" y="9"/>
                </a:cxn>
                <a:cxn ang="0">
                  <a:pos x="2" y="9"/>
                </a:cxn>
                <a:cxn ang="0">
                  <a:pos x="3" y="12"/>
                </a:cxn>
                <a:cxn ang="0">
                  <a:pos x="3" y="12"/>
                </a:cxn>
                <a:cxn ang="0">
                  <a:pos x="6" y="9"/>
                </a:cxn>
                <a:cxn ang="0">
                  <a:pos x="6" y="9"/>
                </a:cxn>
                <a:cxn ang="0">
                  <a:pos x="6" y="6"/>
                </a:cxn>
                <a:cxn ang="0">
                  <a:pos x="6" y="3"/>
                </a:cxn>
                <a:cxn ang="0">
                  <a:pos x="6" y="3"/>
                </a:cxn>
                <a:cxn ang="0">
                  <a:pos x="3" y="0"/>
                </a:cxn>
              </a:cxnLst>
              <a:rect l="0" t="0" r="r" b="b"/>
              <a:pathLst>
                <a:path w="6" h="12">
                  <a:moveTo>
                    <a:pt x="3" y="0"/>
                  </a:moveTo>
                  <a:lnTo>
                    <a:pt x="3" y="0"/>
                  </a:lnTo>
                  <a:lnTo>
                    <a:pt x="2" y="3"/>
                  </a:lnTo>
                  <a:lnTo>
                    <a:pt x="2" y="3"/>
                  </a:lnTo>
                  <a:lnTo>
                    <a:pt x="0" y="6"/>
                  </a:lnTo>
                  <a:lnTo>
                    <a:pt x="2" y="9"/>
                  </a:lnTo>
                  <a:lnTo>
                    <a:pt x="2" y="9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6" y="9"/>
                  </a:lnTo>
                  <a:lnTo>
                    <a:pt x="6" y="9"/>
                  </a:lnTo>
                  <a:lnTo>
                    <a:pt x="6" y="6"/>
                  </a:lnTo>
                  <a:lnTo>
                    <a:pt x="6" y="3"/>
                  </a:lnTo>
                  <a:lnTo>
                    <a:pt x="6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30" name="Freeform 502"/>
            <p:cNvSpPr>
              <a:spLocks/>
            </p:cNvSpPr>
            <p:nvPr userDrawn="1"/>
          </p:nvSpPr>
          <p:spPr bwMode="auto">
            <a:xfrm>
              <a:off x="5527676" y="5494338"/>
              <a:ext cx="9525" cy="19050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0" y="6"/>
                </a:cxn>
                <a:cxn ang="0">
                  <a:pos x="2" y="9"/>
                </a:cxn>
                <a:cxn ang="0">
                  <a:pos x="2" y="9"/>
                </a:cxn>
                <a:cxn ang="0">
                  <a:pos x="3" y="12"/>
                </a:cxn>
                <a:cxn ang="0">
                  <a:pos x="3" y="12"/>
                </a:cxn>
                <a:cxn ang="0">
                  <a:pos x="6" y="9"/>
                </a:cxn>
                <a:cxn ang="0">
                  <a:pos x="6" y="9"/>
                </a:cxn>
                <a:cxn ang="0">
                  <a:pos x="6" y="6"/>
                </a:cxn>
                <a:cxn ang="0">
                  <a:pos x="6" y="3"/>
                </a:cxn>
                <a:cxn ang="0">
                  <a:pos x="6" y="3"/>
                </a:cxn>
                <a:cxn ang="0">
                  <a:pos x="3" y="0"/>
                </a:cxn>
              </a:cxnLst>
              <a:rect l="0" t="0" r="r" b="b"/>
              <a:pathLst>
                <a:path w="6" h="12">
                  <a:moveTo>
                    <a:pt x="3" y="0"/>
                  </a:moveTo>
                  <a:lnTo>
                    <a:pt x="3" y="0"/>
                  </a:lnTo>
                  <a:lnTo>
                    <a:pt x="2" y="3"/>
                  </a:lnTo>
                  <a:lnTo>
                    <a:pt x="2" y="3"/>
                  </a:lnTo>
                  <a:lnTo>
                    <a:pt x="0" y="6"/>
                  </a:lnTo>
                  <a:lnTo>
                    <a:pt x="2" y="9"/>
                  </a:lnTo>
                  <a:lnTo>
                    <a:pt x="2" y="9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6" y="9"/>
                  </a:lnTo>
                  <a:lnTo>
                    <a:pt x="6" y="9"/>
                  </a:lnTo>
                  <a:lnTo>
                    <a:pt x="6" y="6"/>
                  </a:lnTo>
                  <a:lnTo>
                    <a:pt x="6" y="3"/>
                  </a:lnTo>
                  <a:lnTo>
                    <a:pt x="6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31" name="Freeform 503"/>
            <p:cNvSpPr>
              <a:spLocks/>
            </p:cNvSpPr>
            <p:nvPr userDrawn="1"/>
          </p:nvSpPr>
          <p:spPr bwMode="auto">
            <a:xfrm>
              <a:off x="5499101" y="554196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3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6"/>
                </a:cxn>
                <a:cxn ang="0">
                  <a:pos x="5" y="6"/>
                </a:cxn>
                <a:cxn ang="0">
                  <a:pos x="6" y="3"/>
                </a:cxn>
                <a:cxn ang="0">
                  <a:pos x="5" y="2"/>
                </a:cxn>
                <a:cxn ang="0">
                  <a:pos x="5" y="2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3"/>
                  </a:lnTo>
                  <a:lnTo>
                    <a:pt x="2" y="6"/>
                  </a:lnTo>
                  <a:lnTo>
                    <a:pt x="2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6"/>
                  </a:lnTo>
                  <a:lnTo>
                    <a:pt x="5" y="6"/>
                  </a:lnTo>
                  <a:lnTo>
                    <a:pt x="6" y="3"/>
                  </a:lnTo>
                  <a:lnTo>
                    <a:pt x="5" y="2"/>
                  </a:lnTo>
                  <a:lnTo>
                    <a:pt x="5" y="2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32" name="Freeform 504"/>
            <p:cNvSpPr>
              <a:spLocks/>
            </p:cNvSpPr>
            <p:nvPr userDrawn="1"/>
          </p:nvSpPr>
          <p:spPr bwMode="auto">
            <a:xfrm>
              <a:off x="5499101" y="554196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3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6"/>
                </a:cxn>
                <a:cxn ang="0">
                  <a:pos x="5" y="6"/>
                </a:cxn>
                <a:cxn ang="0">
                  <a:pos x="6" y="3"/>
                </a:cxn>
                <a:cxn ang="0">
                  <a:pos x="5" y="2"/>
                </a:cxn>
                <a:cxn ang="0">
                  <a:pos x="5" y="2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3"/>
                  </a:lnTo>
                  <a:lnTo>
                    <a:pt x="2" y="6"/>
                  </a:lnTo>
                  <a:lnTo>
                    <a:pt x="2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6"/>
                  </a:lnTo>
                  <a:lnTo>
                    <a:pt x="5" y="6"/>
                  </a:lnTo>
                  <a:lnTo>
                    <a:pt x="6" y="3"/>
                  </a:lnTo>
                  <a:lnTo>
                    <a:pt x="5" y="2"/>
                  </a:lnTo>
                  <a:lnTo>
                    <a:pt x="5" y="2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33" name="Freeform 505"/>
            <p:cNvSpPr>
              <a:spLocks/>
            </p:cNvSpPr>
            <p:nvPr userDrawn="1"/>
          </p:nvSpPr>
          <p:spPr bwMode="auto">
            <a:xfrm>
              <a:off x="5461001" y="5580063"/>
              <a:ext cx="9525" cy="9525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0" y="6"/>
                </a:cxn>
                <a:cxn ang="0">
                  <a:pos x="0" y="6"/>
                </a:cxn>
                <a:cxn ang="0">
                  <a:pos x="4" y="6"/>
                </a:cxn>
                <a:cxn ang="0">
                  <a:pos x="4" y="6"/>
                </a:cxn>
                <a:cxn ang="0">
                  <a:pos x="6" y="6"/>
                </a:cxn>
                <a:cxn ang="0">
                  <a:pos x="6" y="6"/>
                </a:cxn>
                <a:cxn ang="0">
                  <a:pos x="6" y="4"/>
                </a:cxn>
                <a:cxn ang="0">
                  <a:pos x="6" y="2"/>
                </a:cxn>
                <a:cxn ang="0">
                  <a:pos x="6" y="2"/>
                </a:cxn>
                <a:cxn ang="0">
                  <a:pos x="4" y="0"/>
                </a:cxn>
              </a:cxnLst>
              <a:rect l="0" t="0" r="r" b="b"/>
              <a:pathLst>
                <a:path w="6" h="6">
                  <a:moveTo>
                    <a:pt x="4" y="0"/>
                  </a:moveTo>
                  <a:lnTo>
                    <a:pt x="4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4"/>
                  </a:lnTo>
                  <a:lnTo>
                    <a:pt x="6" y="2"/>
                  </a:lnTo>
                  <a:lnTo>
                    <a:pt x="6" y="2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34" name="Freeform 506"/>
            <p:cNvSpPr>
              <a:spLocks/>
            </p:cNvSpPr>
            <p:nvPr userDrawn="1"/>
          </p:nvSpPr>
          <p:spPr bwMode="auto">
            <a:xfrm>
              <a:off x="5461001" y="5580063"/>
              <a:ext cx="9525" cy="9525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0" y="6"/>
                </a:cxn>
                <a:cxn ang="0">
                  <a:pos x="0" y="6"/>
                </a:cxn>
                <a:cxn ang="0">
                  <a:pos x="4" y="6"/>
                </a:cxn>
                <a:cxn ang="0">
                  <a:pos x="4" y="6"/>
                </a:cxn>
                <a:cxn ang="0">
                  <a:pos x="6" y="6"/>
                </a:cxn>
                <a:cxn ang="0">
                  <a:pos x="6" y="6"/>
                </a:cxn>
                <a:cxn ang="0">
                  <a:pos x="6" y="4"/>
                </a:cxn>
                <a:cxn ang="0">
                  <a:pos x="6" y="2"/>
                </a:cxn>
                <a:cxn ang="0">
                  <a:pos x="6" y="2"/>
                </a:cxn>
                <a:cxn ang="0">
                  <a:pos x="4" y="0"/>
                </a:cxn>
              </a:cxnLst>
              <a:rect l="0" t="0" r="r" b="b"/>
              <a:pathLst>
                <a:path w="6" h="6">
                  <a:moveTo>
                    <a:pt x="4" y="0"/>
                  </a:moveTo>
                  <a:lnTo>
                    <a:pt x="4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4"/>
                  </a:lnTo>
                  <a:lnTo>
                    <a:pt x="6" y="2"/>
                  </a:lnTo>
                  <a:lnTo>
                    <a:pt x="6" y="2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35" name="Freeform 507"/>
            <p:cNvSpPr>
              <a:spLocks/>
            </p:cNvSpPr>
            <p:nvPr userDrawn="1"/>
          </p:nvSpPr>
          <p:spPr bwMode="auto">
            <a:xfrm>
              <a:off x="5451476" y="5113338"/>
              <a:ext cx="28575" cy="28575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10" y="0"/>
                </a:cxn>
                <a:cxn ang="0">
                  <a:pos x="6" y="0"/>
                </a:cxn>
                <a:cxn ang="0">
                  <a:pos x="4" y="2"/>
                </a:cxn>
                <a:cxn ang="0">
                  <a:pos x="4" y="2"/>
                </a:cxn>
                <a:cxn ang="0">
                  <a:pos x="2" y="6"/>
                </a:cxn>
                <a:cxn ang="0">
                  <a:pos x="0" y="8"/>
                </a:cxn>
                <a:cxn ang="0">
                  <a:pos x="2" y="12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6" y="16"/>
                </a:cxn>
                <a:cxn ang="0">
                  <a:pos x="10" y="18"/>
                </a:cxn>
                <a:cxn ang="0">
                  <a:pos x="10" y="18"/>
                </a:cxn>
                <a:cxn ang="0">
                  <a:pos x="12" y="16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8" y="12"/>
                </a:cxn>
                <a:cxn ang="0">
                  <a:pos x="18" y="8"/>
                </a:cxn>
                <a:cxn ang="0">
                  <a:pos x="18" y="6"/>
                </a:cxn>
                <a:cxn ang="0">
                  <a:pos x="16" y="2"/>
                </a:cxn>
                <a:cxn ang="0">
                  <a:pos x="16" y="2"/>
                </a:cxn>
                <a:cxn ang="0">
                  <a:pos x="12" y="0"/>
                </a:cxn>
                <a:cxn ang="0">
                  <a:pos x="10" y="0"/>
                </a:cxn>
              </a:cxnLst>
              <a:rect l="0" t="0" r="r" b="b"/>
              <a:pathLst>
                <a:path w="18" h="18">
                  <a:moveTo>
                    <a:pt x="10" y="0"/>
                  </a:moveTo>
                  <a:lnTo>
                    <a:pt x="10" y="0"/>
                  </a:lnTo>
                  <a:lnTo>
                    <a:pt x="6" y="0"/>
                  </a:lnTo>
                  <a:lnTo>
                    <a:pt x="4" y="2"/>
                  </a:lnTo>
                  <a:lnTo>
                    <a:pt x="4" y="2"/>
                  </a:lnTo>
                  <a:lnTo>
                    <a:pt x="2" y="6"/>
                  </a:lnTo>
                  <a:lnTo>
                    <a:pt x="0" y="8"/>
                  </a:lnTo>
                  <a:lnTo>
                    <a:pt x="2" y="12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6" y="16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8" y="12"/>
                  </a:lnTo>
                  <a:lnTo>
                    <a:pt x="18" y="8"/>
                  </a:lnTo>
                  <a:lnTo>
                    <a:pt x="18" y="6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2" y="0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36" name="Freeform 508"/>
            <p:cNvSpPr>
              <a:spLocks/>
            </p:cNvSpPr>
            <p:nvPr userDrawn="1"/>
          </p:nvSpPr>
          <p:spPr bwMode="auto">
            <a:xfrm>
              <a:off x="5451476" y="5113338"/>
              <a:ext cx="28575" cy="28575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10" y="0"/>
                </a:cxn>
                <a:cxn ang="0">
                  <a:pos x="6" y="0"/>
                </a:cxn>
                <a:cxn ang="0">
                  <a:pos x="4" y="2"/>
                </a:cxn>
                <a:cxn ang="0">
                  <a:pos x="4" y="2"/>
                </a:cxn>
                <a:cxn ang="0">
                  <a:pos x="2" y="6"/>
                </a:cxn>
                <a:cxn ang="0">
                  <a:pos x="0" y="8"/>
                </a:cxn>
                <a:cxn ang="0">
                  <a:pos x="2" y="12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6" y="16"/>
                </a:cxn>
                <a:cxn ang="0">
                  <a:pos x="10" y="18"/>
                </a:cxn>
                <a:cxn ang="0">
                  <a:pos x="10" y="18"/>
                </a:cxn>
                <a:cxn ang="0">
                  <a:pos x="12" y="16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8" y="12"/>
                </a:cxn>
                <a:cxn ang="0">
                  <a:pos x="18" y="8"/>
                </a:cxn>
                <a:cxn ang="0">
                  <a:pos x="18" y="6"/>
                </a:cxn>
                <a:cxn ang="0">
                  <a:pos x="16" y="2"/>
                </a:cxn>
                <a:cxn ang="0">
                  <a:pos x="16" y="2"/>
                </a:cxn>
                <a:cxn ang="0">
                  <a:pos x="12" y="0"/>
                </a:cxn>
                <a:cxn ang="0">
                  <a:pos x="10" y="0"/>
                </a:cxn>
              </a:cxnLst>
              <a:rect l="0" t="0" r="r" b="b"/>
              <a:pathLst>
                <a:path w="18" h="18">
                  <a:moveTo>
                    <a:pt x="10" y="0"/>
                  </a:moveTo>
                  <a:lnTo>
                    <a:pt x="10" y="0"/>
                  </a:lnTo>
                  <a:lnTo>
                    <a:pt x="6" y="0"/>
                  </a:lnTo>
                  <a:lnTo>
                    <a:pt x="4" y="2"/>
                  </a:lnTo>
                  <a:lnTo>
                    <a:pt x="4" y="2"/>
                  </a:lnTo>
                  <a:lnTo>
                    <a:pt x="2" y="6"/>
                  </a:lnTo>
                  <a:lnTo>
                    <a:pt x="0" y="8"/>
                  </a:lnTo>
                  <a:lnTo>
                    <a:pt x="2" y="12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6" y="16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8" y="12"/>
                  </a:lnTo>
                  <a:lnTo>
                    <a:pt x="18" y="8"/>
                  </a:lnTo>
                  <a:lnTo>
                    <a:pt x="18" y="6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2" y="0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37" name="Freeform 509"/>
            <p:cNvSpPr>
              <a:spLocks/>
            </p:cNvSpPr>
            <p:nvPr userDrawn="1"/>
          </p:nvSpPr>
          <p:spPr bwMode="auto">
            <a:xfrm>
              <a:off x="5413376" y="5084763"/>
              <a:ext cx="28575" cy="28575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5" y="2"/>
                </a:cxn>
                <a:cxn ang="0">
                  <a:pos x="3" y="2"/>
                </a:cxn>
                <a:cxn ang="0">
                  <a:pos x="3" y="2"/>
                </a:cxn>
                <a:cxn ang="0">
                  <a:pos x="0" y="7"/>
                </a:cxn>
                <a:cxn ang="0">
                  <a:pos x="0" y="9"/>
                </a:cxn>
                <a:cxn ang="0">
                  <a:pos x="0" y="14"/>
                </a:cxn>
                <a:cxn ang="0">
                  <a:pos x="3" y="16"/>
                </a:cxn>
                <a:cxn ang="0">
                  <a:pos x="3" y="16"/>
                </a:cxn>
                <a:cxn ang="0">
                  <a:pos x="5" y="18"/>
                </a:cxn>
                <a:cxn ang="0">
                  <a:pos x="8" y="18"/>
                </a:cxn>
                <a:cxn ang="0">
                  <a:pos x="8" y="18"/>
                </a:cxn>
                <a:cxn ang="0">
                  <a:pos x="13" y="18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8" y="14"/>
                </a:cxn>
                <a:cxn ang="0">
                  <a:pos x="18" y="9"/>
                </a:cxn>
                <a:cxn ang="0">
                  <a:pos x="18" y="7"/>
                </a:cxn>
                <a:cxn ang="0">
                  <a:pos x="16" y="2"/>
                </a:cxn>
                <a:cxn ang="0">
                  <a:pos x="16" y="2"/>
                </a:cxn>
                <a:cxn ang="0">
                  <a:pos x="13" y="2"/>
                </a:cxn>
                <a:cxn ang="0">
                  <a:pos x="8" y="0"/>
                </a:cxn>
              </a:cxnLst>
              <a:rect l="0" t="0" r="r" b="b"/>
              <a:pathLst>
                <a:path w="18" h="18">
                  <a:moveTo>
                    <a:pt x="8" y="0"/>
                  </a:moveTo>
                  <a:lnTo>
                    <a:pt x="8" y="0"/>
                  </a:lnTo>
                  <a:lnTo>
                    <a:pt x="5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0" y="7"/>
                  </a:lnTo>
                  <a:lnTo>
                    <a:pt x="0" y="9"/>
                  </a:lnTo>
                  <a:lnTo>
                    <a:pt x="0" y="14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5" y="18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13" y="18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8" y="14"/>
                  </a:lnTo>
                  <a:lnTo>
                    <a:pt x="18" y="9"/>
                  </a:lnTo>
                  <a:lnTo>
                    <a:pt x="18" y="7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3" y="2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38" name="Freeform 510"/>
            <p:cNvSpPr>
              <a:spLocks/>
            </p:cNvSpPr>
            <p:nvPr userDrawn="1"/>
          </p:nvSpPr>
          <p:spPr bwMode="auto">
            <a:xfrm>
              <a:off x="5413376" y="5084763"/>
              <a:ext cx="28575" cy="28575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5" y="2"/>
                </a:cxn>
                <a:cxn ang="0">
                  <a:pos x="3" y="2"/>
                </a:cxn>
                <a:cxn ang="0">
                  <a:pos x="3" y="2"/>
                </a:cxn>
                <a:cxn ang="0">
                  <a:pos x="0" y="7"/>
                </a:cxn>
                <a:cxn ang="0">
                  <a:pos x="0" y="9"/>
                </a:cxn>
                <a:cxn ang="0">
                  <a:pos x="0" y="14"/>
                </a:cxn>
                <a:cxn ang="0">
                  <a:pos x="3" y="16"/>
                </a:cxn>
                <a:cxn ang="0">
                  <a:pos x="3" y="16"/>
                </a:cxn>
                <a:cxn ang="0">
                  <a:pos x="5" y="18"/>
                </a:cxn>
                <a:cxn ang="0">
                  <a:pos x="8" y="18"/>
                </a:cxn>
                <a:cxn ang="0">
                  <a:pos x="8" y="18"/>
                </a:cxn>
                <a:cxn ang="0">
                  <a:pos x="13" y="18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8" y="14"/>
                </a:cxn>
                <a:cxn ang="0">
                  <a:pos x="18" y="9"/>
                </a:cxn>
                <a:cxn ang="0">
                  <a:pos x="18" y="7"/>
                </a:cxn>
                <a:cxn ang="0">
                  <a:pos x="16" y="2"/>
                </a:cxn>
                <a:cxn ang="0">
                  <a:pos x="16" y="2"/>
                </a:cxn>
                <a:cxn ang="0">
                  <a:pos x="13" y="2"/>
                </a:cxn>
                <a:cxn ang="0">
                  <a:pos x="8" y="0"/>
                </a:cxn>
              </a:cxnLst>
              <a:rect l="0" t="0" r="r" b="b"/>
              <a:pathLst>
                <a:path w="18" h="18">
                  <a:moveTo>
                    <a:pt x="8" y="0"/>
                  </a:moveTo>
                  <a:lnTo>
                    <a:pt x="8" y="0"/>
                  </a:lnTo>
                  <a:lnTo>
                    <a:pt x="5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0" y="7"/>
                  </a:lnTo>
                  <a:lnTo>
                    <a:pt x="0" y="9"/>
                  </a:lnTo>
                  <a:lnTo>
                    <a:pt x="0" y="14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5" y="18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13" y="18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8" y="14"/>
                  </a:lnTo>
                  <a:lnTo>
                    <a:pt x="18" y="9"/>
                  </a:lnTo>
                  <a:lnTo>
                    <a:pt x="18" y="7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3" y="2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39" name="Freeform 511"/>
            <p:cNvSpPr>
              <a:spLocks/>
            </p:cNvSpPr>
            <p:nvPr userDrawn="1"/>
          </p:nvSpPr>
          <p:spPr bwMode="auto">
            <a:xfrm>
              <a:off x="5365751" y="5065713"/>
              <a:ext cx="28575" cy="28575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11" y="0"/>
                </a:cxn>
                <a:cxn ang="0">
                  <a:pos x="3" y="3"/>
                </a:cxn>
                <a:cxn ang="0">
                  <a:pos x="3" y="3"/>
                </a:cxn>
                <a:cxn ang="0">
                  <a:pos x="0" y="8"/>
                </a:cxn>
                <a:cxn ang="0">
                  <a:pos x="3" y="16"/>
                </a:cxn>
                <a:cxn ang="0">
                  <a:pos x="3" y="16"/>
                </a:cxn>
                <a:cxn ang="0">
                  <a:pos x="11" y="18"/>
                </a:cxn>
                <a:cxn ang="0">
                  <a:pos x="11" y="18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8" y="8"/>
                </a:cxn>
                <a:cxn ang="0">
                  <a:pos x="16" y="3"/>
                </a:cxn>
                <a:cxn ang="0">
                  <a:pos x="16" y="3"/>
                </a:cxn>
                <a:cxn ang="0">
                  <a:pos x="11" y="0"/>
                </a:cxn>
              </a:cxnLst>
              <a:rect l="0" t="0" r="r" b="b"/>
              <a:pathLst>
                <a:path w="18" h="18">
                  <a:moveTo>
                    <a:pt x="11" y="0"/>
                  </a:moveTo>
                  <a:lnTo>
                    <a:pt x="11" y="0"/>
                  </a:lnTo>
                  <a:lnTo>
                    <a:pt x="3" y="3"/>
                  </a:lnTo>
                  <a:lnTo>
                    <a:pt x="3" y="3"/>
                  </a:lnTo>
                  <a:lnTo>
                    <a:pt x="0" y="8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8" y="8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40" name="Freeform 512"/>
            <p:cNvSpPr>
              <a:spLocks/>
            </p:cNvSpPr>
            <p:nvPr userDrawn="1"/>
          </p:nvSpPr>
          <p:spPr bwMode="auto">
            <a:xfrm>
              <a:off x="5365751" y="5065713"/>
              <a:ext cx="28575" cy="28575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11" y="0"/>
                </a:cxn>
                <a:cxn ang="0">
                  <a:pos x="3" y="3"/>
                </a:cxn>
                <a:cxn ang="0">
                  <a:pos x="3" y="3"/>
                </a:cxn>
                <a:cxn ang="0">
                  <a:pos x="0" y="8"/>
                </a:cxn>
                <a:cxn ang="0">
                  <a:pos x="3" y="16"/>
                </a:cxn>
                <a:cxn ang="0">
                  <a:pos x="3" y="16"/>
                </a:cxn>
                <a:cxn ang="0">
                  <a:pos x="11" y="18"/>
                </a:cxn>
                <a:cxn ang="0">
                  <a:pos x="11" y="18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8" y="8"/>
                </a:cxn>
                <a:cxn ang="0">
                  <a:pos x="16" y="3"/>
                </a:cxn>
                <a:cxn ang="0">
                  <a:pos x="16" y="3"/>
                </a:cxn>
                <a:cxn ang="0">
                  <a:pos x="11" y="0"/>
                </a:cxn>
              </a:cxnLst>
              <a:rect l="0" t="0" r="r" b="b"/>
              <a:pathLst>
                <a:path w="18" h="18">
                  <a:moveTo>
                    <a:pt x="11" y="0"/>
                  </a:moveTo>
                  <a:lnTo>
                    <a:pt x="11" y="0"/>
                  </a:lnTo>
                  <a:lnTo>
                    <a:pt x="3" y="3"/>
                  </a:lnTo>
                  <a:lnTo>
                    <a:pt x="3" y="3"/>
                  </a:lnTo>
                  <a:lnTo>
                    <a:pt x="0" y="8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8" y="8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41" name="Freeform 513"/>
            <p:cNvSpPr>
              <a:spLocks/>
            </p:cNvSpPr>
            <p:nvPr userDrawn="1"/>
          </p:nvSpPr>
          <p:spPr bwMode="auto">
            <a:xfrm>
              <a:off x="5318126" y="505618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6"/>
                </a:cxn>
                <a:cxn ang="0">
                  <a:pos x="2" y="10"/>
                </a:cxn>
                <a:cxn ang="0">
                  <a:pos x="2" y="10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0"/>
                </a:cxn>
                <a:cxn ang="0">
                  <a:pos x="10" y="10"/>
                </a:cxn>
                <a:cxn ang="0">
                  <a:pos x="12" y="6"/>
                </a:cxn>
                <a:cxn ang="0">
                  <a:pos x="10" y="2"/>
                </a:cxn>
                <a:cxn ang="0">
                  <a:pos x="10" y="2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6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2" y="6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42" name="Freeform 514"/>
            <p:cNvSpPr>
              <a:spLocks/>
            </p:cNvSpPr>
            <p:nvPr userDrawn="1"/>
          </p:nvSpPr>
          <p:spPr bwMode="auto">
            <a:xfrm>
              <a:off x="5318126" y="505618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6"/>
                </a:cxn>
                <a:cxn ang="0">
                  <a:pos x="2" y="10"/>
                </a:cxn>
                <a:cxn ang="0">
                  <a:pos x="2" y="10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0"/>
                </a:cxn>
                <a:cxn ang="0">
                  <a:pos x="10" y="10"/>
                </a:cxn>
                <a:cxn ang="0">
                  <a:pos x="12" y="6"/>
                </a:cxn>
                <a:cxn ang="0">
                  <a:pos x="10" y="2"/>
                </a:cxn>
                <a:cxn ang="0">
                  <a:pos x="10" y="2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6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2" y="6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43" name="Freeform 515"/>
            <p:cNvSpPr>
              <a:spLocks/>
            </p:cNvSpPr>
            <p:nvPr userDrawn="1"/>
          </p:nvSpPr>
          <p:spPr bwMode="auto">
            <a:xfrm>
              <a:off x="5270501" y="505618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6"/>
                </a:cxn>
                <a:cxn ang="0">
                  <a:pos x="2" y="10"/>
                </a:cxn>
                <a:cxn ang="0">
                  <a:pos x="2" y="10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0"/>
                </a:cxn>
                <a:cxn ang="0">
                  <a:pos x="10" y="10"/>
                </a:cxn>
                <a:cxn ang="0">
                  <a:pos x="12" y="6"/>
                </a:cxn>
                <a:cxn ang="0">
                  <a:pos x="10" y="2"/>
                </a:cxn>
                <a:cxn ang="0">
                  <a:pos x="10" y="2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6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2" y="6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44" name="Freeform 516"/>
            <p:cNvSpPr>
              <a:spLocks/>
            </p:cNvSpPr>
            <p:nvPr userDrawn="1"/>
          </p:nvSpPr>
          <p:spPr bwMode="auto">
            <a:xfrm>
              <a:off x="5270501" y="505618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6"/>
                </a:cxn>
                <a:cxn ang="0">
                  <a:pos x="2" y="10"/>
                </a:cxn>
                <a:cxn ang="0">
                  <a:pos x="2" y="10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0"/>
                </a:cxn>
                <a:cxn ang="0">
                  <a:pos x="10" y="10"/>
                </a:cxn>
                <a:cxn ang="0">
                  <a:pos x="12" y="6"/>
                </a:cxn>
                <a:cxn ang="0">
                  <a:pos x="10" y="2"/>
                </a:cxn>
                <a:cxn ang="0">
                  <a:pos x="10" y="2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6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2" y="6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45" name="Freeform 517"/>
            <p:cNvSpPr>
              <a:spLocks/>
            </p:cNvSpPr>
            <p:nvPr userDrawn="1"/>
          </p:nvSpPr>
          <p:spPr bwMode="auto">
            <a:xfrm>
              <a:off x="5222876" y="5056188"/>
              <a:ext cx="9525" cy="19050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5"/>
                </a:cxn>
                <a:cxn ang="0">
                  <a:pos x="2" y="10"/>
                </a:cxn>
                <a:cxn ang="0">
                  <a:pos x="2" y="10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0"/>
                </a:cxn>
                <a:cxn ang="0">
                  <a:pos x="6" y="10"/>
                </a:cxn>
                <a:cxn ang="0">
                  <a:pos x="6" y="5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4" y="0"/>
                </a:cxn>
              </a:cxnLst>
              <a:rect l="0" t="0" r="r" b="b"/>
              <a:pathLst>
                <a:path w="6" h="12">
                  <a:moveTo>
                    <a:pt x="4" y="0"/>
                  </a:moveTo>
                  <a:lnTo>
                    <a:pt x="4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5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5"/>
                  </a:lnTo>
                  <a:lnTo>
                    <a:pt x="6" y="0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46" name="Freeform 518"/>
            <p:cNvSpPr>
              <a:spLocks/>
            </p:cNvSpPr>
            <p:nvPr userDrawn="1"/>
          </p:nvSpPr>
          <p:spPr bwMode="auto">
            <a:xfrm>
              <a:off x="5222876" y="5056188"/>
              <a:ext cx="9525" cy="19050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5"/>
                </a:cxn>
                <a:cxn ang="0">
                  <a:pos x="2" y="10"/>
                </a:cxn>
                <a:cxn ang="0">
                  <a:pos x="2" y="10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0"/>
                </a:cxn>
                <a:cxn ang="0">
                  <a:pos x="6" y="10"/>
                </a:cxn>
                <a:cxn ang="0">
                  <a:pos x="6" y="5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4" y="0"/>
                </a:cxn>
              </a:cxnLst>
              <a:rect l="0" t="0" r="r" b="b"/>
              <a:pathLst>
                <a:path w="6" h="12">
                  <a:moveTo>
                    <a:pt x="4" y="0"/>
                  </a:moveTo>
                  <a:lnTo>
                    <a:pt x="4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5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5"/>
                  </a:lnTo>
                  <a:lnTo>
                    <a:pt x="6" y="0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47" name="Freeform 519"/>
            <p:cNvSpPr>
              <a:spLocks/>
            </p:cNvSpPr>
            <p:nvPr userDrawn="1"/>
          </p:nvSpPr>
          <p:spPr bwMode="auto">
            <a:xfrm>
              <a:off x="5175251" y="5075238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3"/>
                </a:cxn>
                <a:cxn ang="0">
                  <a:pos x="2" y="5"/>
                </a:cxn>
                <a:cxn ang="0">
                  <a:pos x="2" y="5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5"/>
                </a:cxn>
                <a:cxn ang="0">
                  <a:pos x="5" y="5"/>
                </a:cxn>
                <a:cxn ang="0">
                  <a:pos x="6" y="3"/>
                </a:cxn>
                <a:cxn ang="0">
                  <a:pos x="5" y="2"/>
                </a:cxn>
                <a:cxn ang="0">
                  <a:pos x="5" y="2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3"/>
                  </a:lnTo>
                  <a:lnTo>
                    <a:pt x="2" y="5"/>
                  </a:lnTo>
                  <a:lnTo>
                    <a:pt x="2" y="5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5"/>
                  </a:lnTo>
                  <a:lnTo>
                    <a:pt x="5" y="5"/>
                  </a:lnTo>
                  <a:lnTo>
                    <a:pt x="6" y="3"/>
                  </a:lnTo>
                  <a:lnTo>
                    <a:pt x="5" y="2"/>
                  </a:lnTo>
                  <a:lnTo>
                    <a:pt x="5" y="2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48" name="Freeform 520"/>
            <p:cNvSpPr>
              <a:spLocks/>
            </p:cNvSpPr>
            <p:nvPr userDrawn="1"/>
          </p:nvSpPr>
          <p:spPr bwMode="auto">
            <a:xfrm>
              <a:off x="5175251" y="5075238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3"/>
                </a:cxn>
                <a:cxn ang="0">
                  <a:pos x="2" y="5"/>
                </a:cxn>
                <a:cxn ang="0">
                  <a:pos x="2" y="5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5"/>
                </a:cxn>
                <a:cxn ang="0">
                  <a:pos x="5" y="5"/>
                </a:cxn>
                <a:cxn ang="0">
                  <a:pos x="6" y="3"/>
                </a:cxn>
                <a:cxn ang="0">
                  <a:pos x="5" y="2"/>
                </a:cxn>
                <a:cxn ang="0">
                  <a:pos x="5" y="2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3"/>
                  </a:lnTo>
                  <a:lnTo>
                    <a:pt x="2" y="5"/>
                  </a:lnTo>
                  <a:lnTo>
                    <a:pt x="2" y="5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5"/>
                  </a:lnTo>
                  <a:lnTo>
                    <a:pt x="5" y="5"/>
                  </a:lnTo>
                  <a:lnTo>
                    <a:pt x="6" y="3"/>
                  </a:lnTo>
                  <a:lnTo>
                    <a:pt x="5" y="2"/>
                  </a:lnTo>
                  <a:lnTo>
                    <a:pt x="5" y="2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49" name="Freeform 521"/>
            <p:cNvSpPr>
              <a:spLocks/>
            </p:cNvSpPr>
            <p:nvPr userDrawn="1"/>
          </p:nvSpPr>
          <p:spPr bwMode="auto">
            <a:xfrm>
              <a:off x="5127626" y="5094288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3"/>
                </a:cxn>
                <a:cxn ang="0">
                  <a:pos x="0" y="6"/>
                </a:cxn>
                <a:cxn ang="0">
                  <a:pos x="0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6"/>
                </a:cxn>
                <a:cxn ang="0">
                  <a:pos x="5" y="6"/>
                </a:cxn>
                <a:cxn ang="0">
                  <a:pos x="6" y="3"/>
                </a:cxn>
                <a:cxn ang="0">
                  <a:pos x="5" y="2"/>
                </a:cxn>
                <a:cxn ang="0">
                  <a:pos x="5" y="2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3"/>
                  </a:lnTo>
                  <a:lnTo>
                    <a:pt x="0" y="6"/>
                  </a:lnTo>
                  <a:lnTo>
                    <a:pt x="0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6"/>
                  </a:lnTo>
                  <a:lnTo>
                    <a:pt x="5" y="6"/>
                  </a:lnTo>
                  <a:lnTo>
                    <a:pt x="6" y="3"/>
                  </a:lnTo>
                  <a:lnTo>
                    <a:pt x="5" y="2"/>
                  </a:lnTo>
                  <a:lnTo>
                    <a:pt x="5" y="2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50" name="Freeform 522"/>
            <p:cNvSpPr>
              <a:spLocks/>
            </p:cNvSpPr>
            <p:nvPr userDrawn="1"/>
          </p:nvSpPr>
          <p:spPr bwMode="auto">
            <a:xfrm>
              <a:off x="5127626" y="5094288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3"/>
                </a:cxn>
                <a:cxn ang="0">
                  <a:pos x="0" y="6"/>
                </a:cxn>
                <a:cxn ang="0">
                  <a:pos x="0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6"/>
                </a:cxn>
                <a:cxn ang="0">
                  <a:pos x="5" y="6"/>
                </a:cxn>
                <a:cxn ang="0">
                  <a:pos x="6" y="3"/>
                </a:cxn>
                <a:cxn ang="0">
                  <a:pos x="5" y="2"/>
                </a:cxn>
                <a:cxn ang="0">
                  <a:pos x="5" y="2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3"/>
                  </a:lnTo>
                  <a:lnTo>
                    <a:pt x="0" y="6"/>
                  </a:lnTo>
                  <a:lnTo>
                    <a:pt x="0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6"/>
                  </a:lnTo>
                  <a:lnTo>
                    <a:pt x="5" y="6"/>
                  </a:lnTo>
                  <a:lnTo>
                    <a:pt x="6" y="3"/>
                  </a:lnTo>
                  <a:lnTo>
                    <a:pt x="5" y="2"/>
                  </a:lnTo>
                  <a:lnTo>
                    <a:pt x="5" y="2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51" name="Freeform 523"/>
            <p:cNvSpPr>
              <a:spLocks/>
            </p:cNvSpPr>
            <p:nvPr userDrawn="1"/>
          </p:nvSpPr>
          <p:spPr bwMode="auto">
            <a:xfrm>
              <a:off x="5080001" y="5122863"/>
              <a:ext cx="19050" cy="9525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0" y="2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6" y="6"/>
                </a:cxn>
                <a:cxn ang="0">
                  <a:pos x="6" y="6"/>
                </a:cxn>
                <a:cxn ang="0">
                  <a:pos x="12" y="6"/>
                </a:cxn>
                <a:cxn ang="0">
                  <a:pos x="12" y="6"/>
                </a:cxn>
                <a:cxn ang="0">
                  <a:pos x="12" y="2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6" y="0"/>
                </a:cxn>
              </a:cxnLst>
              <a:rect l="0" t="0" r="r" b="b"/>
              <a:pathLst>
                <a:path w="12" h="6">
                  <a:moveTo>
                    <a:pt x="6" y="0"/>
                  </a:moveTo>
                  <a:lnTo>
                    <a:pt x="6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0" y="2"/>
                  </a:lnTo>
                  <a:lnTo>
                    <a:pt x="3" y="6"/>
                  </a:lnTo>
                  <a:lnTo>
                    <a:pt x="3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52" name="Freeform 524"/>
            <p:cNvSpPr>
              <a:spLocks/>
            </p:cNvSpPr>
            <p:nvPr userDrawn="1"/>
          </p:nvSpPr>
          <p:spPr bwMode="auto">
            <a:xfrm>
              <a:off x="5080001" y="5122863"/>
              <a:ext cx="19050" cy="9525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0" y="2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6" y="6"/>
                </a:cxn>
                <a:cxn ang="0">
                  <a:pos x="6" y="6"/>
                </a:cxn>
                <a:cxn ang="0">
                  <a:pos x="12" y="6"/>
                </a:cxn>
                <a:cxn ang="0">
                  <a:pos x="12" y="6"/>
                </a:cxn>
                <a:cxn ang="0">
                  <a:pos x="12" y="2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6" y="0"/>
                </a:cxn>
              </a:cxnLst>
              <a:rect l="0" t="0" r="r" b="b"/>
              <a:pathLst>
                <a:path w="12" h="6">
                  <a:moveTo>
                    <a:pt x="6" y="0"/>
                  </a:moveTo>
                  <a:lnTo>
                    <a:pt x="6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0" y="2"/>
                  </a:lnTo>
                  <a:lnTo>
                    <a:pt x="3" y="6"/>
                  </a:lnTo>
                  <a:lnTo>
                    <a:pt x="3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53" name="Freeform 525"/>
            <p:cNvSpPr>
              <a:spLocks/>
            </p:cNvSpPr>
            <p:nvPr userDrawn="1"/>
          </p:nvSpPr>
          <p:spPr bwMode="auto">
            <a:xfrm>
              <a:off x="5051426" y="516096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3"/>
                </a:cxn>
                <a:cxn ang="0">
                  <a:pos x="2" y="5"/>
                </a:cxn>
                <a:cxn ang="0">
                  <a:pos x="2" y="5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5"/>
                </a:cxn>
                <a:cxn ang="0">
                  <a:pos x="5" y="5"/>
                </a:cxn>
                <a:cxn ang="0">
                  <a:pos x="6" y="3"/>
                </a:cxn>
                <a:cxn ang="0">
                  <a:pos x="5" y="2"/>
                </a:cxn>
                <a:cxn ang="0">
                  <a:pos x="5" y="2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3"/>
                  </a:lnTo>
                  <a:lnTo>
                    <a:pt x="2" y="5"/>
                  </a:lnTo>
                  <a:lnTo>
                    <a:pt x="2" y="5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5"/>
                  </a:lnTo>
                  <a:lnTo>
                    <a:pt x="5" y="5"/>
                  </a:lnTo>
                  <a:lnTo>
                    <a:pt x="6" y="3"/>
                  </a:lnTo>
                  <a:lnTo>
                    <a:pt x="5" y="2"/>
                  </a:lnTo>
                  <a:lnTo>
                    <a:pt x="5" y="2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54" name="Freeform 526"/>
            <p:cNvSpPr>
              <a:spLocks/>
            </p:cNvSpPr>
            <p:nvPr userDrawn="1"/>
          </p:nvSpPr>
          <p:spPr bwMode="auto">
            <a:xfrm>
              <a:off x="5051426" y="516096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3"/>
                </a:cxn>
                <a:cxn ang="0">
                  <a:pos x="2" y="5"/>
                </a:cxn>
                <a:cxn ang="0">
                  <a:pos x="2" y="5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5"/>
                </a:cxn>
                <a:cxn ang="0">
                  <a:pos x="5" y="5"/>
                </a:cxn>
                <a:cxn ang="0">
                  <a:pos x="6" y="3"/>
                </a:cxn>
                <a:cxn ang="0">
                  <a:pos x="5" y="2"/>
                </a:cxn>
                <a:cxn ang="0">
                  <a:pos x="5" y="2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3"/>
                  </a:lnTo>
                  <a:lnTo>
                    <a:pt x="2" y="5"/>
                  </a:lnTo>
                  <a:lnTo>
                    <a:pt x="2" y="5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5"/>
                  </a:lnTo>
                  <a:lnTo>
                    <a:pt x="5" y="5"/>
                  </a:lnTo>
                  <a:lnTo>
                    <a:pt x="6" y="3"/>
                  </a:lnTo>
                  <a:lnTo>
                    <a:pt x="5" y="2"/>
                  </a:lnTo>
                  <a:lnTo>
                    <a:pt x="5" y="2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55" name="Freeform 527"/>
            <p:cNvSpPr>
              <a:spLocks/>
            </p:cNvSpPr>
            <p:nvPr userDrawn="1"/>
          </p:nvSpPr>
          <p:spPr bwMode="auto">
            <a:xfrm>
              <a:off x="5356226" y="511333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3" y="2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2" y="9"/>
                </a:cxn>
                <a:cxn ang="0">
                  <a:pos x="5" y="12"/>
                </a:cxn>
                <a:cxn ang="0">
                  <a:pos x="5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9" y="11"/>
                </a:cxn>
                <a:cxn ang="0">
                  <a:pos x="12" y="7"/>
                </a:cxn>
                <a:cxn ang="0">
                  <a:pos x="12" y="7"/>
                </a:cxn>
                <a:cxn ang="0">
                  <a:pos x="11" y="4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3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9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9" y="11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1" y="4"/>
                  </a:lnTo>
                  <a:lnTo>
                    <a:pt x="8" y="0"/>
                  </a:lnTo>
                  <a:lnTo>
                    <a:pt x="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56" name="Freeform 528"/>
            <p:cNvSpPr>
              <a:spLocks/>
            </p:cNvSpPr>
            <p:nvPr userDrawn="1"/>
          </p:nvSpPr>
          <p:spPr bwMode="auto">
            <a:xfrm>
              <a:off x="5356226" y="511333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3" y="2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2" y="9"/>
                </a:cxn>
                <a:cxn ang="0">
                  <a:pos x="5" y="12"/>
                </a:cxn>
                <a:cxn ang="0">
                  <a:pos x="5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9" y="11"/>
                </a:cxn>
                <a:cxn ang="0">
                  <a:pos x="12" y="7"/>
                </a:cxn>
                <a:cxn ang="0">
                  <a:pos x="12" y="7"/>
                </a:cxn>
                <a:cxn ang="0">
                  <a:pos x="11" y="4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3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9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9" y="11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1" y="4"/>
                  </a:lnTo>
                  <a:lnTo>
                    <a:pt x="8" y="0"/>
                  </a:lnTo>
                  <a:lnTo>
                    <a:pt x="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57" name="Freeform 529"/>
            <p:cNvSpPr>
              <a:spLocks/>
            </p:cNvSpPr>
            <p:nvPr userDrawn="1"/>
          </p:nvSpPr>
          <p:spPr bwMode="auto">
            <a:xfrm>
              <a:off x="5394326" y="5132388"/>
              <a:ext cx="19050" cy="19050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5" y="0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2" y="9"/>
                </a:cxn>
                <a:cxn ang="0">
                  <a:pos x="5" y="11"/>
                </a:cxn>
                <a:cxn ang="0">
                  <a:pos x="5" y="11"/>
                </a:cxn>
                <a:cxn ang="0">
                  <a:pos x="5" y="12"/>
                </a:cxn>
                <a:cxn ang="0">
                  <a:pos x="5" y="12"/>
                </a:cxn>
                <a:cxn ang="0">
                  <a:pos x="9" y="11"/>
                </a:cxn>
                <a:cxn ang="0">
                  <a:pos x="12" y="7"/>
                </a:cxn>
                <a:cxn ang="0">
                  <a:pos x="12" y="7"/>
                </a:cxn>
                <a:cxn ang="0">
                  <a:pos x="11" y="4"/>
                </a:cxn>
                <a:cxn ang="0">
                  <a:pos x="7" y="0"/>
                </a:cxn>
                <a:cxn ang="0">
                  <a:pos x="7" y="0"/>
                </a:cxn>
                <a:cxn ang="0">
                  <a:pos x="5" y="0"/>
                </a:cxn>
              </a:cxnLst>
              <a:rect l="0" t="0" r="r" b="b"/>
              <a:pathLst>
                <a:path w="12" h="12">
                  <a:moveTo>
                    <a:pt x="5" y="0"/>
                  </a:moveTo>
                  <a:lnTo>
                    <a:pt x="5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9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9" y="11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1" y="4"/>
                  </a:lnTo>
                  <a:lnTo>
                    <a:pt x="7" y="0"/>
                  </a:lnTo>
                  <a:lnTo>
                    <a:pt x="7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58" name="Freeform 530"/>
            <p:cNvSpPr>
              <a:spLocks/>
            </p:cNvSpPr>
            <p:nvPr userDrawn="1"/>
          </p:nvSpPr>
          <p:spPr bwMode="auto">
            <a:xfrm>
              <a:off x="5394326" y="5132388"/>
              <a:ext cx="19050" cy="19050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5" y="0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2" y="9"/>
                </a:cxn>
                <a:cxn ang="0">
                  <a:pos x="5" y="11"/>
                </a:cxn>
                <a:cxn ang="0">
                  <a:pos x="5" y="11"/>
                </a:cxn>
                <a:cxn ang="0">
                  <a:pos x="5" y="12"/>
                </a:cxn>
                <a:cxn ang="0">
                  <a:pos x="5" y="12"/>
                </a:cxn>
                <a:cxn ang="0">
                  <a:pos x="9" y="11"/>
                </a:cxn>
                <a:cxn ang="0">
                  <a:pos x="12" y="7"/>
                </a:cxn>
                <a:cxn ang="0">
                  <a:pos x="12" y="7"/>
                </a:cxn>
                <a:cxn ang="0">
                  <a:pos x="11" y="4"/>
                </a:cxn>
                <a:cxn ang="0">
                  <a:pos x="7" y="0"/>
                </a:cxn>
                <a:cxn ang="0">
                  <a:pos x="7" y="0"/>
                </a:cxn>
                <a:cxn ang="0">
                  <a:pos x="5" y="0"/>
                </a:cxn>
              </a:cxnLst>
              <a:rect l="0" t="0" r="r" b="b"/>
              <a:pathLst>
                <a:path w="12" h="12">
                  <a:moveTo>
                    <a:pt x="5" y="0"/>
                  </a:moveTo>
                  <a:lnTo>
                    <a:pt x="5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9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9" y="11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1" y="4"/>
                  </a:lnTo>
                  <a:lnTo>
                    <a:pt x="7" y="0"/>
                  </a:lnTo>
                  <a:lnTo>
                    <a:pt x="7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59" name="Freeform 531"/>
            <p:cNvSpPr>
              <a:spLocks/>
            </p:cNvSpPr>
            <p:nvPr userDrawn="1"/>
          </p:nvSpPr>
          <p:spPr bwMode="auto">
            <a:xfrm>
              <a:off x="5432426" y="515143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10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8" y="12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0" y="4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10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8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0" y="4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60" name="Freeform 532"/>
            <p:cNvSpPr>
              <a:spLocks/>
            </p:cNvSpPr>
            <p:nvPr userDrawn="1"/>
          </p:nvSpPr>
          <p:spPr bwMode="auto">
            <a:xfrm>
              <a:off x="5432426" y="515143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10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8" y="12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0" y="4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10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8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0" y="4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61" name="Freeform 533"/>
            <p:cNvSpPr>
              <a:spLocks/>
            </p:cNvSpPr>
            <p:nvPr userDrawn="1"/>
          </p:nvSpPr>
          <p:spPr bwMode="auto">
            <a:xfrm>
              <a:off x="5461001" y="5189538"/>
              <a:ext cx="19050" cy="19050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5" y="0"/>
                </a:cxn>
                <a:cxn ang="0">
                  <a:pos x="3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8"/>
                </a:cxn>
                <a:cxn ang="0">
                  <a:pos x="5" y="10"/>
                </a:cxn>
                <a:cxn ang="0">
                  <a:pos x="5" y="10"/>
                </a:cxn>
                <a:cxn ang="0">
                  <a:pos x="5" y="12"/>
                </a:cxn>
                <a:cxn ang="0">
                  <a:pos x="5" y="12"/>
                </a:cxn>
                <a:cxn ang="0">
                  <a:pos x="10" y="10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4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5" y="0"/>
                </a:cxn>
              </a:cxnLst>
              <a:rect l="0" t="0" r="r" b="b"/>
              <a:pathLst>
                <a:path w="12" h="12">
                  <a:moveTo>
                    <a:pt x="5" y="0"/>
                  </a:moveTo>
                  <a:lnTo>
                    <a:pt x="5" y="0"/>
                  </a:lnTo>
                  <a:lnTo>
                    <a:pt x="3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8"/>
                  </a:lnTo>
                  <a:lnTo>
                    <a:pt x="5" y="10"/>
                  </a:lnTo>
                  <a:lnTo>
                    <a:pt x="5" y="10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10" y="10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8" y="0"/>
                  </a:lnTo>
                  <a:lnTo>
                    <a:pt x="8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62" name="Freeform 534"/>
            <p:cNvSpPr>
              <a:spLocks/>
            </p:cNvSpPr>
            <p:nvPr userDrawn="1"/>
          </p:nvSpPr>
          <p:spPr bwMode="auto">
            <a:xfrm>
              <a:off x="5461001" y="5189538"/>
              <a:ext cx="19050" cy="19050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5" y="0"/>
                </a:cxn>
                <a:cxn ang="0">
                  <a:pos x="3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8"/>
                </a:cxn>
                <a:cxn ang="0">
                  <a:pos x="5" y="10"/>
                </a:cxn>
                <a:cxn ang="0">
                  <a:pos x="5" y="10"/>
                </a:cxn>
                <a:cxn ang="0">
                  <a:pos x="5" y="12"/>
                </a:cxn>
                <a:cxn ang="0">
                  <a:pos x="5" y="12"/>
                </a:cxn>
                <a:cxn ang="0">
                  <a:pos x="10" y="10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4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5" y="0"/>
                </a:cxn>
              </a:cxnLst>
              <a:rect l="0" t="0" r="r" b="b"/>
              <a:pathLst>
                <a:path w="12" h="12">
                  <a:moveTo>
                    <a:pt x="5" y="0"/>
                  </a:moveTo>
                  <a:lnTo>
                    <a:pt x="5" y="0"/>
                  </a:lnTo>
                  <a:lnTo>
                    <a:pt x="3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8"/>
                  </a:lnTo>
                  <a:lnTo>
                    <a:pt x="5" y="10"/>
                  </a:lnTo>
                  <a:lnTo>
                    <a:pt x="5" y="10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10" y="10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8" y="0"/>
                  </a:lnTo>
                  <a:lnTo>
                    <a:pt x="8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63" name="Freeform 535"/>
            <p:cNvSpPr>
              <a:spLocks/>
            </p:cNvSpPr>
            <p:nvPr userDrawn="1"/>
          </p:nvSpPr>
          <p:spPr bwMode="auto">
            <a:xfrm>
              <a:off x="5489576" y="5227638"/>
              <a:ext cx="19050" cy="9525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5" y="0"/>
                </a:cxn>
                <a:cxn ang="0">
                  <a:pos x="3" y="0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4"/>
                </a:cxn>
                <a:cxn ang="0">
                  <a:pos x="5" y="5"/>
                </a:cxn>
                <a:cxn ang="0">
                  <a:pos x="5" y="5"/>
                </a:cxn>
                <a:cxn ang="0">
                  <a:pos x="5" y="6"/>
                </a:cxn>
                <a:cxn ang="0">
                  <a:pos x="5" y="6"/>
                </a:cxn>
                <a:cxn ang="0">
                  <a:pos x="10" y="5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0" y="2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5" y="0"/>
                </a:cxn>
              </a:cxnLst>
              <a:rect l="0" t="0" r="r" b="b"/>
              <a:pathLst>
                <a:path w="12" h="6">
                  <a:moveTo>
                    <a:pt x="5" y="0"/>
                  </a:moveTo>
                  <a:lnTo>
                    <a:pt x="5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4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6"/>
                  </a:lnTo>
                  <a:lnTo>
                    <a:pt x="5" y="6"/>
                  </a:lnTo>
                  <a:lnTo>
                    <a:pt x="10" y="5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0" y="2"/>
                  </a:lnTo>
                  <a:lnTo>
                    <a:pt x="8" y="0"/>
                  </a:lnTo>
                  <a:lnTo>
                    <a:pt x="8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64" name="Freeform 536"/>
            <p:cNvSpPr>
              <a:spLocks/>
            </p:cNvSpPr>
            <p:nvPr userDrawn="1"/>
          </p:nvSpPr>
          <p:spPr bwMode="auto">
            <a:xfrm>
              <a:off x="5489576" y="5227638"/>
              <a:ext cx="19050" cy="9525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5" y="0"/>
                </a:cxn>
                <a:cxn ang="0">
                  <a:pos x="3" y="0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4"/>
                </a:cxn>
                <a:cxn ang="0">
                  <a:pos x="5" y="5"/>
                </a:cxn>
                <a:cxn ang="0">
                  <a:pos x="5" y="5"/>
                </a:cxn>
                <a:cxn ang="0">
                  <a:pos x="5" y="6"/>
                </a:cxn>
                <a:cxn ang="0">
                  <a:pos x="5" y="6"/>
                </a:cxn>
                <a:cxn ang="0">
                  <a:pos x="10" y="5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0" y="2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5" y="0"/>
                </a:cxn>
              </a:cxnLst>
              <a:rect l="0" t="0" r="r" b="b"/>
              <a:pathLst>
                <a:path w="12" h="6">
                  <a:moveTo>
                    <a:pt x="5" y="0"/>
                  </a:moveTo>
                  <a:lnTo>
                    <a:pt x="5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4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6"/>
                  </a:lnTo>
                  <a:lnTo>
                    <a:pt x="5" y="6"/>
                  </a:lnTo>
                  <a:lnTo>
                    <a:pt x="10" y="5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0" y="2"/>
                  </a:lnTo>
                  <a:lnTo>
                    <a:pt x="8" y="0"/>
                  </a:lnTo>
                  <a:lnTo>
                    <a:pt x="8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65" name="Freeform 537"/>
            <p:cNvSpPr>
              <a:spLocks/>
            </p:cNvSpPr>
            <p:nvPr userDrawn="1"/>
          </p:nvSpPr>
          <p:spPr bwMode="auto">
            <a:xfrm>
              <a:off x="5508626" y="5265738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2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5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5"/>
                </a:cxn>
                <a:cxn ang="0">
                  <a:pos x="6" y="4"/>
                </a:cxn>
                <a:cxn ang="0">
                  <a:pos x="6" y="4"/>
                </a:cxn>
                <a:cxn ang="0">
                  <a:pos x="6" y="3"/>
                </a:cxn>
                <a:cxn ang="0">
                  <a:pos x="5" y="2"/>
                </a:cxn>
                <a:cxn ang="0">
                  <a:pos x="5" y="2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2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5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5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3"/>
                  </a:lnTo>
                  <a:lnTo>
                    <a:pt x="5" y="2"/>
                  </a:lnTo>
                  <a:lnTo>
                    <a:pt x="5" y="2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66" name="Freeform 538"/>
            <p:cNvSpPr>
              <a:spLocks/>
            </p:cNvSpPr>
            <p:nvPr userDrawn="1"/>
          </p:nvSpPr>
          <p:spPr bwMode="auto">
            <a:xfrm>
              <a:off x="5508626" y="5265738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2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5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5"/>
                </a:cxn>
                <a:cxn ang="0">
                  <a:pos x="6" y="4"/>
                </a:cxn>
                <a:cxn ang="0">
                  <a:pos x="6" y="4"/>
                </a:cxn>
                <a:cxn ang="0">
                  <a:pos x="6" y="3"/>
                </a:cxn>
                <a:cxn ang="0">
                  <a:pos x="5" y="2"/>
                </a:cxn>
                <a:cxn ang="0">
                  <a:pos x="5" y="2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2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5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5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3"/>
                  </a:lnTo>
                  <a:lnTo>
                    <a:pt x="5" y="2"/>
                  </a:lnTo>
                  <a:lnTo>
                    <a:pt x="5" y="2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67" name="Freeform 539"/>
            <p:cNvSpPr>
              <a:spLocks/>
            </p:cNvSpPr>
            <p:nvPr userDrawn="1"/>
          </p:nvSpPr>
          <p:spPr bwMode="auto">
            <a:xfrm>
              <a:off x="5518151" y="530383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3" y="0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9"/>
                </a:cxn>
                <a:cxn ang="0">
                  <a:pos x="3" y="12"/>
                </a:cxn>
                <a:cxn ang="0">
                  <a:pos x="3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9" y="9"/>
                </a:cxn>
                <a:cxn ang="0">
                  <a:pos x="12" y="6"/>
                </a:cxn>
                <a:cxn ang="0">
                  <a:pos x="12" y="6"/>
                </a:cxn>
                <a:cxn ang="0">
                  <a:pos x="9" y="3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9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9" y="9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9" y="3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68" name="Freeform 540"/>
            <p:cNvSpPr>
              <a:spLocks/>
            </p:cNvSpPr>
            <p:nvPr userDrawn="1"/>
          </p:nvSpPr>
          <p:spPr bwMode="auto">
            <a:xfrm>
              <a:off x="5518151" y="530383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3" y="0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9"/>
                </a:cxn>
                <a:cxn ang="0">
                  <a:pos x="3" y="12"/>
                </a:cxn>
                <a:cxn ang="0">
                  <a:pos x="3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9" y="9"/>
                </a:cxn>
                <a:cxn ang="0">
                  <a:pos x="12" y="6"/>
                </a:cxn>
                <a:cxn ang="0">
                  <a:pos x="12" y="6"/>
                </a:cxn>
                <a:cxn ang="0">
                  <a:pos x="9" y="3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9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9" y="9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9" y="3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69" name="Freeform 541"/>
            <p:cNvSpPr>
              <a:spLocks/>
            </p:cNvSpPr>
            <p:nvPr userDrawn="1"/>
          </p:nvSpPr>
          <p:spPr bwMode="auto">
            <a:xfrm>
              <a:off x="5527676" y="535146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6"/>
                </a:cxn>
                <a:cxn ang="0">
                  <a:pos x="6" y="4"/>
                </a:cxn>
                <a:cxn ang="0">
                  <a:pos x="6" y="4"/>
                </a:cxn>
                <a:cxn ang="0">
                  <a:pos x="5" y="2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2" y="6"/>
                  </a:lnTo>
                  <a:lnTo>
                    <a:pt x="2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6"/>
                  </a:lnTo>
                  <a:lnTo>
                    <a:pt x="6" y="4"/>
                  </a:lnTo>
                  <a:lnTo>
                    <a:pt x="6" y="4"/>
                  </a:lnTo>
                  <a:lnTo>
                    <a:pt x="5" y="2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70" name="Freeform 542"/>
            <p:cNvSpPr>
              <a:spLocks/>
            </p:cNvSpPr>
            <p:nvPr userDrawn="1"/>
          </p:nvSpPr>
          <p:spPr bwMode="auto">
            <a:xfrm>
              <a:off x="5527676" y="535146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6"/>
                </a:cxn>
                <a:cxn ang="0">
                  <a:pos x="6" y="4"/>
                </a:cxn>
                <a:cxn ang="0">
                  <a:pos x="6" y="4"/>
                </a:cxn>
                <a:cxn ang="0">
                  <a:pos x="5" y="2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2" y="6"/>
                  </a:lnTo>
                  <a:lnTo>
                    <a:pt x="2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6"/>
                  </a:lnTo>
                  <a:lnTo>
                    <a:pt x="6" y="4"/>
                  </a:lnTo>
                  <a:lnTo>
                    <a:pt x="6" y="4"/>
                  </a:lnTo>
                  <a:lnTo>
                    <a:pt x="5" y="2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71" name="Freeform 543"/>
            <p:cNvSpPr>
              <a:spLocks/>
            </p:cNvSpPr>
            <p:nvPr userDrawn="1"/>
          </p:nvSpPr>
          <p:spPr bwMode="auto">
            <a:xfrm>
              <a:off x="5518151" y="5399088"/>
              <a:ext cx="9525" cy="9525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4" y="6"/>
                </a:cxn>
                <a:cxn ang="0">
                  <a:pos x="4" y="6"/>
                </a:cxn>
                <a:cxn ang="0">
                  <a:pos x="6" y="6"/>
                </a:cxn>
                <a:cxn ang="0">
                  <a:pos x="6" y="4"/>
                </a:cxn>
                <a:cxn ang="0">
                  <a:pos x="6" y="4"/>
                </a:cxn>
                <a:cxn ang="0">
                  <a:pos x="6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</a:cxnLst>
              <a:rect l="0" t="0" r="r" b="b"/>
              <a:pathLst>
                <a:path w="6" h="6">
                  <a:moveTo>
                    <a:pt x="4" y="0"/>
                  </a:moveTo>
                  <a:lnTo>
                    <a:pt x="4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2" y="6"/>
                  </a:lnTo>
                  <a:lnTo>
                    <a:pt x="2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6" y="6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72" name="Freeform 544"/>
            <p:cNvSpPr>
              <a:spLocks/>
            </p:cNvSpPr>
            <p:nvPr userDrawn="1"/>
          </p:nvSpPr>
          <p:spPr bwMode="auto">
            <a:xfrm>
              <a:off x="5518151" y="5399088"/>
              <a:ext cx="9525" cy="9525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4" y="6"/>
                </a:cxn>
                <a:cxn ang="0">
                  <a:pos x="4" y="6"/>
                </a:cxn>
                <a:cxn ang="0">
                  <a:pos x="6" y="6"/>
                </a:cxn>
                <a:cxn ang="0">
                  <a:pos x="6" y="4"/>
                </a:cxn>
                <a:cxn ang="0">
                  <a:pos x="6" y="4"/>
                </a:cxn>
                <a:cxn ang="0">
                  <a:pos x="6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</a:cxnLst>
              <a:rect l="0" t="0" r="r" b="b"/>
              <a:pathLst>
                <a:path w="6" h="6">
                  <a:moveTo>
                    <a:pt x="4" y="0"/>
                  </a:moveTo>
                  <a:lnTo>
                    <a:pt x="4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2" y="6"/>
                  </a:lnTo>
                  <a:lnTo>
                    <a:pt x="2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6" y="6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73" name="Freeform 545"/>
            <p:cNvSpPr>
              <a:spLocks/>
            </p:cNvSpPr>
            <p:nvPr userDrawn="1"/>
          </p:nvSpPr>
          <p:spPr bwMode="auto">
            <a:xfrm>
              <a:off x="5508626" y="5437188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6" y="6"/>
                </a:cxn>
                <a:cxn ang="0">
                  <a:pos x="6" y="4"/>
                </a:cxn>
                <a:cxn ang="0">
                  <a:pos x="6" y="4"/>
                </a:cxn>
                <a:cxn ang="0">
                  <a:pos x="6" y="2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6" y="6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2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74" name="Freeform 546"/>
            <p:cNvSpPr>
              <a:spLocks/>
            </p:cNvSpPr>
            <p:nvPr userDrawn="1"/>
          </p:nvSpPr>
          <p:spPr bwMode="auto">
            <a:xfrm>
              <a:off x="5508626" y="5437188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6" y="6"/>
                </a:cxn>
                <a:cxn ang="0">
                  <a:pos x="6" y="4"/>
                </a:cxn>
                <a:cxn ang="0">
                  <a:pos x="6" y="4"/>
                </a:cxn>
                <a:cxn ang="0">
                  <a:pos x="6" y="2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6" y="6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2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75" name="Freeform 547"/>
            <p:cNvSpPr>
              <a:spLocks/>
            </p:cNvSpPr>
            <p:nvPr userDrawn="1"/>
          </p:nvSpPr>
          <p:spPr bwMode="auto">
            <a:xfrm>
              <a:off x="5308601" y="5094288"/>
              <a:ext cx="28575" cy="28575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11" y="0"/>
                </a:cxn>
                <a:cxn ang="0">
                  <a:pos x="3" y="2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3" y="14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11" y="18"/>
                </a:cxn>
                <a:cxn ang="0">
                  <a:pos x="11" y="18"/>
                </a:cxn>
                <a:cxn ang="0">
                  <a:pos x="16" y="16"/>
                </a:cxn>
                <a:cxn ang="0">
                  <a:pos x="18" y="11"/>
                </a:cxn>
                <a:cxn ang="0">
                  <a:pos x="18" y="11"/>
                </a:cxn>
                <a:cxn ang="0">
                  <a:pos x="18" y="5"/>
                </a:cxn>
                <a:cxn ang="0">
                  <a:pos x="13" y="0"/>
                </a:cxn>
                <a:cxn ang="0">
                  <a:pos x="13" y="0"/>
                </a:cxn>
                <a:cxn ang="0">
                  <a:pos x="11" y="0"/>
                </a:cxn>
              </a:cxnLst>
              <a:rect l="0" t="0" r="r" b="b"/>
              <a:pathLst>
                <a:path w="18" h="18">
                  <a:moveTo>
                    <a:pt x="11" y="0"/>
                  </a:moveTo>
                  <a:lnTo>
                    <a:pt x="11" y="0"/>
                  </a:lnTo>
                  <a:lnTo>
                    <a:pt x="3" y="2"/>
                  </a:lnTo>
                  <a:lnTo>
                    <a:pt x="0" y="7"/>
                  </a:lnTo>
                  <a:lnTo>
                    <a:pt x="0" y="7"/>
                  </a:lnTo>
                  <a:lnTo>
                    <a:pt x="3" y="14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6" y="16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5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76" name="Freeform 548"/>
            <p:cNvSpPr>
              <a:spLocks/>
            </p:cNvSpPr>
            <p:nvPr userDrawn="1"/>
          </p:nvSpPr>
          <p:spPr bwMode="auto">
            <a:xfrm>
              <a:off x="5308601" y="5094288"/>
              <a:ext cx="28575" cy="28575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11" y="0"/>
                </a:cxn>
                <a:cxn ang="0">
                  <a:pos x="3" y="2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3" y="14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11" y="18"/>
                </a:cxn>
                <a:cxn ang="0">
                  <a:pos x="11" y="18"/>
                </a:cxn>
                <a:cxn ang="0">
                  <a:pos x="16" y="16"/>
                </a:cxn>
                <a:cxn ang="0">
                  <a:pos x="18" y="11"/>
                </a:cxn>
                <a:cxn ang="0">
                  <a:pos x="18" y="11"/>
                </a:cxn>
                <a:cxn ang="0">
                  <a:pos x="18" y="5"/>
                </a:cxn>
                <a:cxn ang="0">
                  <a:pos x="13" y="0"/>
                </a:cxn>
                <a:cxn ang="0">
                  <a:pos x="13" y="0"/>
                </a:cxn>
                <a:cxn ang="0">
                  <a:pos x="11" y="0"/>
                </a:cxn>
              </a:cxnLst>
              <a:rect l="0" t="0" r="r" b="b"/>
              <a:pathLst>
                <a:path w="18" h="18">
                  <a:moveTo>
                    <a:pt x="11" y="0"/>
                  </a:moveTo>
                  <a:lnTo>
                    <a:pt x="11" y="0"/>
                  </a:lnTo>
                  <a:lnTo>
                    <a:pt x="3" y="2"/>
                  </a:lnTo>
                  <a:lnTo>
                    <a:pt x="0" y="7"/>
                  </a:lnTo>
                  <a:lnTo>
                    <a:pt x="0" y="7"/>
                  </a:lnTo>
                  <a:lnTo>
                    <a:pt x="3" y="14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6" y="16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5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77" name="Freeform 549"/>
            <p:cNvSpPr>
              <a:spLocks/>
            </p:cNvSpPr>
            <p:nvPr userDrawn="1"/>
          </p:nvSpPr>
          <p:spPr bwMode="auto">
            <a:xfrm>
              <a:off x="5270501" y="509428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0" y="9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1"/>
                </a:cxn>
                <a:cxn ang="0">
                  <a:pos x="12" y="9"/>
                </a:cxn>
                <a:cxn ang="0">
                  <a:pos x="12" y="9"/>
                </a:cxn>
                <a:cxn ang="0">
                  <a:pos x="12" y="4"/>
                </a:cxn>
                <a:cxn ang="0">
                  <a:pos x="8" y="2"/>
                </a:cxn>
                <a:cxn ang="0">
                  <a:pos x="8" y="2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9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1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2" y="4"/>
                  </a:lnTo>
                  <a:lnTo>
                    <a:pt x="8" y="2"/>
                  </a:lnTo>
                  <a:lnTo>
                    <a:pt x="8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78" name="Freeform 550"/>
            <p:cNvSpPr>
              <a:spLocks/>
            </p:cNvSpPr>
            <p:nvPr userDrawn="1"/>
          </p:nvSpPr>
          <p:spPr bwMode="auto">
            <a:xfrm>
              <a:off x="5270501" y="509428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0" y="9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1"/>
                </a:cxn>
                <a:cxn ang="0">
                  <a:pos x="12" y="9"/>
                </a:cxn>
                <a:cxn ang="0">
                  <a:pos x="12" y="9"/>
                </a:cxn>
                <a:cxn ang="0">
                  <a:pos x="12" y="4"/>
                </a:cxn>
                <a:cxn ang="0">
                  <a:pos x="8" y="2"/>
                </a:cxn>
                <a:cxn ang="0">
                  <a:pos x="8" y="2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9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1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2" y="4"/>
                  </a:lnTo>
                  <a:lnTo>
                    <a:pt x="8" y="2"/>
                  </a:lnTo>
                  <a:lnTo>
                    <a:pt x="8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79" name="Freeform 551"/>
            <p:cNvSpPr>
              <a:spLocks/>
            </p:cNvSpPr>
            <p:nvPr userDrawn="1"/>
          </p:nvSpPr>
          <p:spPr bwMode="auto">
            <a:xfrm>
              <a:off x="5222876" y="5103813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4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2" y="8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0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2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4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8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0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2"/>
                  </a:lnTo>
                  <a:lnTo>
                    <a:pt x="8" y="0"/>
                  </a:lnTo>
                  <a:lnTo>
                    <a:pt x="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80" name="Freeform 552"/>
            <p:cNvSpPr>
              <a:spLocks/>
            </p:cNvSpPr>
            <p:nvPr userDrawn="1"/>
          </p:nvSpPr>
          <p:spPr bwMode="auto">
            <a:xfrm>
              <a:off x="5222876" y="5103813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4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2" y="8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0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2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4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8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0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2"/>
                  </a:lnTo>
                  <a:lnTo>
                    <a:pt x="8" y="0"/>
                  </a:lnTo>
                  <a:lnTo>
                    <a:pt x="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81" name="Freeform 553"/>
            <p:cNvSpPr>
              <a:spLocks/>
            </p:cNvSpPr>
            <p:nvPr userDrawn="1"/>
          </p:nvSpPr>
          <p:spPr bwMode="auto">
            <a:xfrm>
              <a:off x="5184776" y="511333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0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2" y="10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2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0" y="3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0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10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0" y="3"/>
                  </a:lnTo>
                  <a:lnTo>
                    <a:pt x="8" y="0"/>
                  </a:lnTo>
                  <a:lnTo>
                    <a:pt x="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82" name="Freeform 554"/>
            <p:cNvSpPr>
              <a:spLocks/>
            </p:cNvSpPr>
            <p:nvPr userDrawn="1"/>
          </p:nvSpPr>
          <p:spPr bwMode="auto">
            <a:xfrm>
              <a:off x="5184776" y="511333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0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2" y="10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2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0" y="3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0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10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0" y="3"/>
                  </a:lnTo>
                  <a:lnTo>
                    <a:pt x="8" y="0"/>
                  </a:lnTo>
                  <a:lnTo>
                    <a:pt x="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83" name="Freeform 555"/>
            <p:cNvSpPr>
              <a:spLocks/>
            </p:cNvSpPr>
            <p:nvPr userDrawn="1"/>
          </p:nvSpPr>
          <p:spPr bwMode="auto">
            <a:xfrm>
              <a:off x="5146676" y="5132388"/>
              <a:ext cx="19050" cy="19050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3" y="0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0" y="8"/>
                </a:cxn>
                <a:cxn ang="0">
                  <a:pos x="5" y="12"/>
                </a:cxn>
                <a:cxn ang="0">
                  <a:pos x="5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10" y="10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3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</a:cxnLst>
              <a:rect l="0" t="0" r="r" b="b"/>
              <a:pathLst>
                <a:path w="12" h="12">
                  <a:moveTo>
                    <a:pt x="8" y="0"/>
                  </a:moveTo>
                  <a:lnTo>
                    <a:pt x="8" y="0"/>
                  </a:lnTo>
                  <a:lnTo>
                    <a:pt x="3" y="0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8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0" y="10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3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84" name="Freeform 556"/>
            <p:cNvSpPr>
              <a:spLocks/>
            </p:cNvSpPr>
            <p:nvPr userDrawn="1"/>
          </p:nvSpPr>
          <p:spPr bwMode="auto">
            <a:xfrm>
              <a:off x="5146676" y="5132388"/>
              <a:ext cx="19050" cy="19050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3" y="0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0" y="8"/>
                </a:cxn>
                <a:cxn ang="0">
                  <a:pos x="5" y="12"/>
                </a:cxn>
                <a:cxn ang="0">
                  <a:pos x="5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10" y="10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3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</a:cxnLst>
              <a:rect l="0" t="0" r="r" b="b"/>
              <a:pathLst>
                <a:path w="12" h="12">
                  <a:moveTo>
                    <a:pt x="8" y="0"/>
                  </a:moveTo>
                  <a:lnTo>
                    <a:pt x="8" y="0"/>
                  </a:lnTo>
                  <a:lnTo>
                    <a:pt x="3" y="0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8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0" y="10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3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85" name="Freeform 557"/>
            <p:cNvSpPr>
              <a:spLocks/>
            </p:cNvSpPr>
            <p:nvPr userDrawn="1"/>
          </p:nvSpPr>
          <p:spPr bwMode="auto">
            <a:xfrm>
              <a:off x="5108576" y="5160963"/>
              <a:ext cx="19050" cy="9525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3" y="0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5"/>
                </a:cxn>
                <a:cxn ang="0">
                  <a:pos x="6" y="6"/>
                </a:cxn>
                <a:cxn ang="0">
                  <a:pos x="6" y="6"/>
                </a:cxn>
                <a:cxn ang="0">
                  <a:pos x="6" y="6"/>
                </a:cxn>
                <a:cxn ang="0">
                  <a:pos x="6" y="6"/>
                </a:cxn>
                <a:cxn ang="0">
                  <a:pos x="12" y="6"/>
                </a:cxn>
                <a:cxn ang="0">
                  <a:pos x="12" y="5"/>
                </a:cxn>
                <a:cxn ang="0">
                  <a:pos x="12" y="5"/>
                </a:cxn>
                <a:cxn ang="0">
                  <a:pos x="12" y="2"/>
                </a:cxn>
                <a:cxn ang="0">
                  <a:pos x="9" y="0"/>
                </a:cxn>
                <a:cxn ang="0">
                  <a:pos x="9" y="0"/>
                </a:cxn>
                <a:cxn ang="0">
                  <a:pos x="6" y="0"/>
                </a:cxn>
              </a:cxnLst>
              <a:rect l="0" t="0" r="r" b="b"/>
              <a:pathLst>
                <a:path w="12" h="6">
                  <a:moveTo>
                    <a:pt x="6" y="0"/>
                  </a:moveTo>
                  <a:lnTo>
                    <a:pt x="6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5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12" y="6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12" y="2"/>
                  </a:lnTo>
                  <a:lnTo>
                    <a:pt x="9" y="0"/>
                  </a:lnTo>
                  <a:lnTo>
                    <a:pt x="9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86" name="Freeform 558"/>
            <p:cNvSpPr>
              <a:spLocks/>
            </p:cNvSpPr>
            <p:nvPr userDrawn="1"/>
          </p:nvSpPr>
          <p:spPr bwMode="auto">
            <a:xfrm>
              <a:off x="5108576" y="5160963"/>
              <a:ext cx="19050" cy="9525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3" y="0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5"/>
                </a:cxn>
                <a:cxn ang="0">
                  <a:pos x="6" y="6"/>
                </a:cxn>
                <a:cxn ang="0">
                  <a:pos x="6" y="6"/>
                </a:cxn>
                <a:cxn ang="0">
                  <a:pos x="6" y="6"/>
                </a:cxn>
                <a:cxn ang="0">
                  <a:pos x="6" y="6"/>
                </a:cxn>
                <a:cxn ang="0">
                  <a:pos x="12" y="6"/>
                </a:cxn>
                <a:cxn ang="0">
                  <a:pos x="12" y="5"/>
                </a:cxn>
                <a:cxn ang="0">
                  <a:pos x="12" y="5"/>
                </a:cxn>
                <a:cxn ang="0">
                  <a:pos x="12" y="2"/>
                </a:cxn>
                <a:cxn ang="0">
                  <a:pos x="9" y="0"/>
                </a:cxn>
                <a:cxn ang="0">
                  <a:pos x="9" y="0"/>
                </a:cxn>
                <a:cxn ang="0">
                  <a:pos x="6" y="0"/>
                </a:cxn>
              </a:cxnLst>
              <a:rect l="0" t="0" r="r" b="b"/>
              <a:pathLst>
                <a:path w="12" h="6">
                  <a:moveTo>
                    <a:pt x="6" y="0"/>
                  </a:moveTo>
                  <a:lnTo>
                    <a:pt x="6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5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12" y="6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12" y="2"/>
                  </a:lnTo>
                  <a:lnTo>
                    <a:pt x="9" y="0"/>
                  </a:lnTo>
                  <a:lnTo>
                    <a:pt x="9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87" name="Freeform 559"/>
            <p:cNvSpPr>
              <a:spLocks/>
            </p:cNvSpPr>
            <p:nvPr userDrawn="1"/>
          </p:nvSpPr>
          <p:spPr bwMode="auto">
            <a:xfrm>
              <a:off x="5080001" y="5189538"/>
              <a:ext cx="9525" cy="9525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5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4" y="6"/>
                </a:cxn>
                <a:cxn ang="0">
                  <a:pos x="4" y="6"/>
                </a:cxn>
                <a:cxn ang="0">
                  <a:pos x="6" y="5"/>
                </a:cxn>
                <a:cxn ang="0">
                  <a:pos x="6" y="3"/>
                </a:cxn>
                <a:cxn ang="0">
                  <a:pos x="6" y="3"/>
                </a:cxn>
                <a:cxn ang="0">
                  <a:pos x="6" y="2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</a:cxnLst>
              <a:rect l="0" t="0" r="r" b="b"/>
              <a:pathLst>
                <a:path w="6" h="6">
                  <a:moveTo>
                    <a:pt x="4" y="0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5"/>
                  </a:lnTo>
                  <a:lnTo>
                    <a:pt x="2" y="6"/>
                  </a:lnTo>
                  <a:lnTo>
                    <a:pt x="2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6" y="5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88" name="Freeform 560"/>
            <p:cNvSpPr>
              <a:spLocks/>
            </p:cNvSpPr>
            <p:nvPr userDrawn="1"/>
          </p:nvSpPr>
          <p:spPr bwMode="auto">
            <a:xfrm>
              <a:off x="5080001" y="5189538"/>
              <a:ext cx="9525" cy="9525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5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4" y="6"/>
                </a:cxn>
                <a:cxn ang="0">
                  <a:pos x="4" y="6"/>
                </a:cxn>
                <a:cxn ang="0">
                  <a:pos x="6" y="5"/>
                </a:cxn>
                <a:cxn ang="0">
                  <a:pos x="6" y="3"/>
                </a:cxn>
                <a:cxn ang="0">
                  <a:pos x="6" y="3"/>
                </a:cxn>
                <a:cxn ang="0">
                  <a:pos x="6" y="2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</a:cxnLst>
              <a:rect l="0" t="0" r="r" b="b"/>
              <a:pathLst>
                <a:path w="6" h="6">
                  <a:moveTo>
                    <a:pt x="4" y="0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5"/>
                  </a:lnTo>
                  <a:lnTo>
                    <a:pt x="2" y="6"/>
                  </a:lnTo>
                  <a:lnTo>
                    <a:pt x="2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6" y="5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89" name="Freeform 561"/>
            <p:cNvSpPr>
              <a:spLocks/>
            </p:cNvSpPr>
            <p:nvPr userDrawn="1"/>
          </p:nvSpPr>
          <p:spPr bwMode="auto">
            <a:xfrm>
              <a:off x="5060951" y="5227638"/>
              <a:ext cx="9525" cy="9525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2" y="2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5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4" y="6"/>
                </a:cxn>
                <a:cxn ang="0">
                  <a:pos x="4" y="6"/>
                </a:cxn>
                <a:cxn ang="0">
                  <a:pos x="6" y="6"/>
                </a:cxn>
                <a:cxn ang="0">
                  <a:pos x="6" y="5"/>
                </a:cxn>
                <a:cxn ang="0">
                  <a:pos x="6" y="5"/>
                </a:cxn>
                <a:cxn ang="0">
                  <a:pos x="6" y="2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</a:cxnLst>
              <a:rect l="0" t="0" r="r" b="b"/>
              <a:pathLst>
                <a:path w="6" h="6">
                  <a:moveTo>
                    <a:pt x="4" y="0"/>
                  </a:moveTo>
                  <a:lnTo>
                    <a:pt x="4" y="0"/>
                  </a:lnTo>
                  <a:lnTo>
                    <a:pt x="2" y="2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5"/>
                  </a:lnTo>
                  <a:lnTo>
                    <a:pt x="2" y="6"/>
                  </a:lnTo>
                  <a:lnTo>
                    <a:pt x="2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6" y="6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90" name="Freeform 562"/>
            <p:cNvSpPr>
              <a:spLocks/>
            </p:cNvSpPr>
            <p:nvPr userDrawn="1"/>
          </p:nvSpPr>
          <p:spPr bwMode="auto">
            <a:xfrm>
              <a:off x="5060951" y="5227638"/>
              <a:ext cx="9525" cy="9525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2" y="2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5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4" y="6"/>
                </a:cxn>
                <a:cxn ang="0">
                  <a:pos x="4" y="6"/>
                </a:cxn>
                <a:cxn ang="0">
                  <a:pos x="6" y="6"/>
                </a:cxn>
                <a:cxn ang="0">
                  <a:pos x="6" y="5"/>
                </a:cxn>
                <a:cxn ang="0">
                  <a:pos x="6" y="5"/>
                </a:cxn>
                <a:cxn ang="0">
                  <a:pos x="6" y="2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</a:cxnLst>
              <a:rect l="0" t="0" r="r" b="b"/>
              <a:pathLst>
                <a:path w="6" h="6">
                  <a:moveTo>
                    <a:pt x="4" y="0"/>
                  </a:moveTo>
                  <a:lnTo>
                    <a:pt x="4" y="0"/>
                  </a:lnTo>
                  <a:lnTo>
                    <a:pt x="2" y="2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5"/>
                  </a:lnTo>
                  <a:lnTo>
                    <a:pt x="2" y="6"/>
                  </a:lnTo>
                  <a:lnTo>
                    <a:pt x="2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6" y="6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91" name="Freeform 563"/>
            <p:cNvSpPr>
              <a:spLocks/>
            </p:cNvSpPr>
            <p:nvPr userDrawn="1"/>
          </p:nvSpPr>
          <p:spPr bwMode="auto">
            <a:xfrm>
              <a:off x="5041901" y="5265738"/>
              <a:ext cx="9525" cy="9525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2" y="4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4" y="6"/>
                </a:cxn>
                <a:cxn ang="0">
                  <a:pos x="4" y="6"/>
                </a:cxn>
                <a:cxn ang="0">
                  <a:pos x="6" y="6"/>
                </a:cxn>
                <a:cxn ang="0">
                  <a:pos x="6" y="4"/>
                </a:cxn>
                <a:cxn ang="0">
                  <a:pos x="6" y="4"/>
                </a:cxn>
                <a:cxn ang="0">
                  <a:pos x="6" y="2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</a:cxnLst>
              <a:rect l="0" t="0" r="r" b="b"/>
              <a:pathLst>
                <a:path w="6" h="6">
                  <a:moveTo>
                    <a:pt x="4" y="0"/>
                  </a:moveTo>
                  <a:lnTo>
                    <a:pt x="4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4"/>
                  </a:lnTo>
                  <a:lnTo>
                    <a:pt x="2" y="6"/>
                  </a:lnTo>
                  <a:lnTo>
                    <a:pt x="2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6" y="6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92" name="Freeform 564"/>
            <p:cNvSpPr>
              <a:spLocks/>
            </p:cNvSpPr>
            <p:nvPr userDrawn="1"/>
          </p:nvSpPr>
          <p:spPr bwMode="auto">
            <a:xfrm>
              <a:off x="5041901" y="5265738"/>
              <a:ext cx="9525" cy="9525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2" y="4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4" y="6"/>
                </a:cxn>
                <a:cxn ang="0">
                  <a:pos x="4" y="6"/>
                </a:cxn>
                <a:cxn ang="0">
                  <a:pos x="6" y="6"/>
                </a:cxn>
                <a:cxn ang="0">
                  <a:pos x="6" y="4"/>
                </a:cxn>
                <a:cxn ang="0">
                  <a:pos x="6" y="4"/>
                </a:cxn>
                <a:cxn ang="0">
                  <a:pos x="6" y="2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</a:cxnLst>
              <a:rect l="0" t="0" r="r" b="b"/>
              <a:pathLst>
                <a:path w="6" h="6">
                  <a:moveTo>
                    <a:pt x="4" y="0"/>
                  </a:moveTo>
                  <a:lnTo>
                    <a:pt x="4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4"/>
                  </a:lnTo>
                  <a:lnTo>
                    <a:pt x="2" y="6"/>
                  </a:lnTo>
                  <a:lnTo>
                    <a:pt x="2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6" y="6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93" name="Freeform 565"/>
            <p:cNvSpPr>
              <a:spLocks/>
            </p:cNvSpPr>
            <p:nvPr userDrawn="1"/>
          </p:nvSpPr>
          <p:spPr bwMode="auto">
            <a:xfrm>
              <a:off x="5032376" y="5303838"/>
              <a:ext cx="9525" cy="9525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6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4" y="6"/>
                </a:cxn>
                <a:cxn ang="0">
                  <a:pos x="6" y="4"/>
                </a:cxn>
                <a:cxn ang="0">
                  <a:pos x="6" y="4"/>
                </a:cxn>
                <a:cxn ang="0">
                  <a:pos x="6" y="2"/>
                </a:cxn>
                <a:cxn ang="0">
                  <a:pos x="4" y="2"/>
                </a:cxn>
                <a:cxn ang="0">
                  <a:pos x="4" y="2"/>
                </a:cxn>
                <a:cxn ang="0">
                  <a:pos x="2" y="0"/>
                </a:cxn>
              </a:cxnLst>
              <a:rect l="0" t="0" r="r" b="b"/>
              <a:pathLst>
                <a:path w="6" h="6">
                  <a:moveTo>
                    <a:pt x="2" y="0"/>
                  </a:moveTo>
                  <a:lnTo>
                    <a:pt x="2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4" y="6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94" name="Freeform 566"/>
            <p:cNvSpPr>
              <a:spLocks/>
            </p:cNvSpPr>
            <p:nvPr userDrawn="1"/>
          </p:nvSpPr>
          <p:spPr bwMode="auto">
            <a:xfrm>
              <a:off x="5032376" y="5303838"/>
              <a:ext cx="9525" cy="9525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6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4" y="6"/>
                </a:cxn>
                <a:cxn ang="0">
                  <a:pos x="6" y="4"/>
                </a:cxn>
                <a:cxn ang="0">
                  <a:pos x="6" y="4"/>
                </a:cxn>
                <a:cxn ang="0">
                  <a:pos x="6" y="2"/>
                </a:cxn>
                <a:cxn ang="0">
                  <a:pos x="4" y="2"/>
                </a:cxn>
                <a:cxn ang="0">
                  <a:pos x="4" y="2"/>
                </a:cxn>
                <a:cxn ang="0">
                  <a:pos x="2" y="0"/>
                </a:cxn>
              </a:cxnLst>
              <a:rect l="0" t="0" r="r" b="b"/>
              <a:pathLst>
                <a:path w="6" h="6">
                  <a:moveTo>
                    <a:pt x="2" y="0"/>
                  </a:moveTo>
                  <a:lnTo>
                    <a:pt x="2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4" y="6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tent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344489" y="0"/>
            <a:ext cx="9561512" cy="108874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344489" y="1484313"/>
            <a:ext cx="4500562" cy="504527"/>
          </a:xfrm>
        </p:spPr>
        <p:txBody>
          <a:bodyPr lIns="0" tIns="0" rIns="0" bIns="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200" b="1" baseline="0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344489" y="1988840"/>
            <a:ext cx="4500562" cy="4177010"/>
          </a:xfrm>
        </p:spPr>
        <p:txBody>
          <a:bodyPr lIns="0" tIns="0" rIns="0" bIns="0"/>
          <a:lstStyle>
            <a:lvl1pPr algn="l">
              <a:spcBef>
                <a:spcPts val="600"/>
              </a:spcBef>
              <a:defRPr sz="2000" baseline="0"/>
            </a:lvl1pPr>
            <a:lvl2pPr algn="l">
              <a:spcBef>
                <a:spcPts val="600"/>
              </a:spcBef>
              <a:defRPr sz="1800"/>
            </a:lvl2pPr>
            <a:lvl3pPr algn="l">
              <a:spcBef>
                <a:spcPts val="600"/>
              </a:spcBef>
              <a:defRPr sz="1600"/>
            </a:lvl3pPr>
            <a:lvl4pPr marL="1033463" indent="-228600" algn="l">
              <a:defRPr sz="1400" baseline="0"/>
            </a:lvl4pPr>
            <a:lvl5pPr marL="1350963" indent="-1905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 hasCustomPrompt="1"/>
          </p:nvPr>
        </p:nvSpPr>
        <p:spPr>
          <a:xfrm>
            <a:off x="5060952" y="1484313"/>
            <a:ext cx="4500562" cy="504527"/>
          </a:xfrm>
        </p:spPr>
        <p:txBody>
          <a:bodyPr lIns="0" tIns="0" rIns="0" bIns="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2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 hasCustomPrompt="1"/>
          </p:nvPr>
        </p:nvSpPr>
        <p:spPr>
          <a:xfrm>
            <a:off x="5060951" y="1988840"/>
            <a:ext cx="4500563" cy="4177010"/>
          </a:xfrm>
        </p:spPr>
        <p:txBody>
          <a:bodyPr lIns="0" tIns="0" rIns="0" bIns="0"/>
          <a:lstStyle>
            <a:lvl1pPr algn="l">
              <a:spcBef>
                <a:spcPts val="600"/>
              </a:spcBef>
              <a:defRPr sz="2000"/>
            </a:lvl1pPr>
            <a:lvl2pPr algn="l">
              <a:spcBef>
                <a:spcPts val="600"/>
              </a:spcBef>
              <a:defRPr sz="1800"/>
            </a:lvl2pPr>
            <a:lvl3pPr algn="l">
              <a:spcBef>
                <a:spcPts val="600"/>
              </a:spcBef>
              <a:defRPr sz="1600"/>
            </a:lvl3pPr>
            <a:lvl4pPr marL="1033463" indent="-228600" algn="l">
              <a:spcBef>
                <a:spcPts val="600"/>
              </a:spcBef>
              <a:defRPr sz="1400" baseline="0"/>
            </a:lvl4pPr>
            <a:lvl5pPr marL="1350963" indent="-1905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344489" y="0"/>
            <a:ext cx="9561512" cy="108813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1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6579185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2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2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9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221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0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221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1720" y="0"/>
            <a:ext cx="9907720" cy="3328988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3670551">
                <a:moveTo>
                  <a:pt x="2188" y="0"/>
                </a:moveTo>
                <a:lnTo>
                  <a:pt x="10562072" y="1"/>
                </a:lnTo>
                <a:cubicBezTo>
                  <a:pt x="10562585" y="67601"/>
                  <a:pt x="10562411" y="2145306"/>
                  <a:pt x="10561157" y="2188721"/>
                </a:cubicBezTo>
                <a:cubicBezTo>
                  <a:pt x="10083761" y="2860730"/>
                  <a:pt x="9705180" y="2870806"/>
                  <a:pt x="9288594" y="2865486"/>
                </a:cubicBezTo>
                <a:lnTo>
                  <a:pt x="2317558" y="2871895"/>
                </a:lnTo>
                <a:cubicBezTo>
                  <a:pt x="1740344" y="2905037"/>
                  <a:pt x="1372498" y="3207729"/>
                  <a:pt x="1180889" y="3670551"/>
                </a:cubicBezTo>
                <a:cubicBezTo>
                  <a:pt x="882535" y="2966774"/>
                  <a:pt x="278640" y="2885570"/>
                  <a:pt x="0" y="2886448"/>
                </a:cubicBezTo>
                <a:cubicBezTo>
                  <a:pt x="2067" y="2850935"/>
                  <a:pt x="3460" y="95582"/>
                  <a:pt x="2188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14400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705190"/>
            <a:ext cx="9906000" cy="1143240"/>
          </a:xfrm>
          <a:prstGeom prst="rect">
            <a:avLst/>
          </a:prstGeom>
        </p:spPr>
        <p:txBody>
          <a:bodyPr lIns="330588" tIns="33059" rIns="33059" bIns="33059"/>
          <a:lstStyle>
            <a:lvl1pPr algn="l">
              <a:defRPr sz="36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4596" y="1847850"/>
            <a:ext cx="7862888" cy="307777"/>
          </a:xfrm>
        </p:spPr>
        <p:txBody>
          <a:bodyPr/>
          <a:lstStyle>
            <a:lvl1pPr marL="0" indent="0">
              <a:buNone/>
              <a:defRPr sz="20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7"/>
          <p:cNvSpPr/>
          <p:nvPr userDrawn="1">
            <p:custDataLst>
              <p:tags r:id="rId1"/>
            </p:custDataLst>
          </p:nvPr>
        </p:nvSpPr>
        <p:spPr bwMode="auto">
          <a:xfrm flipV="1">
            <a:off x="-1176" y="3384922"/>
            <a:ext cx="9907177" cy="347308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8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3" y="4699008"/>
            <a:ext cx="9906000" cy="899319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36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935570" y="5598327"/>
            <a:ext cx="8186209" cy="307777"/>
          </a:xfrm>
        </p:spPr>
        <p:txBody>
          <a:bodyPr/>
          <a:lstStyle>
            <a:lvl1pPr marL="0" indent="0">
              <a:buNone/>
              <a:defRPr sz="20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able of Content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344489" y="0"/>
            <a:ext cx="9561512" cy="1088136"/>
          </a:xfrm>
        </p:spPr>
        <p:txBody>
          <a:bodyPr tIns="0" anchor="ctr" anchorCtr="0"/>
          <a:lstStyle>
            <a:lvl1pPr>
              <a:defRPr b="0" cap="small" baseline="0"/>
            </a:lvl1pPr>
          </a:lstStyle>
          <a:p>
            <a:r>
              <a:rPr lang="en-US" noProof="0" dirty="0"/>
              <a:t>Click to edit title styl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44489" y="1484314"/>
            <a:ext cx="9217025" cy="4645025"/>
          </a:xfrm>
        </p:spPr>
        <p:txBody>
          <a:bodyPr tIns="0" bIns="0"/>
          <a:lstStyle>
            <a:lvl1pPr marL="228600" indent="-228600">
              <a:spcBef>
                <a:spcPts val="600"/>
              </a:spcBef>
              <a:defRPr/>
            </a:lvl1pPr>
            <a:lvl2pPr>
              <a:spcBef>
                <a:spcPts val="600"/>
              </a:spcBef>
              <a:defRPr/>
            </a:lvl2pPr>
            <a:lvl3pPr>
              <a:buNone/>
              <a:defRPr/>
            </a:lvl3pPr>
            <a:lvl4pPr>
              <a:buNone/>
              <a:defRPr/>
            </a:lvl4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</p:txBody>
      </p:sp>
      <p:grpSp>
        <p:nvGrpSpPr>
          <p:cNvPr id="5" name="Groupe 149"/>
          <p:cNvGrpSpPr/>
          <p:nvPr userDrawn="1"/>
        </p:nvGrpSpPr>
        <p:grpSpPr>
          <a:xfrm rot="3755081">
            <a:off x="6027608" y="1590882"/>
            <a:ext cx="3859573" cy="3721283"/>
            <a:chOff x="4111623" y="2568574"/>
            <a:chExt cx="3898898" cy="3759198"/>
          </a:xfrm>
          <a:solidFill>
            <a:schemeClr val="bg1">
              <a:lumMod val="85000"/>
            </a:schemeClr>
          </a:solidFill>
        </p:grpSpPr>
        <p:grpSp>
          <p:nvGrpSpPr>
            <p:cNvPr id="6" name="Groupe 577"/>
            <p:cNvGrpSpPr/>
            <p:nvPr userDrawn="1"/>
          </p:nvGrpSpPr>
          <p:grpSpPr>
            <a:xfrm>
              <a:off x="4111623" y="2568574"/>
              <a:ext cx="3898898" cy="3759198"/>
              <a:chOff x="4111625" y="2568575"/>
              <a:chExt cx="3898900" cy="3759200"/>
            </a:xfrm>
            <a:grpFill/>
          </p:grpSpPr>
          <p:sp>
            <p:nvSpPr>
              <p:cNvPr id="369" name="Freeform 5"/>
              <p:cNvSpPr>
                <a:spLocks/>
              </p:cNvSpPr>
              <p:nvPr userDrawn="1"/>
            </p:nvSpPr>
            <p:spPr bwMode="auto">
              <a:xfrm>
                <a:off x="7366000" y="3276600"/>
                <a:ext cx="193675" cy="193675"/>
              </a:xfrm>
              <a:custGeom>
                <a:avLst/>
                <a:gdLst/>
                <a:ahLst/>
                <a:cxnLst>
                  <a:cxn ang="0">
                    <a:pos x="62" y="0"/>
                  </a:cxn>
                  <a:cxn ang="0">
                    <a:pos x="62" y="0"/>
                  </a:cxn>
                  <a:cxn ang="0">
                    <a:pos x="50" y="0"/>
                  </a:cxn>
                  <a:cxn ang="0">
                    <a:pos x="38" y="4"/>
                  </a:cxn>
                  <a:cxn ang="0">
                    <a:pos x="28" y="10"/>
                  </a:cxn>
                  <a:cxn ang="0">
                    <a:pos x="18" y="18"/>
                  </a:cxn>
                  <a:cxn ang="0">
                    <a:pos x="18" y="18"/>
                  </a:cxn>
                  <a:cxn ang="0">
                    <a:pos x="10" y="28"/>
                  </a:cxn>
                  <a:cxn ang="0">
                    <a:pos x="6" y="38"/>
                  </a:cxn>
                  <a:cxn ang="0">
                    <a:pos x="2" y="48"/>
                  </a:cxn>
                  <a:cxn ang="0">
                    <a:pos x="0" y="60"/>
                  </a:cxn>
                  <a:cxn ang="0">
                    <a:pos x="2" y="72"/>
                  </a:cxn>
                  <a:cxn ang="0">
                    <a:pos x="6" y="84"/>
                  </a:cxn>
                  <a:cxn ang="0">
                    <a:pos x="10" y="94"/>
                  </a:cxn>
                  <a:cxn ang="0">
                    <a:pos x="18" y="104"/>
                  </a:cxn>
                  <a:cxn ang="0">
                    <a:pos x="18" y="104"/>
                  </a:cxn>
                  <a:cxn ang="0">
                    <a:pos x="28" y="112"/>
                  </a:cxn>
                  <a:cxn ang="0">
                    <a:pos x="38" y="116"/>
                  </a:cxn>
                  <a:cxn ang="0">
                    <a:pos x="50" y="120"/>
                  </a:cxn>
                  <a:cxn ang="0">
                    <a:pos x="62" y="122"/>
                  </a:cxn>
                  <a:cxn ang="0">
                    <a:pos x="62" y="122"/>
                  </a:cxn>
                  <a:cxn ang="0">
                    <a:pos x="74" y="120"/>
                  </a:cxn>
                  <a:cxn ang="0">
                    <a:pos x="84" y="116"/>
                  </a:cxn>
                  <a:cxn ang="0">
                    <a:pos x="94" y="112"/>
                  </a:cxn>
                  <a:cxn ang="0">
                    <a:pos x="104" y="104"/>
                  </a:cxn>
                  <a:cxn ang="0">
                    <a:pos x="104" y="104"/>
                  </a:cxn>
                  <a:cxn ang="0">
                    <a:pos x="112" y="94"/>
                  </a:cxn>
                  <a:cxn ang="0">
                    <a:pos x="118" y="84"/>
                  </a:cxn>
                  <a:cxn ang="0">
                    <a:pos x="122" y="72"/>
                  </a:cxn>
                  <a:cxn ang="0">
                    <a:pos x="122" y="60"/>
                  </a:cxn>
                  <a:cxn ang="0">
                    <a:pos x="122" y="48"/>
                  </a:cxn>
                  <a:cxn ang="0">
                    <a:pos x="118" y="38"/>
                  </a:cxn>
                  <a:cxn ang="0">
                    <a:pos x="112" y="28"/>
                  </a:cxn>
                  <a:cxn ang="0">
                    <a:pos x="104" y="18"/>
                  </a:cxn>
                  <a:cxn ang="0">
                    <a:pos x="104" y="18"/>
                  </a:cxn>
                  <a:cxn ang="0">
                    <a:pos x="94" y="10"/>
                  </a:cxn>
                  <a:cxn ang="0">
                    <a:pos x="84" y="4"/>
                  </a:cxn>
                  <a:cxn ang="0">
                    <a:pos x="74" y="0"/>
                  </a:cxn>
                  <a:cxn ang="0">
                    <a:pos x="62" y="0"/>
                  </a:cxn>
                </a:cxnLst>
                <a:rect l="0" t="0" r="r" b="b"/>
                <a:pathLst>
                  <a:path w="122" h="122">
                    <a:moveTo>
                      <a:pt x="62" y="0"/>
                    </a:moveTo>
                    <a:lnTo>
                      <a:pt x="62" y="0"/>
                    </a:lnTo>
                    <a:lnTo>
                      <a:pt x="50" y="0"/>
                    </a:lnTo>
                    <a:lnTo>
                      <a:pt x="38" y="4"/>
                    </a:lnTo>
                    <a:lnTo>
                      <a:pt x="28" y="10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0" y="28"/>
                    </a:lnTo>
                    <a:lnTo>
                      <a:pt x="6" y="38"/>
                    </a:lnTo>
                    <a:lnTo>
                      <a:pt x="2" y="48"/>
                    </a:lnTo>
                    <a:lnTo>
                      <a:pt x="0" y="60"/>
                    </a:lnTo>
                    <a:lnTo>
                      <a:pt x="2" y="72"/>
                    </a:lnTo>
                    <a:lnTo>
                      <a:pt x="6" y="84"/>
                    </a:lnTo>
                    <a:lnTo>
                      <a:pt x="10" y="94"/>
                    </a:lnTo>
                    <a:lnTo>
                      <a:pt x="18" y="104"/>
                    </a:lnTo>
                    <a:lnTo>
                      <a:pt x="18" y="104"/>
                    </a:lnTo>
                    <a:lnTo>
                      <a:pt x="28" y="112"/>
                    </a:lnTo>
                    <a:lnTo>
                      <a:pt x="38" y="116"/>
                    </a:lnTo>
                    <a:lnTo>
                      <a:pt x="50" y="120"/>
                    </a:lnTo>
                    <a:lnTo>
                      <a:pt x="62" y="122"/>
                    </a:lnTo>
                    <a:lnTo>
                      <a:pt x="62" y="122"/>
                    </a:lnTo>
                    <a:lnTo>
                      <a:pt x="74" y="120"/>
                    </a:lnTo>
                    <a:lnTo>
                      <a:pt x="84" y="116"/>
                    </a:lnTo>
                    <a:lnTo>
                      <a:pt x="94" y="112"/>
                    </a:lnTo>
                    <a:lnTo>
                      <a:pt x="104" y="104"/>
                    </a:lnTo>
                    <a:lnTo>
                      <a:pt x="104" y="104"/>
                    </a:lnTo>
                    <a:lnTo>
                      <a:pt x="112" y="94"/>
                    </a:lnTo>
                    <a:lnTo>
                      <a:pt x="118" y="84"/>
                    </a:lnTo>
                    <a:lnTo>
                      <a:pt x="122" y="72"/>
                    </a:lnTo>
                    <a:lnTo>
                      <a:pt x="122" y="60"/>
                    </a:lnTo>
                    <a:lnTo>
                      <a:pt x="122" y="48"/>
                    </a:lnTo>
                    <a:lnTo>
                      <a:pt x="118" y="38"/>
                    </a:lnTo>
                    <a:lnTo>
                      <a:pt x="112" y="28"/>
                    </a:lnTo>
                    <a:lnTo>
                      <a:pt x="104" y="18"/>
                    </a:lnTo>
                    <a:lnTo>
                      <a:pt x="104" y="18"/>
                    </a:lnTo>
                    <a:lnTo>
                      <a:pt x="94" y="10"/>
                    </a:lnTo>
                    <a:lnTo>
                      <a:pt x="84" y="4"/>
                    </a:lnTo>
                    <a:lnTo>
                      <a:pt x="74" y="0"/>
                    </a:lnTo>
                    <a:lnTo>
                      <a:pt x="6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70" name="Freeform 6"/>
              <p:cNvSpPr>
                <a:spLocks/>
              </p:cNvSpPr>
              <p:nvPr userDrawn="1"/>
            </p:nvSpPr>
            <p:spPr bwMode="auto">
              <a:xfrm>
                <a:off x="7366000" y="3276600"/>
                <a:ext cx="193675" cy="193675"/>
              </a:xfrm>
              <a:custGeom>
                <a:avLst/>
                <a:gdLst/>
                <a:ahLst/>
                <a:cxnLst>
                  <a:cxn ang="0">
                    <a:pos x="62" y="0"/>
                  </a:cxn>
                  <a:cxn ang="0">
                    <a:pos x="62" y="0"/>
                  </a:cxn>
                  <a:cxn ang="0">
                    <a:pos x="50" y="0"/>
                  </a:cxn>
                  <a:cxn ang="0">
                    <a:pos x="38" y="4"/>
                  </a:cxn>
                  <a:cxn ang="0">
                    <a:pos x="28" y="10"/>
                  </a:cxn>
                  <a:cxn ang="0">
                    <a:pos x="18" y="18"/>
                  </a:cxn>
                  <a:cxn ang="0">
                    <a:pos x="18" y="18"/>
                  </a:cxn>
                  <a:cxn ang="0">
                    <a:pos x="10" y="28"/>
                  </a:cxn>
                  <a:cxn ang="0">
                    <a:pos x="6" y="38"/>
                  </a:cxn>
                  <a:cxn ang="0">
                    <a:pos x="2" y="48"/>
                  </a:cxn>
                  <a:cxn ang="0">
                    <a:pos x="0" y="60"/>
                  </a:cxn>
                  <a:cxn ang="0">
                    <a:pos x="2" y="72"/>
                  </a:cxn>
                  <a:cxn ang="0">
                    <a:pos x="6" y="84"/>
                  </a:cxn>
                  <a:cxn ang="0">
                    <a:pos x="10" y="94"/>
                  </a:cxn>
                  <a:cxn ang="0">
                    <a:pos x="18" y="104"/>
                  </a:cxn>
                  <a:cxn ang="0">
                    <a:pos x="18" y="104"/>
                  </a:cxn>
                  <a:cxn ang="0">
                    <a:pos x="28" y="112"/>
                  </a:cxn>
                  <a:cxn ang="0">
                    <a:pos x="38" y="116"/>
                  </a:cxn>
                  <a:cxn ang="0">
                    <a:pos x="50" y="120"/>
                  </a:cxn>
                  <a:cxn ang="0">
                    <a:pos x="62" y="122"/>
                  </a:cxn>
                  <a:cxn ang="0">
                    <a:pos x="62" y="122"/>
                  </a:cxn>
                  <a:cxn ang="0">
                    <a:pos x="74" y="120"/>
                  </a:cxn>
                  <a:cxn ang="0">
                    <a:pos x="84" y="116"/>
                  </a:cxn>
                  <a:cxn ang="0">
                    <a:pos x="94" y="112"/>
                  </a:cxn>
                  <a:cxn ang="0">
                    <a:pos x="104" y="104"/>
                  </a:cxn>
                  <a:cxn ang="0">
                    <a:pos x="104" y="104"/>
                  </a:cxn>
                  <a:cxn ang="0">
                    <a:pos x="112" y="94"/>
                  </a:cxn>
                  <a:cxn ang="0">
                    <a:pos x="118" y="84"/>
                  </a:cxn>
                  <a:cxn ang="0">
                    <a:pos x="122" y="72"/>
                  </a:cxn>
                  <a:cxn ang="0">
                    <a:pos x="122" y="60"/>
                  </a:cxn>
                  <a:cxn ang="0">
                    <a:pos x="122" y="48"/>
                  </a:cxn>
                  <a:cxn ang="0">
                    <a:pos x="118" y="38"/>
                  </a:cxn>
                  <a:cxn ang="0">
                    <a:pos x="112" y="28"/>
                  </a:cxn>
                  <a:cxn ang="0">
                    <a:pos x="104" y="18"/>
                  </a:cxn>
                  <a:cxn ang="0">
                    <a:pos x="104" y="18"/>
                  </a:cxn>
                  <a:cxn ang="0">
                    <a:pos x="94" y="10"/>
                  </a:cxn>
                  <a:cxn ang="0">
                    <a:pos x="84" y="4"/>
                  </a:cxn>
                  <a:cxn ang="0">
                    <a:pos x="74" y="0"/>
                  </a:cxn>
                  <a:cxn ang="0">
                    <a:pos x="62" y="0"/>
                  </a:cxn>
                </a:cxnLst>
                <a:rect l="0" t="0" r="r" b="b"/>
                <a:pathLst>
                  <a:path w="122" h="122">
                    <a:moveTo>
                      <a:pt x="62" y="0"/>
                    </a:moveTo>
                    <a:lnTo>
                      <a:pt x="62" y="0"/>
                    </a:lnTo>
                    <a:lnTo>
                      <a:pt x="50" y="0"/>
                    </a:lnTo>
                    <a:lnTo>
                      <a:pt x="38" y="4"/>
                    </a:lnTo>
                    <a:lnTo>
                      <a:pt x="28" y="10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0" y="28"/>
                    </a:lnTo>
                    <a:lnTo>
                      <a:pt x="6" y="38"/>
                    </a:lnTo>
                    <a:lnTo>
                      <a:pt x="2" y="48"/>
                    </a:lnTo>
                    <a:lnTo>
                      <a:pt x="0" y="60"/>
                    </a:lnTo>
                    <a:lnTo>
                      <a:pt x="2" y="72"/>
                    </a:lnTo>
                    <a:lnTo>
                      <a:pt x="6" y="84"/>
                    </a:lnTo>
                    <a:lnTo>
                      <a:pt x="10" y="94"/>
                    </a:lnTo>
                    <a:lnTo>
                      <a:pt x="18" y="104"/>
                    </a:lnTo>
                    <a:lnTo>
                      <a:pt x="18" y="104"/>
                    </a:lnTo>
                    <a:lnTo>
                      <a:pt x="28" y="112"/>
                    </a:lnTo>
                    <a:lnTo>
                      <a:pt x="38" y="116"/>
                    </a:lnTo>
                    <a:lnTo>
                      <a:pt x="50" y="120"/>
                    </a:lnTo>
                    <a:lnTo>
                      <a:pt x="62" y="122"/>
                    </a:lnTo>
                    <a:lnTo>
                      <a:pt x="62" y="122"/>
                    </a:lnTo>
                    <a:lnTo>
                      <a:pt x="74" y="120"/>
                    </a:lnTo>
                    <a:lnTo>
                      <a:pt x="84" y="116"/>
                    </a:lnTo>
                    <a:lnTo>
                      <a:pt x="94" y="112"/>
                    </a:lnTo>
                    <a:lnTo>
                      <a:pt x="104" y="104"/>
                    </a:lnTo>
                    <a:lnTo>
                      <a:pt x="104" y="104"/>
                    </a:lnTo>
                    <a:lnTo>
                      <a:pt x="112" y="94"/>
                    </a:lnTo>
                    <a:lnTo>
                      <a:pt x="118" y="84"/>
                    </a:lnTo>
                    <a:lnTo>
                      <a:pt x="122" y="72"/>
                    </a:lnTo>
                    <a:lnTo>
                      <a:pt x="122" y="60"/>
                    </a:lnTo>
                    <a:lnTo>
                      <a:pt x="122" y="48"/>
                    </a:lnTo>
                    <a:lnTo>
                      <a:pt x="118" y="38"/>
                    </a:lnTo>
                    <a:lnTo>
                      <a:pt x="112" y="28"/>
                    </a:lnTo>
                    <a:lnTo>
                      <a:pt x="104" y="18"/>
                    </a:lnTo>
                    <a:lnTo>
                      <a:pt x="104" y="18"/>
                    </a:lnTo>
                    <a:lnTo>
                      <a:pt x="94" y="10"/>
                    </a:lnTo>
                    <a:lnTo>
                      <a:pt x="84" y="4"/>
                    </a:lnTo>
                    <a:lnTo>
                      <a:pt x="74" y="0"/>
                    </a:lnTo>
                    <a:lnTo>
                      <a:pt x="6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71" name="Freeform 7"/>
              <p:cNvSpPr>
                <a:spLocks/>
              </p:cNvSpPr>
              <p:nvPr userDrawn="1"/>
            </p:nvSpPr>
            <p:spPr bwMode="auto">
              <a:xfrm>
                <a:off x="7585075" y="3581400"/>
                <a:ext cx="171450" cy="174625"/>
              </a:xfrm>
              <a:custGeom>
                <a:avLst/>
                <a:gdLst/>
                <a:ahLst/>
                <a:cxnLst>
                  <a:cxn ang="0">
                    <a:pos x="54" y="0"/>
                  </a:cxn>
                  <a:cxn ang="0">
                    <a:pos x="54" y="0"/>
                  </a:cxn>
                  <a:cxn ang="0">
                    <a:pos x="44" y="2"/>
                  </a:cxn>
                  <a:cxn ang="0">
                    <a:pos x="34" y="4"/>
                  </a:cxn>
                  <a:cxn ang="0">
                    <a:pos x="24" y="10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8" y="24"/>
                  </a:cxn>
                  <a:cxn ang="0">
                    <a:pos x="4" y="34"/>
                  </a:cxn>
                  <a:cxn ang="0">
                    <a:pos x="0" y="44"/>
                  </a:cxn>
                  <a:cxn ang="0">
                    <a:pos x="0" y="54"/>
                  </a:cxn>
                  <a:cxn ang="0">
                    <a:pos x="0" y="66"/>
                  </a:cxn>
                  <a:cxn ang="0">
                    <a:pos x="4" y="76"/>
                  </a:cxn>
                  <a:cxn ang="0">
                    <a:pos x="8" y="84"/>
                  </a:cxn>
                  <a:cxn ang="0">
                    <a:pos x="16" y="94"/>
                  </a:cxn>
                  <a:cxn ang="0">
                    <a:pos x="16" y="94"/>
                  </a:cxn>
                  <a:cxn ang="0">
                    <a:pos x="24" y="100"/>
                  </a:cxn>
                  <a:cxn ang="0">
                    <a:pos x="34" y="106"/>
                  </a:cxn>
                  <a:cxn ang="0">
                    <a:pos x="44" y="108"/>
                  </a:cxn>
                  <a:cxn ang="0">
                    <a:pos x="54" y="110"/>
                  </a:cxn>
                  <a:cxn ang="0">
                    <a:pos x="54" y="110"/>
                  </a:cxn>
                  <a:cxn ang="0">
                    <a:pos x="64" y="108"/>
                  </a:cxn>
                  <a:cxn ang="0">
                    <a:pos x="74" y="106"/>
                  </a:cxn>
                  <a:cxn ang="0">
                    <a:pos x="84" y="100"/>
                  </a:cxn>
                  <a:cxn ang="0">
                    <a:pos x="92" y="94"/>
                  </a:cxn>
                  <a:cxn ang="0">
                    <a:pos x="92" y="94"/>
                  </a:cxn>
                  <a:cxn ang="0">
                    <a:pos x="100" y="84"/>
                  </a:cxn>
                  <a:cxn ang="0">
                    <a:pos x="104" y="76"/>
                  </a:cxn>
                  <a:cxn ang="0">
                    <a:pos x="108" y="66"/>
                  </a:cxn>
                  <a:cxn ang="0">
                    <a:pos x="108" y="54"/>
                  </a:cxn>
                  <a:cxn ang="0">
                    <a:pos x="108" y="44"/>
                  </a:cxn>
                  <a:cxn ang="0">
                    <a:pos x="104" y="34"/>
                  </a:cxn>
                  <a:cxn ang="0">
                    <a:pos x="100" y="24"/>
                  </a:cxn>
                  <a:cxn ang="0">
                    <a:pos x="92" y="16"/>
                  </a:cxn>
                  <a:cxn ang="0">
                    <a:pos x="92" y="16"/>
                  </a:cxn>
                  <a:cxn ang="0">
                    <a:pos x="84" y="10"/>
                  </a:cxn>
                  <a:cxn ang="0">
                    <a:pos x="74" y="4"/>
                  </a:cxn>
                  <a:cxn ang="0">
                    <a:pos x="64" y="2"/>
                  </a:cxn>
                  <a:cxn ang="0">
                    <a:pos x="54" y="0"/>
                  </a:cxn>
                </a:cxnLst>
                <a:rect l="0" t="0" r="r" b="b"/>
                <a:pathLst>
                  <a:path w="108" h="110">
                    <a:moveTo>
                      <a:pt x="54" y="0"/>
                    </a:moveTo>
                    <a:lnTo>
                      <a:pt x="54" y="0"/>
                    </a:lnTo>
                    <a:lnTo>
                      <a:pt x="44" y="2"/>
                    </a:lnTo>
                    <a:lnTo>
                      <a:pt x="34" y="4"/>
                    </a:lnTo>
                    <a:lnTo>
                      <a:pt x="24" y="10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8" y="24"/>
                    </a:lnTo>
                    <a:lnTo>
                      <a:pt x="4" y="34"/>
                    </a:lnTo>
                    <a:lnTo>
                      <a:pt x="0" y="44"/>
                    </a:lnTo>
                    <a:lnTo>
                      <a:pt x="0" y="54"/>
                    </a:lnTo>
                    <a:lnTo>
                      <a:pt x="0" y="66"/>
                    </a:lnTo>
                    <a:lnTo>
                      <a:pt x="4" y="76"/>
                    </a:lnTo>
                    <a:lnTo>
                      <a:pt x="8" y="84"/>
                    </a:lnTo>
                    <a:lnTo>
                      <a:pt x="16" y="94"/>
                    </a:lnTo>
                    <a:lnTo>
                      <a:pt x="16" y="94"/>
                    </a:lnTo>
                    <a:lnTo>
                      <a:pt x="24" y="100"/>
                    </a:lnTo>
                    <a:lnTo>
                      <a:pt x="34" y="106"/>
                    </a:lnTo>
                    <a:lnTo>
                      <a:pt x="44" y="108"/>
                    </a:lnTo>
                    <a:lnTo>
                      <a:pt x="54" y="110"/>
                    </a:lnTo>
                    <a:lnTo>
                      <a:pt x="54" y="110"/>
                    </a:lnTo>
                    <a:lnTo>
                      <a:pt x="64" y="108"/>
                    </a:lnTo>
                    <a:lnTo>
                      <a:pt x="74" y="106"/>
                    </a:lnTo>
                    <a:lnTo>
                      <a:pt x="84" y="100"/>
                    </a:lnTo>
                    <a:lnTo>
                      <a:pt x="92" y="94"/>
                    </a:lnTo>
                    <a:lnTo>
                      <a:pt x="92" y="94"/>
                    </a:lnTo>
                    <a:lnTo>
                      <a:pt x="100" y="84"/>
                    </a:lnTo>
                    <a:lnTo>
                      <a:pt x="104" y="76"/>
                    </a:lnTo>
                    <a:lnTo>
                      <a:pt x="108" y="66"/>
                    </a:lnTo>
                    <a:lnTo>
                      <a:pt x="108" y="54"/>
                    </a:lnTo>
                    <a:lnTo>
                      <a:pt x="108" y="44"/>
                    </a:lnTo>
                    <a:lnTo>
                      <a:pt x="104" y="34"/>
                    </a:lnTo>
                    <a:lnTo>
                      <a:pt x="100" y="24"/>
                    </a:lnTo>
                    <a:lnTo>
                      <a:pt x="92" y="16"/>
                    </a:lnTo>
                    <a:lnTo>
                      <a:pt x="92" y="16"/>
                    </a:lnTo>
                    <a:lnTo>
                      <a:pt x="84" y="10"/>
                    </a:lnTo>
                    <a:lnTo>
                      <a:pt x="74" y="4"/>
                    </a:lnTo>
                    <a:lnTo>
                      <a:pt x="64" y="2"/>
                    </a:lnTo>
                    <a:lnTo>
                      <a:pt x="5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72" name="Freeform 8"/>
              <p:cNvSpPr>
                <a:spLocks/>
              </p:cNvSpPr>
              <p:nvPr userDrawn="1"/>
            </p:nvSpPr>
            <p:spPr bwMode="auto">
              <a:xfrm>
                <a:off x="7585075" y="3581400"/>
                <a:ext cx="171450" cy="174625"/>
              </a:xfrm>
              <a:custGeom>
                <a:avLst/>
                <a:gdLst/>
                <a:ahLst/>
                <a:cxnLst>
                  <a:cxn ang="0">
                    <a:pos x="54" y="0"/>
                  </a:cxn>
                  <a:cxn ang="0">
                    <a:pos x="54" y="0"/>
                  </a:cxn>
                  <a:cxn ang="0">
                    <a:pos x="44" y="2"/>
                  </a:cxn>
                  <a:cxn ang="0">
                    <a:pos x="34" y="4"/>
                  </a:cxn>
                  <a:cxn ang="0">
                    <a:pos x="24" y="10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8" y="24"/>
                  </a:cxn>
                  <a:cxn ang="0">
                    <a:pos x="4" y="34"/>
                  </a:cxn>
                  <a:cxn ang="0">
                    <a:pos x="0" y="44"/>
                  </a:cxn>
                  <a:cxn ang="0">
                    <a:pos x="0" y="54"/>
                  </a:cxn>
                  <a:cxn ang="0">
                    <a:pos x="0" y="66"/>
                  </a:cxn>
                  <a:cxn ang="0">
                    <a:pos x="4" y="76"/>
                  </a:cxn>
                  <a:cxn ang="0">
                    <a:pos x="8" y="84"/>
                  </a:cxn>
                  <a:cxn ang="0">
                    <a:pos x="16" y="94"/>
                  </a:cxn>
                  <a:cxn ang="0">
                    <a:pos x="16" y="94"/>
                  </a:cxn>
                  <a:cxn ang="0">
                    <a:pos x="24" y="100"/>
                  </a:cxn>
                  <a:cxn ang="0">
                    <a:pos x="34" y="106"/>
                  </a:cxn>
                  <a:cxn ang="0">
                    <a:pos x="44" y="108"/>
                  </a:cxn>
                  <a:cxn ang="0">
                    <a:pos x="54" y="110"/>
                  </a:cxn>
                  <a:cxn ang="0">
                    <a:pos x="54" y="110"/>
                  </a:cxn>
                  <a:cxn ang="0">
                    <a:pos x="64" y="108"/>
                  </a:cxn>
                  <a:cxn ang="0">
                    <a:pos x="74" y="106"/>
                  </a:cxn>
                  <a:cxn ang="0">
                    <a:pos x="84" y="100"/>
                  </a:cxn>
                  <a:cxn ang="0">
                    <a:pos x="92" y="94"/>
                  </a:cxn>
                  <a:cxn ang="0">
                    <a:pos x="92" y="94"/>
                  </a:cxn>
                  <a:cxn ang="0">
                    <a:pos x="100" y="84"/>
                  </a:cxn>
                  <a:cxn ang="0">
                    <a:pos x="104" y="76"/>
                  </a:cxn>
                  <a:cxn ang="0">
                    <a:pos x="108" y="66"/>
                  </a:cxn>
                  <a:cxn ang="0">
                    <a:pos x="108" y="54"/>
                  </a:cxn>
                  <a:cxn ang="0">
                    <a:pos x="108" y="44"/>
                  </a:cxn>
                  <a:cxn ang="0">
                    <a:pos x="104" y="34"/>
                  </a:cxn>
                  <a:cxn ang="0">
                    <a:pos x="100" y="24"/>
                  </a:cxn>
                  <a:cxn ang="0">
                    <a:pos x="92" y="16"/>
                  </a:cxn>
                  <a:cxn ang="0">
                    <a:pos x="92" y="16"/>
                  </a:cxn>
                  <a:cxn ang="0">
                    <a:pos x="84" y="10"/>
                  </a:cxn>
                  <a:cxn ang="0">
                    <a:pos x="74" y="4"/>
                  </a:cxn>
                  <a:cxn ang="0">
                    <a:pos x="64" y="2"/>
                  </a:cxn>
                  <a:cxn ang="0">
                    <a:pos x="54" y="0"/>
                  </a:cxn>
                </a:cxnLst>
                <a:rect l="0" t="0" r="r" b="b"/>
                <a:pathLst>
                  <a:path w="108" h="110">
                    <a:moveTo>
                      <a:pt x="54" y="0"/>
                    </a:moveTo>
                    <a:lnTo>
                      <a:pt x="54" y="0"/>
                    </a:lnTo>
                    <a:lnTo>
                      <a:pt x="44" y="2"/>
                    </a:lnTo>
                    <a:lnTo>
                      <a:pt x="34" y="4"/>
                    </a:lnTo>
                    <a:lnTo>
                      <a:pt x="24" y="10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8" y="24"/>
                    </a:lnTo>
                    <a:lnTo>
                      <a:pt x="4" y="34"/>
                    </a:lnTo>
                    <a:lnTo>
                      <a:pt x="0" y="44"/>
                    </a:lnTo>
                    <a:lnTo>
                      <a:pt x="0" y="54"/>
                    </a:lnTo>
                    <a:lnTo>
                      <a:pt x="0" y="66"/>
                    </a:lnTo>
                    <a:lnTo>
                      <a:pt x="4" y="76"/>
                    </a:lnTo>
                    <a:lnTo>
                      <a:pt x="8" y="84"/>
                    </a:lnTo>
                    <a:lnTo>
                      <a:pt x="16" y="94"/>
                    </a:lnTo>
                    <a:lnTo>
                      <a:pt x="16" y="94"/>
                    </a:lnTo>
                    <a:lnTo>
                      <a:pt x="24" y="100"/>
                    </a:lnTo>
                    <a:lnTo>
                      <a:pt x="34" y="106"/>
                    </a:lnTo>
                    <a:lnTo>
                      <a:pt x="44" y="108"/>
                    </a:lnTo>
                    <a:lnTo>
                      <a:pt x="54" y="110"/>
                    </a:lnTo>
                    <a:lnTo>
                      <a:pt x="54" y="110"/>
                    </a:lnTo>
                    <a:lnTo>
                      <a:pt x="64" y="108"/>
                    </a:lnTo>
                    <a:lnTo>
                      <a:pt x="74" y="106"/>
                    </a:lnTo>
                    <a:lnTo>
                      <a:pt x="84" y="100"/>
                    </a:lnTo>
                    <a:lnTo>
                      <a:pt x="92" y="94"/>
                    </a:lnTo>
                    <a:lnTo>
                      <a:pt x="92" y="94"/>
                    </a:lnTo>
                    <a:lnTo>
                      <a:pt x="100" y="84"/>
                    </a:lnTo>
                    <a:lnTo>
                      <a:pt x="104" y="76"/>
                    </a:lnTo>
                    <a:lnTo>
                      <a:pt x="108" y="66"/>
                    </a:lnTo>
                    <a:lnTo>
                      <a:pt x="108" y="54"/>
                    </a:lnTo>
                    <a:lnTo>
                      <a:pt x="108" y="44"/>
                    </a:lnTo>
                    <a:lnTo>
                      <a:pt x="104" y="34"/>
                    </a:lnTo>
                    <a:lnTo>
                      <a:pt x="100" y="24"/>
                    </a:lnTo>
                    <a:lnTo>
                      <a:pt x="92" y="16"/>
                    </a:lnTo>
                    <a:lnTo>
                      <a:pt x="92" y="16"/>
                    </a:lnTo>
                    <a:lnTo>
                      <a:pt x="84" y="10"/>
                    </a:lnTo>
                    <a:lnTo>
                      <a:pt x="74" y="4"/>
                    </a:lnTo>
                    <a:lnTo>
                      <a:pt x="64" y="2"/>
                    </a:lnTo>
                    <a:lnTo>
                      <a:pt x="5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73" name="Freeform 9"/>
              <p:cNvSpPr>
                <a:spLocks/>
              </p:cNvSpPr>
              <p:nvPr userDrawn="1"/>
            </p:nvSpPr>
            <p:spPr bwMode="auto">
              <a:xfrm>
                <a:off x="7747000" y="3917950"/>
                <a:ext cx="155575" cy="155575"/>
              </a:xfrm>
              <a:custGeom>
                <a:avLst/>
                <a:gdLst/>
                <a:ahLst/>
                <a:cxnLst>
                  <a:cxn ang="0">
                    <a:pos x="48" y="0"/>
                  </a:cxn>
                  <a:cxn ang="0">
                    <a:pos x="48" y="0"/>
                  </a:cxn>
                  <a:cxn ang="0">
                    <a:pos x="38" y="0"/>
                  </a:cxn>
                  <a:cxn ang="0">
                    <a:pos x="30" y="4"/>
                  </a:cxn>
                  <a:cxn ang="0">
                    <a:pos x="22" y="8"/>
                  </a:cxn>
                  <a:cxn ang="0">
                    <a:pos x="14" y="14"/>
                  </a:cxn>
                  <a:cxn ang="0">
                    <a:pos x="14" y="14"/>
                  </a:cxn>
                  <a:cxn ang="0">
                    <a:pos x="8" y="22"/>
                  </a:cxn>
                  <a:cxn ang="0">
                    <a:pos x="2" y="30"/>
                  </a:cxn>
                  <a:cxn ang="0">
                    <a:pos x="0" y="40"/>
                  </a:cxn>
                  <a:cxn ang="0">
                    <a:pos x="0" y="48"/>
                  </a:cxn>
                  <a:cxn ang="0">
                    <a:pos x="0" y="58"/>
                  </a:cxn>
                  <a:cxn ang="0">
                    <a:pos x="2" y="68"/>
                  </a:cxn>
                  <a:cxn ang="0">
                    <a:pos x="8" y="76"/>
                  </a:cxn>
                  <a:cxn ang="0">
                    <a:pos x="14" y="84"/>
                  </a:cxn>
                  <a:cxn ang="0">
                    <a:pos x="14" y="84"/>
                  </a:cxn>
                  <a:cxn ang="0">
                    <a:pos x="22" y="90"/>
                  </a:cxn>
                  <a:cxn ang="0">
                    <a:pos x="30" y="94"/>
                  </a:cxn>
                  <a:cxn ang="0">
                    <a:pos x="38" y="98"/>
                  </a:cxn>
                  <a:cxn ang="0">
                    <a:pos x="48" y="98"/>
                  </a:cxn>
                  <a:cxn ang="0">
                    <a:pos x="48" y="98"/>
                  </a:cxn>
                  <a:cxn ang="0">
                    <a:pos x="58" y="98"/>
                  </a:cxn>
                  <a:cxn ang="0">
                    <a:pos x="66" y="94"/>
                  </a:cxn>
                  <a:cxn ang="0">
                    <a:pos x="76" y="90"/>
                  </a:cxn>
                  <a:cxn ang="0">
                    <a:pos x="82" y="84"/>
                  </a:cxn>
                  <a:cxn ang="0">
                    <a:pos x="82" y="84"/>
                  </a:cxn>
                  <a:cxn ang="0">
                    <a:pos x="90" y="76"/>
                  </a:cxn>
                  <a:cxn ang="0">
                    <a:pos x="94" y="68"/>
                  </a:cxn>
                  <a:cxn ang="0">
                    <a:pos x="96" y="58"/>
                  </a:cxn>
                  <a:cxn ang="0">
                    <a:pos x="98" y="48"/>
                  </a:cxn>
                  <a:cxn ang="0">
                    <a:pos x="96" y="40"/>
                  </a:cxn>
                  <a:cxn ang="0">
                    <a:pos x="94" y="30"/>
                  </a:cxn>
                  <a:cxn ang="0">
                    <a:pos x="90" y="22"/>
                  </a:cxn>
                  <a:cxn ang="0">
                    <a:pos x="82" y="14"/>
                  </a:cxn>
                  <a:cxn ang="0">
                    <a:pos x="82" y="14"/>
                  </a:cxn>
                  <a:cxn ang="0">
                    <a:pos x="76" y="8"/>
                  </a:cxn>
                  <a:cxn ang="0">
                    <a:pos x="66" y="4"/>
                  </a:cxn>
                  <a:cxn ang="0">
                    <a:pos x="58" y="0"/>
                  </a:cxn>
                  <a:cxn ang="0">
                    <a:pos x="48" y="0"/>
                  </a:cxn>
                </a:cxnLst>
                <a:rect l="0" t="0" r="r" b="b"/>
                <a:pathLst>
                  <a:path w="98" h="98">
                    <a:moveTo>
                      <a:pt x="48" y="0"/>
                    </a:moveTo>
                    <a:lnTo>
                      <a:pt x="48" y="0"/>
                    </a:lnTo>
                    <a:lnTo>
                      <a:pt x="38" y="0"/>
                    </a:lnTo>
                    <a:lnTo>
                      <a:pt x="30" y="4"/>
                    </a:lnTo>
                    <a:lnTo>
                      <a:pt x="22" y="8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8" y="22"/>
                    </a:lnTo>
                    <a:lnTo>
                      <a:pt x="2" y="30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0" y="58"/>
                    </a:lnTo>
                    <a:lnTo>
                      <a:pt x="2" y="68"/>
                    </a:lnTo>
                    <a:lnTo>
                      <a:pt x="8" y="76"/>
                    </a:lnTo>
                    <a:lnTo>
                      <a:pt x="14" y="84"/>
                    </a:lnTo>
                    <a:lnTo>
                      <a:pt x="14" y="84"/>
                    </a:lnTo>
                    <a:lnTo>
                      <a:pt x="22" y="90"/>
                    </a:lnTo>
                    <a:lnTo>
                      <a:pt x="30" y="94"/>
                    </a:lnTo>
                    <a:lnTo>
                      <a:pt x="38" y="98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58" y="98"/>
                    </a:lnTo>
                    <a:lnTo>
                      <a:pt x="66" y="94"/>
                    </a:lnTo>
                    <a:lnTo>
                      <a:pt x="76" y="90"/>
                    </a:lnTo>
                    <a:lnTo>
                      <a:pt x="82" y="84"/>
                    </a:lnTo>
                    <a:lnTo>
                      <a:pt x="82" y="84"/>
                    </a:lnTo>
                    <a:lnTo>
                      <a:pt x="90" y="76"/>
                    </a:lnTo>
                    <a:lnTo>
                      <a:pt x="94" y="68"/>
                    </a:lnTo>
                    <a:lnTo>
                      <a:pt x="96" y="58"/>
                    </a:lnTo>
                    <a:lnTo>
                      <a:pt x="98" y="48"/>
                    </a:lnTo>
                    <a:lnTo>
                      <a:pt x="96" y="40"/>
                    </a:lnTo>
                    <a:lnTo>
                      <a:pt x="94" y="30"/>
                    </a:lnTo>
                    <a:lnTo>
                      <a:pt x="90" y="22"/>
                    </a:lnTo>
                    <a:lnTo>
                      <a:pt x="82" y="14"/>
                    </a:lnTo>
                    <a:lnTo>
                      <a:pt x="82" y="14"/>
                    </a:lnTo>
                    <a:lnTo>
                      <a:pt x="76" y="8"/>
                    </a:lnTo>
                    <a:lnTo>
                      <a:pt x="66" y="4"/>
                    </a:lnTo>
                    <a:lnTo>
                      <a:pt x="58" y="0"/>
                    </a:lnTo>
                    <a:lnTo>
                      <a:pt x="4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74" name="Freeform 10"/>
              <p:cNvSpPr>
                <a:spLocks/>
              </p:cNvSpPr>
              <p:nvPr userDrawn="1"/>
            </p:nvSpPr>
            <p:spPr bwMode="auto">
              <a:xfrm>
                <a:off x="7747000" y="3917950"/>
                <a:ext cx="155575" cy="155575"/>
              </a:xfrm>
              <a:custGeom>
                <a:avLst/>
                <a:gdLst/>
                <a:ahLst/>
                <a:cxnLst>
                  <a:cxn ang="0">
                    <a:pos x="48" y="0"/>
                  </a:cxn>
                  <a:cxn ang="0">
                    <a:pos x="48" y="0"/>
                  </a:cxn>
                  <a:cxn ang="0">
                    <a:pos x="38" y="0"/>
                  </a:cxn>
                  <a:cxn ang="0">
                    <a:pos x="30" y="4"/>
                  </a:cxn>
                  <a:cxn ang="0">
                    <a:pos x="22" y="8"/>
                  </a:cxn>
                  <a:cxn ang="0">
                    <a:pos x="14" y="14"/>
                  </a:cxn>
                  <a:cxn ang="0">
                    <a:pos x="14" y="14"/>
                  </a:cxn>
                  <a:cxn ang="0">
                    <a:pos x="8" y="22"/>
                  </a:cxn>
                  <a:cxn ang="0">
                    <a:pos x="2" y="30"/>
                  </a:cxn>
                  <a:cxn ang="0">
                    <a:pos x="0" y="40"/>
                  </a:cxn>
                  <a:cxn ang="0">
                    <a:pos x="0" y="48"/>
                  </a:cxn>
                  <a:cxn ang="0">
                    <a:pos x="0" y="58"/>
                  </a:cxn>
                  <a:cxn ang="0">
                    <a:pos x="2" y="68"/>
                  </a:cxn>
                  <a:cxn ang="0">
                    <a:pos x="8" y="76"/>
                  </a:cxn>
                  <a:cxn ang="0">
                    <a:pos x="14" y="84"/>
                  </a:cxn>
                  <a:cxn ang="0">
                    <a:pos x="14" y="84"/>
                  </a:cxn>
                  <a:cxn ang="0">
                    <a:pos x="22" y="90"/>
                  </a:cxn>
                  <a:cxn ang="0">
                    <a:pos x="30" y="94"/>
                  </a:cxn>
                  <a:cxn ang="0">
                    <a:pos x="38" y="98"/>
                  </a:cxn>
                  <a:cxn ang="0">
                    <a:pos x="48" y="98"/>
                  </a:cxn>
                  <a:cxn ang="0">
                    <a:pos x="48" y="98"/>
                  </a:cxn>
                  <a:cxn ang="0">
                    <a:pos x="58" y="98"/>
                  </a:cxn>
                  <a:cxn ang="0">
                    <a:pos x="66" y="94"/>
                  </a:cxn>
                  <a:cxn ang="0">
                    <a:pos x="76" y="90"/>
                  </a:cxn>
                  <a:cxn ang="0">
                    <a:pos x="82" y="84"/>
                  </a:cxn>
                  <a:cxn ang="0">
                    <a:pos x="82" y="84"/>
                  </a:cxn>
                  <a:cxn ang="0">
                    <a:pos x="90" y="76"/>
                  </a:cxn>
                  <a:cxn ang="0">
                    <a:pos x="94" y="68"/>
                  </a:cxn>
                  <a:cxn ang="0">
                    <a:pos x="96" y="58"/>
                  </a:cxn>
                  <a:cxn ang="0">
                    <a:pos x="98" y="48"/>
                  </a:cxn>
                  <a:cxn ang="0">
                    <a:pos x="96" y="40"/>
                  </a:cxn>
                  <a:cxn ang="0">
                    <a:pos x="94" y="30"/>
                  </a:cxn>
                  <a:cxn ang="0">
                    <a:pos x="90" y="22"/>
                  </a:cxn>
                  <a:cxn ang="0">
                    <a:pos x="82" y="14"/>
                  </a:cxn>
                  <a:cxn ang="0">
                    <a:pos x="82" y="14"/>
                  </a:cxn>
                  <a:cxn ang="0">
                    <a:pos x="76" y="8"/>
                  </a:cxn>
                  <a:cxn ang="0">
                    <a:pos x="66" y="4"/>
                  </a:cxn>
                  <a:cxn ang="0">
                    <a:pos x="58" y="0"/>
                  </a:cxn>
                  <a:cxn ang="0">
                    <a:pos x="48" y="0"/>
                  </a:cxn>
                </a:cxnLst>
                <a:rect l="0" t="0" r="r" b="b"/>
                <a:pathLst>
                  <a:path w="98" h="98">
                    <a:moveTo>
                      <a:pt x="48" y="0"/>
                    </a:moveTo>
                    <a:lnTo>
                      <a:pt x="48" y="0"/>
                    </a:lnTo>
                    <a:lnTo>
                      <a:pt x="38" y="0"/>
                    </a:lnTo>
                    <a:lnTo>
                      <a:pt x="30" y="4"/>
                    </a:lnTo>
                    <a:lnTo>
                      <a:pt x="22" y="8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8" y="22"/>
                    </a:lnTo>
                    <a:lnTo>
                      <a:pt x="2" y="30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0" y="58"/>
                    </a:lnTo>
                    <a:lnTo>
                      <a:pt x="2" y="68"/>
                    </a:lnTo>
                    <a:lnTo>
                      <a:pt x="8" y="76"/>
                    </a:lnTo>
                    <a:lnTo>
                      <a:pt x="14" y="84"/>
                    </a:lnTo>
                    <a:lnTo>
                      <a:pt x="14" y="84"/>
                    </a:lnTo>
                    <a:lnTo>
                      <a:pt x="22" y="90"/>
                    </a:lnTo>
                    <a:lnTo>
                      <a:pt x="30" y="94"/>
                    </a:lnTo>
                    <a:lnTo>
                      <a:pt x="38" y="98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58" y="98"/>
                    </a:lnTo>
                    <a:lnTo>
                      <a:pt x="66" y="94"/>
                    </a:lnTo>
                    <a:lnTo>
                      <a:pt x="76" y="90"/>
                    </a:lnTo>
                    <a:lnTo>
                      <a:pt x="82" y="84"/>
                    </a:lnTo>
                    <a:lnTo>
                      <a:pt x="82" y="84"/>
                    </a:lnTo>
                    <a:lnTo>
                      <a:pt x="90" y="76"/>
                    </a:lnTo>
                    <a:lnTo>
                      <a:pt x="94" y="68"/>
                    </a:lnTo>
                    <a:lnTo>
                      <a:pt x="96" y="58"/>
                    </a:lnTo>
                    <a:lnTo>
                      <a:pt x="98" y="48"/>
                    </a:lnTo>
                    <a:lnTo>
                      <a:pt x="96" y="40"/>
                    </a:lnTo>
                    <a:lnTo>
                      <a:pt x="94" y="30"/>
                    </a:lnTo>
                    <a:lnTo>
                      <a:pt x="90" y="22"/>
                    </a:lnTo>
                    <a:lnTo>
                      <a:pt x="82" y="14"/>
                    </a:lnTo>
                    <a:lnTo>
                      <a:pt x="82" y="14"/>
                    </a:lnTo>
                    <a:lnTo>
                      <a:pt x="76" y="8"/>
                    </a:lnTo>
                    <a:lnTo>
                      <a:pt x="66" y="4"/>
                    </a:lnTo>
                    <a:lnTo>
                      <a:pt x="58" y="0"/>
                    </a:lnTo>
                    <a:lnTo>
                      <a:pt x="4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75" name="Freeform 11"/>
              <p:cNvSpPr>
                <a:spLocks/>
              </p:cNvSpPr>
              <p:nvPr userDrawn="1"/>
            </p:nvSpPr>
            <p:spPr bwMode="auto">
              <a:xfrm>
                <a:off x="7845425" y="4273550"/>
                <a:ext cx="142875" cy="139700"/>
              </a:xfrm>
              <a:custGeom>
                <a:avLst/>
                <a:gdLst/>
                <a:ahLst/>
                <a:cxnLst>
                  <a:cxn ang="0">
                    <a:pos x="46" y="0"/>
                  </a:cxn>
                  <a:cxn ang="0">
                    <a:pos x="46" y="0"/>
                  </a:cxn>
                  <a:cxn ang="0">
                    <a:pos x="36" y="2"/>
                  </a:cxn>
                  <a:cxn ang="0">
                    <a:pos x="28" y="4"/>
                  </a:cxn>
                  <a:cxn ang="0">
                    <a:pos x="20" y="8"/>
                  </a:cxn>
                  <a:cxn ang="0">
                    <a:pos x="14" y="14"/>
                  </a:cxn>
                  <a:cxn ang="0">
                    <a:pos x="14" y="14"/>
                  </a:cxn>
                  <a:cxn ang="0">
                    <a:pos x="8" y="20"/>
                  </a:cxn>
                  <a:cxn ang="0">
                    <a:pos x="4" y="28"/>
                  </a:cxn>
                  <a:cxn ang="0">
                    <a:pos x="2" y="36"/>
                  </a:cxn>
                  <a:cxn ang="0">
                    <a:pos x="0" y="44"/>
                  </a:cxn>
                  <a:cxn ang="0">
                    <a:pos x="2" y="54"/>
                  </a:cxn>
                  <a:cxn ang="0">
                    <a:pos x="4" y="62"/>
                  </a:cxn>
                  <a:cxn ang="0">
                    <a:pos x="8" y="68"/>
                  </a:cxn>
                  <a:cxn ang="0">
                    <a:pos x="14" y="76"/>
                  </a:cxn>
                  <a:cxn ang="0">
                    <a:pos x="14" y="76"/>
                  </a:cxn>
                  <a:cxn ang="0">
                    <a:pos x="20" y="82"/>
                  </a:cxn>
                  <a:cxn ang="0">
                    <a:pos x="28" y="86"/>
                  </a:cxn>
                  <a:cxn ang="0">
                    <a:pos x="36" y="88"/>
                  </a:cxn>
                  <a:cxn ang="0">
                    <a:pos x="46" y="88"/>
                  </a:cxn>
                  <a:cxn ang="0">
                    <a:pos x="46" y="88"/>
                  </a:cxn>
                  <a:cxn ang="0">
                    <a:pos x="54" y="88"/>
                  </a:cxn>
                  <a:cxn ang="0">
                    <a:pos x="62" y="86"/>
                  </a:cxn>
                  <a:cxn ang="0">
                    <a:pos x="70" y="82"/>
                  </a:cxn>
                  <a:cxn ang="0">
                    <a:pos x="76" y="76"/>
                  </a:cxn>
                  <a:cxn ang="0">
                    <a:pos x="76" y="76"/>
                  </a:cxn>
                  <a:cxn ang="0">
                    <a:pos x="82" y="68"/>
                  </a:cxn>
                  <a:cxn ang="0">
                    <a:pos x="86" y="62"/>
                  </a:cxn>
                  <a:cxn ang="0">
                    <a:pos x="88" y="54"/>
                  </a:cxn>
                  <a:cxn ang="0">
                    <a:pos x="90" y="44"/>
                  </a:cxn>
                  <a:cxn ang="0">
                    <a:pos x="88" y="36"/>
                  </a:cxn>
                  <a:cxn ang="0">
                    <a:pos x="86" y="28"/>
                  </a:cxn>
                  <a:cxn ang="0">
                    <a:pos x="82" y="20"/>
                  </a:cxn>
                  <a:cxn ang="0">
                    <a:pos x="76" y="14"/>
                  </a:cxn>
                  <a:cxn ang="0">
                    <a:pos x="76" y="14"/>
                  </a:cxn>
                  <a:cxn ang="0">
                    <a:pos x="70" y="8"/>
                  </a:cxn>
                  <a:cxn ang="0">
                    <a:pos x="62" y="4"/>
                  </a:cxn>
                  <a:cxn ang="0">
                    <a:pos x="54" y="2"/>
                  </a:cxn>
                  <a:cxn ang="0">
                    <a:pos x="46" y="0"/>
                  </a:cxn>
                </a:cxnLst>
                <a:rect l="0" t="0" r="r" b="b"/>
                <a:pathLst>
                  <a:path w="90" h="88">
                    <a:moveTo>
                      <a:pt x="46" y="0"/>
                    </a:moveTo>
                    <a:lnTo>
                      <a:pt x="46" y="0"/>
                    </a:lnTo>
                    <a:lnTo>
                      <a:pt x="36" y="2"/>
                    </a:lnTo>
                    <a:lnTo>
                      <a:pt x="28" y="4"/>
                    </a:lnTo>
                    <a:lnTo>
                      <a:pt x="20" y="8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8" y="20"/>
                    </a:lnTo>
                    <a:lnTo>
                      <a:pt x="4" y="28"/>
                    </a:lnTo>
                    <a:lnTo>
                      <a:pt x="2" y="36"/>
                    </a:lnTo>
                    <a:lnTo>
                      <a:pt x="0" y="44"/>
                    </a:lnTo>
                    <a:lnTo>
                      <a:pt x="2" y="54"/>
                    </a:lnTo>
                    <a:lnTo>
                      <a:pt x="4" y="62"/>
                    </a:lnTo>
                    <a:lnTo>
                      <a:pt x="8" y="68"/>
                    </a:lnTo>
                    <a:lnTo>
                      <a:pt x="14" y="76"/>
                    </a:lnTo>
                    <a:lnTo>
                      <a:pt x="14" y="76"/>
                    </a:lnTo>
                    <a:lnTo>
                      <a:pt x="20" y="82"/>
                    </a:lnTo>
                    <a:lnTo>
                      <a:pt x="28" y="86"/>
                    </a:lnTo>
                    <a:lnTo>
                      <a:pt x="36" y="88"/>
                    </a:lnTo>
                    <a:lnTo>
                      <a:pt x="46" y="88"/>
                    </a:lnTo>
                    <a:lnTo>
                      <a:pt x="46" y="88"/>
                    </a:lnTo>
                    <a:lnTo>
                      <a:pt x="54" y="88"/>
                    </a:lnTo>
                    <a:lnTo>
                      <a:pt x="62" y="86"/>
                    </a:lnTo>
                    <a:lnTo>
                      <a:pt x="70" y="82"/>
                    </a:lnTo>
                    <a:lnTo>
                      <a:pt x="76" y="76"/>
                    </a:lnTo>
                    <a:lnTo>
                      <a:pt x="76" y="76"/>
                    </a:lnTo>
                    <a:lnTo>
                      <a:pt x="82" y="68"/>
                    </a:lnTo>
                    <a:lnTo>
                      <a:pt x="86" y="62"/>
                    </a:lnTo>
                    <a:lnTo>
                      <a:pt x="88" y="54"/>
                    </a:lnTo>
                    <a:lnTo>
                      <a:pt x="90" y="44"/>
                    </a:lnTo>
                    <a:lnTo>
                      <a:pt x="88" y="36"/>
                    </a:lnTo>
                    <a:lnTo>
                      <a:pt x="86" y="28"/>
                    </a:lnTo>
                    <a:lnTo>
                      <a:pt x="82" y="20"/>
                    </a:lnTo>
                    <a:lnTo>
                      <a:pt x="76" y="14"/>
                    </a:lnTo>
                    <a:lnTo>
                      <a:pt x="76" y="14"/>
                    </a:lnTo>
                    <a:lnTo>
                      <a:pt x="70" y="8"/>
                    </a:lnTo>
                    <a:lnTo>
                      <a:pt x="62" y="4"/>
                    </a:lnTo>
                    <a:lnTo>
                      <a:pt x="54" y="2"/>
                    </a:lnTo>
                    <a:lnTo>
                      <a:pt x="4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76" name="Freeform 12"/>
              <p:cNvSpPr>
                <a:spLocks/>
              </p:cNvSpPr>
              <p:nvPr userDrawn="1"/>
            </p:nvSpPr>
            <p:spPr bwMode="auto">
              <a:xfrm>
                <a:off x="7845425" y="4273550"/>
                <a:ext cx="142875" cy="139700"/>
              </a:xfrm>
              <a:custGeom>
                <a:avLst/>
                <a:gdLst/>
                <a:ahLst/>
                <a:cxnLst>
                  <a:cxn ang="0">
                    <a:pos x="46" y="0"/>
                  </a:cxn>
                  <a:cxn ang="0">
                    <a:pos x="46" y="0"/>
                  </a:cxn>
                  <a:cxn ang="0">
                    <a:pos x="36" y="2"/>
                  </a:cxn>
                  <a:cxn ang="0">
                    <a:pos x="28" y="4"/>
                  </a:cxn>
                  <a:cxn ang="0">
                    <a:pos x="20" y="8"/>
                  </a:cxn>
                  <a:cxn ang="0">
                    <a:pos x="14" y="14"/>
                  </a:cxn>
                  <a:cxn ang="0">
                    <a:pos x="14" y="14"/>
                  </a:cxn>
                  <a:cxn ang="0">
                    <a:pos x="8" y="20"/>
                  </a:cxn>
                  <a:cxn ang="0">
                    <a:pos x="4" y="28"/>
                  </a:cxn>
                  <a:cxn ang="0">
                    <a:pos x="2" y="36"/>
                  </a:cxn>
                  <a:cxn ang="0">
                    <a:pos x="0" y="44"/>
                  </a:cxn>
                  <a:cxn ang="0">
                    <a:pos x="2" y="54"/>
                  </a:cxn>
                  <a:cxn ang="0">
                    <a:pos x="4" y="62"/>
                  </a:cxn>
                  <a:cxn ang="0">
                    <a:pos x="8" y="68"/>
                  </a:cxn>
                  <a:cxn ang="0">
                    <a:pos x="14" y="76"/>
                  </a:cxn>
                  <a:cxn ang="0">
                    <a:pos x="14" y="76"/>
                  </a:cxn>
                  <a:cxn ang="0">
                    <a:pos x="20" y="82"/>
                  </a:cxn>
                  <a:cxn ang="0">
                    <a:pos x="28" y="86"/>
                  </a:cxn>
                  <a:cxn ang="0">
                    <a:pos x="36" y="88"/>
                  </a:cxn>
                  <a:cxn ang="0">
                    <a:pos x="46" y="88"/>
                  </a:cxn>
                  <a:cxn ang="0">
                    <a:pos x="46" y="88"/>
                  </a:cxn>
                  <a:cxn ang="0">
                    <a:pos x="54" y="88"/>
                  </a:cxn>
                  <a:cxn ang="0">
                    <a:pos x="62" y="86"/>
                  </a:cxn>
                  <a:cxn ang="0">
                    <a:pos x="70" y="82"/>
                  </a:cxn>
                  <a:cxn ang="0">
                    <a:pos x="76" y="76"/>
                  </a:cxn>
                  <a:cxn ang="0">
                    <a:pos x="76" y="76"/>
                  </a:cxn>
                  <a:cxn ang="0">
                    <a:pos x="82" y="68"/>
                  </a:cxn>
                  <a:cxn ang="0">
                    <a:pos x="86" y="62"/>
                  </a:cxn>
                  <a:cxn ang="0">
                    <a:pos x="88" y="54"/>
                  </a:cxn>
                  <a:cxn ang="0">
                    <a:pos x="90" y="44"/>
                  </a:cxn>
                  <a:cxn ang="0">
                    <a:pos x="88" y="36"/>
                  </a:cxn>
                  <a:cxn ang="0">
                    <a:pos x="86" y="28"/>
                  </a:cxn>
                  <a:cxn ang="0">
                    <a:pos x="82" y="20"/>
                  </a:cxn>
                  <a:cxn ang="0">
                    <a:pos x="76" y="14"/>
                  </a:cxn>
                  <a:cxn ang="0">
                    <a:pos x="76" y="14"/>
                  </a:cxn>
                  <a:cxn ang="0">
                    <a:pos x="70" y="8"/>
                  </a:cxn>
                  <a:cxn ang="0">
                    <a:pos x="62" y="4"/>
                  </a:cxn>
                  <a:cxn ang="0">
                    <a:pos x="54" y="2"/>
                  </a:cxn>
                  <a:cxn ang="0">
                    <a:pos x="46" y="0"/>
                  </a:cxn>
                </a:cxnLst>
                <a:rect l="0" t="0" r="r" b="b"/>
                <a:pathLst>
                  <a:path w="90" h="88">
                    <a:moveTo>
                      <a:pt x="46" y="0"/>
                    </a:moveTo>
                    <a:lnTo>
                      <a:pt x="46" y="0"/>
                    </a:lnTo>
                    <a:lnTo>
                      <a:pt x="36" y="2"/>
                    </a:lnTo>
                    <a:lnTo>
                      <a:pt x="28" y="4"/>
                    </a:lnTo>
                    <a:lnTo>
                      <a:pt x="20" y="8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8" y="20"/>
                    </a:lnTo>
                    <a:lnTo>
                      <a:pt x="4" y="28"/>
                    </a:lnTo>
                    <a:lnTo>
                      <a:pt x="2" y="36"/>
                    </a:lnTo>
                    <a:lnTo>
                      <a:pt x="0" y="44"/>
                    </a:lnTo>
                    <a:lnTo>
                      <a:pt x="2" y="54"/>
                    </a:lnTo>
                    <a:lnTo>
                      <a:pt x="4" y="62"/>
                    </a:lnTo>
                    <a:lnTo>
                      <a:pt x="8" y="68"/>
                    </a:lnTo>
                    <a:lnTo>
                      <a:pt x="14" y="76"/>
                    </a:lnTo>
                    <a:lnTo>
                      <a:pt x="14" y="76"/>
                    </a:lnTo>
                    <a:lnTo>
                      <a:pt x="20" y="82"/>
                    </a:lnTo>
                    <a:lnTo>
                      <a:pt x="28" y="86"/>
                    </a:lnTo>
                    <a:lnTo>
                      <a:pt x="36" y="88"/>
                    </a:lnTo>
                    <a:lnTo>
                      <a:pt x="46" y="88"/>
                    </a:lnTo>
                    <a:lnTo>
                      <a:pt x="46" y="88"/>
                    </a:lnTo>
                    <a:lnTo>
                      <a:pt x="54" y="88"/>
                    </a:lnTo>
                    <a:lnTo>
                      <a:pt x="62" y="86"/>
                    </a:lnTo>
                    <a:lnTo>
                      <a:pt x="70" y="82"/>
                    </a:lnTo>
                    <a:lnTo>
                      <a:pt x="76" y="76"/>
                    </a:lnTo>
                    <a:lnTo>
                      <a:pt x="76" y="76"/>
                    </a:lnTo>
                    <a:lnTo>
                      <a:pt x="82" y="68"/>
                    </a:lnTo>
                    <a:lnTo>
                      <a:pt x="86" y="62"/>
                    </a:lnTo>
                    <a:lnTo>
                      <a:pt x="88" y="54"/>
                    </a:lnTo>
                    <a:lnTo>
                      <a:pt x="90" y="44"/>
                    </a:lnTo>
                    <a:lnTo>
                      <a:pt x="88" y="36"/>
                    </a:lnTo>
                    <a:lnTo>
                      <a:pt x="86" y="28"/>
                    </a:lnTo>
                    <a:lnTo>
                      <a:pt x="82" y="20"/>
                    </a:lnTo>
                    <a:lnTo>
                      <a:pt x="76" y="14"/>
                    </a:lnTo>
                    <a:lnTo>
                      <a:pt x="76" y="14"/>
                    </a:lnTo>
                    <a:lnTo>
                      <a:pt x="70" y="8"/>
                    </a:lnTo>
                    <a:lnTo>
                      <a:pt x="62" y="4"/>
                    </a:lnTo>
                    <a:lnTo>
                      <a:pt x="54" y="2"/>
                    </a:lnTo>
                    <a:lnTo>
                      <a:pt x="4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77" name="Freeform 13"/>
              <p:cNvSpPr>
                <a:spLocks/>
              </p:cNvSpPr>
              <p:nvPr userDrawn="1"/>
            </p:nvSpPr>
            <p:spPr bwMode="auto">
              <a:xfrm>
                <a:off x="7886700" y="4641850"/>
                <a:ext cx="123825" cy="123825"/>
              </a:xfrm>
              <a:custGeom>
                <a:avLst/>
                <a:gdLst/>
                <a:ahLst/>
                <a:cxnLst>
                  <a:cxn ang="0">
                    <a:pos x="38" y="0"/>
                  </a:cxn>
                  <a:cxn ang="0">
                    <a:pos x="38" y="0"/>
                  </a:cxn>
                  <a:cxn ang="0">
                    <a:pos x="32" y="0"/>
                  </a:cxn>
                  <a:cxn ang="0">
                    <a:pos x="24" y="2"/>
                  </a:cxn>
                  <a:cxn ang="0">
                    <a:pos x="18" y="6"/>
                  </a:cxn>
                  <a:cxn ang="0">
                    <a:pos x="10" y="12"/>
                  </a:cxn>
                  <a:cxn ang="0">
                    <a:pos x="10" y="12"/>
                  </a:cxn>
                  <a:cxn ang="0">
                    <a:pos x="6" y="18"/>
                  </a:cxn>
                  <a:cxn ang="0">
                    <a:pos x="2" y="24"/>
                  </a:cxn>
                  <a:cxn ang="0">
                    <a:pos x="0" y="32"/>
                  </a:cxn>
                  <a:cxn ang="0">
                    <a:pos x="0" y="40"/>
                  </a:cxn>
                  <a:cxn ang="0">
                    <a:pos x="0" y="46"/>
                  </a:cxn>
                  <a:cxn ang="0">
                    <a:pos x="2" y="54"/>
                  </a:cxn>
                  <a:cxn ang="0">
                    <a:pos x="6" y="62"/>
                  </a:cxn>
                  <a:cxn ang="0">
                    <a:pos x="10" y="68"/>
                  </a:cxn>
                  <a:cxn ang="0">
                    <a:pos x="10" y="68"/>
                  </a:cxn>
                  <a:cxn ang="0">
                    <a:pos x="18" y="72"/>
                  </a:cxn>
                  <a:cxn ang="0">
                    <a:pos x="24" y="76"/>
                  </a:cxn>
                  <a:cxn ang="0">
                    <a:pos x="32" y="78"/>
                  </a:cxn>
                  <a:cxn ang="0">
                    <a:pos x="38" y="78"/>
                  </a:cxn>
                  <a:cxn ang="0">
                    <a:pos x="38" y="78"/>
                  </a:cxn>
                  <a:cxn ang="0">
                    <a:pos x="46" y="78"/>
                  </a:cxn>
                  <a:cxn ang="0">
                    <a:pos x="54" y="76"/>
                  </a:cxn>
                  <a:cxn ang="0">
                    <a:pos x="60" y="72"/>
                  </a:cxn>
                  <a:cxn ang="0">
                    <a:pos x="68" y="68"/>
                  </a:cxn>
                  <a:cxn ang="0">
                    <a:pos x="68" y="68"/>
                  </a:cxn>
                  <a:cxn ang="0">
                    <a:pos x="72" y="62"/>
                  </a:cxn>
                  <a:cxn ang="0">
                    <a:pos x="76" y="54"/>
                  </a:cxn>
                  <a:cxn ang="0">
                    <a:pos x="78" y="46"/>
                  </a:cxn>
                  <a:cxn ang="0">
                    <a:pos x="78" y="40"/>
                  </a:cxn>
                  <a:cxn ang="0">
                    <a:pos x="78" y="32"/>
                  </a:cxn>
                  <a:cxn ang="0">
                    <a:pos x="76" y="24"/>
                  </a:cxn>
                  <a:cxn ang="0">
                    <a:pos x="72" y="18"/>
                  </a:cxn>
                  <a:cxn ang="0">
                    <a:pos x="68" y="12"/>
                  </a:cxn>
                  <a:cxn ang="0">
                    <a:pos x="68" y="12"/>
                  </a:cxn>
                  <a:cxn ang="0">
                    <a:pos x="60" y="6"/>
                  </a:cxn>
                  <a:cxn ang="0">
                    <a:pos x="54" y="2"/>
                  </a:cxn>
                  <a:cxn ang="0">
                    <a:pos x="46" y="0"/>
                  </a:cxn>
                  <a:cxn ang="0">
                    <a:pos x="38" y="0"/>
                  </a:cxn>
                </a:cxnLst>
                <a:rect l="0" t="0" r="r" b="b"/>
                <a:pathLst>
                  <a:path w="78" h="78">
                    <a:moveTo>
                      <a:pt x="38" y="0"/>
                    </a:moveTo>
                    <a:lnTo>
                      <a:pt x="38" y="0"/>
                    </a:lnTo>
                    <a:lnTo>
                      <a:pt x="32" y="0"/>
                    </a:lnTo>
                    <a:lnTo>
                      <a:pt x="24" y="2"/>
                    </a:lnTo>
                    <a:lnTo>
                      <a:pt x="18" y="6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6" y="18"/>
                    </a:lnTo>
                    <a:lnTo>
                      <a:pt x="2" y="24"/>
                    </a:lnTo>
                    <a:lnTo>
                      <a:pt x="0" y="32"/>
                    </a:lnTo>
                    <a:lnTo>
                      <a:pt x="0" y="40"/>
                    </a:lnTo>
                    <a:lnTo>
                      <a:pt x="0" y="46"/>
                    </a:lnTo>
                    <a:lnTo>
                      <a:pt x="2" y="54"/>
                    </a:lnTo>
                    <a:lnTo>
                      <a:pt x="6" y="62"/>
                    </a:lnTo>
                    <a:lnTo>
                      <a:pt x="10" y="68"/>
                    </a:lnTo>
                    <a:lnTo>
                      <a:pt x="10" y="68"/>
                    </a:lnTo>
                    <a:lnTo>
                      <a:pt x="18" y="72"/>
                    </a:lnTo>
                    <a:lnTo>
                      <a:pt x="24" y="76"/>
                    </a:lnTo>
                    <a:lnTo>
                      <a:pt x="32" y="78"/>
                    </a:lnTo>
                    <a:lnTo>
                      <a:pt x="38" y="78"/>
                    </a:lnTo>
                    <a:lnTo>
                      <a:pt x="38" y="78"/>
                    </a:lnTo>
                    <a:lnTo>
                      <a:pt x="46" y="78"/>
                    </a:lnTo>
                    <a:lnTo>
                      <a:pt x="54" y="76"/>
                    </a:lnTo>
                    <a:lnTo>
                      <a:pt x="60" y="72"/>
                    </a:lnTo>
                    <a:lnTo>
                      <a:pt x="68" y="68"/>
                    </a:lnTo>
                    <a:lnTo>
                      <a:pt x="68" y="68"/>
                    </a:lnTo>
                    <a:lnTo>
                      <a:pt x="72" y="62"/>
                    </a:lnTo>
                    <a:lnTo>
                      <a:pt x="76" y="54"/>
                    </a:lnTo>
                    <a:lnTo>
                      <a:pt x="78" y="46"/>
                    </a:lnTo>
                    <a:lnTo>
                      <a:pt x="78" y="40"/>
                    </a:lnTo>
                    <a:lnTo>
                      <a:pt x="78" y="32"/>
                    </a:lnTo>
                    <a:lnTo>
                      <a:pt x="76" y="24"/>
                    </a:lnTo>
                    <a:lnTo>
                      <a:pt x="72" y="18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0" y="6"/>
                    </a:lnTo>
                    <a:lnTo>
                      <a:pt x="54" y="2"/>
                    </a:lnTo>
                    <a:lnTo>
                      <a:pt x="46" y="0"/>
                    </a:lnTo>
                    <a:lnTo>
                      <a:pt x="3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78" name="Freeform 14"/>
              <p:cNvSpPr>
                <a:spLocks/>
              </p:cNvSpPr>
              <p:nvPr userDrawn="1"/>
            </p:nvSpPr>
            <p:spPr bwMode="auto">
              <a:xfrm>
                <a:off x="7886700" y="4641850"/>
                <a:ext cx="123825" cy="123825"/>
              </a:xfrm>
              <a:custGeom>
                <a:avLst/>
                <a:gdLst/>
                <a:ahLst/>
                <a:cxnLst>
                  <a:cxn ang="0">
                    <a:pos x="38" y="0"/>
                  </a:cxn>
                  <a:cxn ang="0">
                    <a:pos x="38" y="0"/>
                  </a:cxn>
                  <a:cxn ang="0">
                    <a:pos x="32" y="0"/>
                  </a:cxn>
                  <a:cxn ang="0">
                    <a:pos x="24" y="2"/>
                  </a:cxn>
                  <a:cxn ang="0">
                    <a:pos x="18" y="6"/>
                  </a:cxn>
                  <a:cxn ang="0">
                    <a:pos x="10" y="12"/>
                  </a:cxn>
                  <a:cxn ang="0">
                    <a:pos x="10" y="12"/>
                  </a:cxn>
                  <a:cxn ang="0">
                    <a:pos x="6" y="18"/>
                  </a:cxn>
                  <a:cxn ang="0">
                    <a:pos x="2" y="24"/>
                  </a:cxn>
                  <a:cxn ang="0">
                    <a:pos x="0" y="32"/>
                  </a:cxn>
                  <a:cxn ang="0">
                    <a:pos x="0" y="40"/>
                  </a:cxn>
                  <a:cxn ang="0">
                    <a:pos x="0" y="46"/>
                  </a:cxn>
                  <a:cxn ang="0">
                    <a:pos x="2" y="54"/>
                  </a:cxn>
                  <a:cxn ang="0">
                    <a:pos x="6" y="62"/>
                  </a:cxn>
                  <a:cxn ang="0">
                    <a:pos x="10" y="68"/>
                  </a:cxn>
                  <a:cxn ang="0">
                    <a:pos x="10" y="68"/>
                  </a:cxn>
                  <a:cxn ang="0">
                    <a:pos x="18" y="72"/>
                  </a:cxn>
                  <a:cxn ang="0">
                    <a:pos x="24" y="76"/>
                  </a:cxn>
                  <a:cxn ang="0">
                    <a:pos x="32" y="78"/>
                  </a:cxn>
                  <a:cxn ang="0">
                    <a:pos x="38" y="78"/>
                  </a:cxn>
                  <a:cxn ang="0">
                    <a:pos x="38" y="78"/>
                  </a:cxn>
                  <a:cxn ang="0">
                    <a:pos x="46" y="78"/>
                  </a:cxn>
                  <a:cxn ang="0">
                    <a:pos x="54" y="76"/>
                  </a:cxn>
                  <a:cxn ang="0">
                    <a:pos x="60" y="72"/>
                  </a:cxn>
                  <a:cxn ang="0">
                    <a:pos x="68" y="68"/>
                  </a:cxn>
                  <a:cxn ang="0">
                    <a:pos x="68" y="68"/>
                  </a:cxn>
                  <a:cxn ang="0">
                    <a:pos x="72" y="62"/>
                  </a:cxn>
                  <a:cxn ang="0">
                    <a:pos x="76" y="54"/>
                  </a:cxn>
                  <a:cxn ang="0">
                    <a:pos x="78" y="46"/>
                  </a:cxn>
                  <a:cxn ang="0">
                    <a:pos x="78" y="40"/>
                  </a:cxn>
                  <a:cxn ang="0">
                    <a:pos x="78" y="32"/>
                  </a:cxn>
                  <a:cxn ang="0">
                    <a:pos x="76" y="24"/>
                  </a:cxn>
                  <a:cxn ang="0">
                    <a:pos x="72" y="18"/>
                  </a:cxn>
                  <a:cxn ang="0">
                    <a:pos x="68" y="12"/>
                  </a:cxn>
                  <a:cxn ang="0">
                    <a:pos x="68" y="12"/>
                  </a:cxn>
                  <a:cxn ang="0">
                    <a:pos x="60" y="6"/>
                  </a:cxn>
                  <a:cxn ang="0">
                    <a:pos x="54" y="2"/>
                  </a:cxn>
                  <a:cxn ang="0">
                    <a:pos x="46" y="0"/>
                  </a:cxn>
                  <a:cxn ang="0">
                    <a:pos x="38" y="0"/>
                  </a:cxn>
                </a:cxnLst>
                <a:rect l="0" t="0" r="r" b="b"/>
                <a:pathLst>
                  <a:path w="78" h="78">
                    <a:moveTo>
                      <a:pt x="38" y="0"/>
                    </a:moveTo>
                    <a:lnTo>
                      <a:pt x="38" y="0"/>
                    </a:lnTo>
                    <a:lnTo>
                      <a:pt x="32" y="0"/>
                    </a:lnTo>
                    <a:lnTo>
                      <a:pt x="24" y="2"/>
                    </a:lnTo>
                    <a:lnTo>
                      <a:pt x="18" y="6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6" y="18"/>
                    </a:lnTo>
                    <a:lnTo>
                      <a:pt x="2" y="24"/>
                    </a:lnTo>
                    <a:lnTo>
                      <a:pt x="0" y="32"/>
                    </a:lnTo>
                    <a:lnTo>
                      <a:pt x="0" y="40"/>
                    </a:lnTo>
                    <a:lnTo>
                      <a:pt x="0" y="46"/>
                    </a:lnTo>
                    <a:lnTo>
                      <a:pt x="2" y="54"/>
                    </a:lnTo>
                    <a:lnTo>
                      <a:pt x="6" y="62"/>
                    </a:lnTo>
                    <a:lnTo>
                      <a:pt x="10" y="68"/>
                    </a:lnTo>
                    <a:lnTo>
                      <a:pt x="10" y="68"/>
                    </a:lnTo>
                    <a:lnTo>
                      <a:pt x="18" y="72"/>
                    </a:lnTo>
                    <a:lnTo>
                      <a:pt x="24" y="76"/>
                    </a:lnTo>
                    <a:lnTo>
                      <a:pt x="32" y="78"/>
                    </a:lnTo>
                    <a:lnTo>
                      <a:pt x="38" y="78"/>
                    </a:lnTo>
                    <a:lnTo>
                      <a:pt x="38" y="78"/>
                    </a:lnTo>
                    <a:lnTo>
                      <a:pt x="46" y="78"/>
                    </a:lnTo>
                    <a:lnTo>
                      <a:pt x="54" y="76"/>
                    </a:lnTo>
                    <a:lnTo>
                      <a:pt x="60" y="72"/>
                    </a:lnTo>
                    <a:lnTo>
                      <a:pt x="68" y="68"/>
                    </a:lnTo>
                    <a:lnTo>
                      <a:pt x="68" y="68"/>
                    </a:lnTo>
                    <a:lnTo>
                      <a:pt x="72" y="62"/>
                    </a:lnTo>
                    <a:lnTo>
                      <a:pt x="76" y="54"/>
                    </a:lnTo>
                    <a:lnTo>
                      <a:pt x="78" y="46"/>
                    </a:lnTo>
                    <a:lnTo>
                      <a:pt x="78" y="40"/>
                    </a:lnTo>
                    <a:lnTo>
                      <a:pt x="78" y="32"/>
                    </a:lnTo>
                    <a:lnTo>
                      <a:pt x="76" y="24"/>
                    </a:lnTo>
                    <a:lnTo>
                      <a:pt x="72" y="18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0" y="6"/>
                    </a:lnTo>
                    <a:lnTo>
                      <a:pt x="54" y="2"/>
                    </a:lnTo>
                    <a:lnTo>
                      <a:pt x="46" y="0"/>
                    </a:lnTo>
                    <a:lnTo>
                      <a:pt x="3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79" name="Freeform 15"/>
              <p:cNvSpPr>
                <a:spLocks/>
              </p:cNvSpPr>
              <p:nvPr userDrawn="1"/>
            </p:nvSpPr>
            <p:spPr bwMode="auto">
              <a:xfrm>
                <a:off x="7861300" y="5006975"/>
                <a:ext cx="111125" cy="114300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8" y="0"/>
                  </a:cxn>
                  <a:cxn ang="0">
                    <a:pos x="22" y="2"/>
                  </a:cxn>
                  <a:cxn ang="0">
                    <a:pos x="16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6"/>
                  </a:cxn>
                  <a:cxn ang="0">
                    <a:pos x="2" y="22"/>
                  </a:cxn>
                  <a:cxn ang="0">
                    <a:pos x="0" y="28"/>
                  </a:cxn>
                  <a:cxn ang="0">
                    <a:pos x="0" y="36"/>
                  </a:cxn>
                  <a:cxn ang="0">
                    <a:pos x="0" y="42"/>
                  </a:cxn>
                  <a:cxn ang="0">
                    <a:pos x="2" y="50"/>
                  </a:cxn>
                  <a:cxn ang="0">
                    <a:pos x="6" y="56"/>
                  </a:cxn>
                  <a:cxn ang="0">
                    <a:pos x="10" y="62"/>
                  </a:cxn>
                  <a:cxn ang="0">
                    <a:pos x="10" y="62"/>
                  </a:cxn>
                  <a:cxn ang="0">
                    <a:pos x="16" y="66"/>
                  </a:cxn>
                  <a:cxn ang="0">
                    <a:pos x="22" y="68"/>
                  </a:cxn>
                  <a:cxn ang="0">
                    <a:pos x="28" y="70"/>
                  </a:cxn>
                  <a:cxn ang="0">
                    <a:pos x="36" y="72"/>
                  </a:cxn>
                  <a:cxn ang="0">
                    <a:pos x="36" y="72"/>
                  </a:cxn>
                  <a:cxn ang="0">
                    <a:pos x="42" y="70"/>
                  </a:cxn>
                  <a:cxn ang="0">
                    <a:pos x="48" y="68"/>
                  </a:cxn>
                  <a:cxn ang="0">
                    <a:pos x="54" y="66"/>
                  </a:cxn>
                  <a:cxn ang="0">
                    <a:pos x="60" y="62"/>
                  </a:cxn>
                  <a:cxn ang="0">
                    <a:pos x="60" y="62"/>
                  </a:cxn>
                  <a:cxn ang="0">
                    <a:pos x="64" y="56"/>
                  </a:cxn>
                  <a:cxn ang="0">
                    <a:pos x="68" y="50"/>
                  </a:cxn>
                  <a:cxn ang="0">
                    <a:pos x="70" y="42"/>
                  </a:cxn>
                  <a:cxn ang="0">
                    <a:pos x="70" y="36"/>
                  </a:cxn>
                  <a:cxn ang="0">
                    <a:pos x="70" y="28"/>
                  </a:cxn>
                  <a:cxn ang="0">
                    <a:pos x="68" y="22"/>
                  </a:cxn>
                  <a:cxn ang="0">
                    <a:pos x="64" y="16"/>
                  </a:cxn>
                  <a:cxn ang="0">
                    <a:pos x="60" y="10"/>
                  </a:cxn>
                  <a:cxn ang="0">
                    <a:pos x="60" y="10"/>
                  </a:cxn>
                  <a:cxn ang="0">
                    <a:pos x="54" y="6"/>
                  </a:cxn>
                  <a:cxn ang="0">
                    <a:pos x="48" y="2"/>
                  </a:cxn>
                  <a:cxn ang="0">
                    <a:pos x="42" y="0"/>
                  </a:cxn>
                  <a:cxn ang="0">
                    <a:pos x="36" y="0"/>
                  </a:cxn>
                </a:cxnLst>
                <a:rect l="0" t="0" r="r" b="b"/>
                <a:pathLst>
                  <a:path w="70" h="72">
                    <a:moveTo>
                      <a:pt x="36" y="0"/>
                    </a:moveTo>
                    <a:lnTo>
                      <a:pt x="36" y="0"/>
                    </a:lnTo>
                    <a:lnTo>
                      <a:pt x="28" y="0"/>
                    </a:lnTo>
                    <a:lnTo>
                      <a:pt x="22" y="2"/>
                    </a:lnTo>
                    <a:lnTo>
                      <a:pt x="16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6"/>
                    </a:lnTo>
                    <a:lnTo>
                      <a:pt x="2" y="22"/>
                    </a:lnTo>
                    <a:lnTo>
                      <a:pt x="0" y="28"/>
                    </a:lnTo>
                    <a:lnTo>
                      <a:pt x="0" y="36"/>
                    </a:lnTo>
                    <a:lnTo>
                      <a:pt x="0" y="42"/>
                    </a:lnTo>
                    <a:lnTo>
                      <a:pt x="2" y="50"/>
                    </a:lnTo>
                    <a:lnTo>
                      <a:pt x="6" y="56"/>
                    </a:lnTo>
                    <a:lnTo>
                      <a:pt x="10" y="62"/>
                    </a:lnTo>
                    <a:lnTo>
                      <a:pt x="10" y="62"/>
                    </a:lnTo>
                    <a:lnTo>
                      <a:pt x="16" y="66"/>
                    </a:lnTo>
                    <a:lnTo>
                      <a:pt x="22" y="68"/>
                    </a:lnTo>
                    <a:lnTo>
                      <a:pt x="28" y="70"/>
                    </a:lnTo>
                    <a:lnTo>
                      <a:pt x="36" y="72"/>
                    </a:lnTo>
                    <a:lnTo>
                      <a:pt x="36" y="72"/>
                    </a:lnTo>
                    <a:lnTo>
                      <a:pt x="42" y="70"/>
                    </a:lnTo>
                    <a:lnTo>
                      <a:pt x="48" y="68"/>
                    </a:lnTo>
                    <a:lnTo>
                      <a:pt x="54" y="66"/>
                    </a:lnTo>
                    <a:lnTo>
                      <a:pt x="60" y="62"/>
                    </a:lnTo>
                    <a:lnTo>
                      <a:pt x="60" y="62"/>
                    </a:lnTo>
                    <a:lnTo>
                      <a:pt x="64" y="56"/>
                    </a:lnTo>
                    <a:lnTo>
                      <a:pt x="68" y="50"/>
                    </a:lnTo>
                    <a:lnTo>
                      <a:pt x="70" y="42"/>
                    </a:lnTo>
                    <a:lnTo>
                      <a:pt x="70" y="36"/>
                    </a:lnTo>
                    <a:lnTo>
                      <a:pt x="70" y="28"/>
                    </a:lnTo>
                    <a:lnTo>
                      <a:pt x="68" y="22"/>
                    </a:lnTo>
                    <a:lnTo>
                      <a:pt x="64" y="16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54" y="6"/>
                    </a:lnTo>
                    <a:lnTo>
                      <a:pt x="48" y="2"/>
                    </a:lnTo>
                    <a:lnTo>
                      <a:pt x="42" y="0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80" name="Freeform 16"/>
              <p:cNvSpPr>
                <a:spLocks/>
              </p:cNvSpPr>
              <p:nvPr userDrawn="1"/>
            </p:nvSpPr>
            <p:spPr bwMode="auto">
              <a:xfrm>
                <a:off x="7861300" y="5006975"/>
                <a:ext cx="111125" cy="114300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8" y="0"/>
                  </a:cxn>
                  <a:cxn ang="0">
                    <a:pos x="22" y="2"/>
                  </a:cxn>
                  <a:cxn ang="0">
                    <a:pos x="16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6"/>
                  </a:cxn>
                  <a:cxn ang="0">
                    <a:pos x="2" y="22"/>
                  </a:cxn>
                  <a:cxn ang="0">
                    <a:pos x="0" y="28"/>
                  </a:cxn>
                  <a:cxn ang="0">
                    <a:pos x="0" y="36"/>
                  </a:cxn>
                  <a:cxn ang="0">
                    <a:pos x="0" y="42"/>
                  </a:cxn>
                  <a:cxn ang="0">
                    <a:pos x="2" y="50"/>
                  </a:cxn>
                  <a:cxn ang="0">
                    <a:pos x="6" y="56"/>
                  </a:cxn>
                  <a:cxn ang="0">
                    <a:pos x="10" y="62"/>
                  </a:cxn>
                  <a:cxn ang="0">
                    <a:pos x="10" y="62"/>
                  </a:cxn>
                  <a:cxn ang="0">
                    <a:pos x="16" y="66"/>
                  </a:cxn>
                  <a:cxn ang="0">
                    <a:pos x="22" y="68"/>
                  </a:cxn>
                  <a:cxn ang="0">
                    <a:pos x="28" y="70"/>
                  </a:cxn>
                  <a:cxn ang="0">
                    <a:pos x="36" y="72"/>
                  </a:cxn>
                  <a:cxn ang="0">
                    <a:pos x="36" y="72"/>
                  </a:cxn>
                  <a:cxn ang="0">
                    <a:pos x="42" y="70"/>
                  </a:cxn>
                  <a:cxn ang="0">
                    <a:pos x="48" y="68"/>
                  </a:cxn>
                  <a:cxn ang="0">
                    <a:pos x="54" y="66"/>
                  </a:cxn>
                  <a:cxn ang="0">
                    <a:pos x="60" y="62"/>
                  </a:cxn>
                  <a:cxn ang="0">
                    <a:pos x="60" y="62"/>
                  </a:cxn>
                  <a:cxn ang="0">
                    <a:pos x="64" y="56"/>
                  </a:cxn>
                  <a:cxn ang="0">
                    <a:pos x="68" y="50"/>
                  </a:cxn>
                  <a:cxn ang="0">
                    <a:pos x="70" y="42"/>
                  </a:cxn>
                  <a:cxn ang="0">
                    <a:pos x="70" y="36"/>
                  </a:cxn>
                  <a:cxn ang="0">
                    <a:pos x="70" y="28"/>
                  </a:cxn>
                  <a:cxn ang="0">
                    <a:pos x="68" y="22"/>
                  </a:cxn>
                  <a:cxn ang="0">
                    <a:pos x="64" y="16"/>
                  </a:cxn>
                  <a:cxn ang="0">
                    <a:pos x="60" y="10"/>
                  </a:cxn>
                  <a:cxn ang="0">
                    <a:pos x="60" y="10"/>
                  </a:cxn>
                  <a:cxn ang="0">
                    <a:pos x="54" y="6"/>
                  </a:cxn>
                  <a:cxn ang="0">
                    <a:pos x="48" y="2"/>
                  </a:cxn>
                  <a:cxn ang="0">
                    <a:pos x="42" y="0"/>
                  </a:cxn>
                  <a:cxn ang="0">
                    <a:pos x="36" y="0"/>
                  </a:cxn>
                </a:cxnLst>
                <a:rect l="0" t="0" r="r" b="b"/>
                <a:pathLst>
                  <a:path w="70" h="72">
                    <a:moveTo>
                      <a:pt x="36" y="0"/>
                    </a:moveTo>
                    <a:lnTo>
                      <a:pt x="36" y="0"/>
                    </a:lnTo>
                    <a:lnTo>
                      <a:pt x="28" y="0"/>
                    </a:lnTo>
                    <a:lnTo>
                      <a:pt x="22" y="2"/>
                    </a:lnTo>
                    <a:lnTo>
                      <a:pt x="16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6"/>
                    </a:lnTo>
                    <a:lnTo>
                      <a:pt x="2" y="22"/>
                    </a:lnTo>
                    <a:lnTo>
                      <a:pt x="0" y="28"/>
                    </a:lnTo>
                    <a:lnTo>
                      <a:pt x="0" y="36"/>
                    </a:lnTo>
                    <a:lnTo>
                      <a:pt x="0" y="42"/>
                    </a:lnTo>
                    <a:lnTo>
                      <a:pt x="2" y="50"/>
                    </a:lnTo>
                    <a:lnTo>
                      <a:pt x="6" y="56"/>
                    </a:lnTo>
                    <a:lnTo>
                      <a:pt x="10" y="62"/>
                    </a:lnTo>
                    <a:lnTo>
                      <a:pt x="10" y="62"/>
                    </a:lnTo>
                    <a:lnTo>
                      <a:pt x="16" y="66"/>
                    </a:lnTo>
                    <a:lnTo>
                      <a:pt x="22" y="68"/>
                    </a:lnTo>
                    <a:lnTo>
                      <a:pt x="28" y="70"/>
                    </a:lnTo>
                    <a:lnTo>
                      <a:pt x="36" y="72"/>
                    </a:lnTo>
                    <a:lnTo>
                      <a:pt x="36" y="72"/>
                    </a:lnTo>
                    <a:lnTo>
                      <a:pt x="42" y="70"/>
                    </a:lnTo>
                    <a:lnTo>
                      <a:pt x="48" y="68"/>
                    </a:lnTo>
                    <a:lnTo>
                      <a:pt x="54" y="66"/>
                    </a:lnTo>
                    <a:lnTo>
                      <a:pt x="60" y="62"/>
                    </a:lnTo>
                    <a:lnTo>
                      <a:pt x="60" y="62"/>
                    </a:lnTo>
                    <a:lnTo>
                      <a:pt x="64" y="56"/>
                    </a:lnTo>
                    <a:lnTo>
                      <a:pt x="68" y="50"/>
                    </a:lnTo>
                    <a:lnTo>
                      <a:pt x="70" y="42"/>
                    </a:lnTo>
                    <a:lnTo>
                      <a:pt x="70" y="36"/>
                    </a:lnTo>
                    <a:lnTo>
                      <a:pt x="70" y="28"/>
                    </a:lnTo>
                    <a:lnTo>
                      <a:pt x="68" y="22"/>
                    </a:lnTo>
                    <a:lnTo>
                      <a:pt x="64" y="16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54" y="6"/>
                    </a:lnTo>
                    <a:lnTo>
                      <a:pt x="48" y="2"/>
                    </a:lnTo>
                    <a:lnTo>
                      <a:pt x="42" y="0"/>
                    </a:lnTo>
                    <a:lnTo>
                      <a:pt x="3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81" name="Freeform 17"/>
              <p:cNvSpPr>
                <a:spLocks/>
              </p:cNvSpPr>
              <p:nvPr userDrawn="1"/>
            </p:nvSpPr>
            <p:spPr bwMode="auto">
              <a:xfrm>
                <a:off x="7772400" y="5362575"/>
                <a:ext cx="101600" cy="101600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0"/>
                  </a:cxn>
                  <a:cxn ang="0">
                    <a:pos x="26" y="0"/>
                  </a:cxn>
                  <a:cxn ang="0">
                    <a:pos x="20" y="2"/>
                  </a:cxn>
                  <a:cxn ang="0">
                    <a:pos x="14" y="4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6" y="14"/>
                  </a:cxn>
                  <a:cxn ang="0">
                    <a:pos x="2" y="20"/>
                  </a:cxn>
                  <a:cxn ang="0">
                    <a:pos x="0" y="26"/>
                  </a:cxn>
                  <a:cxn ang="0">
                    <a:pos x="0" y="32"/>
                  </a:cxn>
                  <a:cxn ang="0">
                    <a:pos x="0" y="38"/>
                  </a:cxn>
                  <a:cxn ang="0">
                    <a:pos x="2" y="44"/>
                  </a:cxn>
                  <a:cxn ang="0">
                    <a:pos x="6" y="50"/>
                  </a:cxn>
                  <a:cxn ang="0">
                    <a:pos x="10" y="54"/>
                  </a:cxn>
                  <a:cxn ang="0">
                    <a:pos x="10" y="54"/>
                  </a:cxn>
                  <a:cxn ang="0">
                    <a:pos x="14" y="58"/>
                  </a:cxn>
                  <a:cxn ang="0">
                    <a:pos x="20" y="62"/>
                  </a:cxn>
                  <a:cxn ang="0">
                    <a:pos x="26" y="64"/>
                  </a:cxn>
                  <a:cxn ang="0">
                    <a:pos x="32" y="64"/>
                  </a:cxn>
                  <a:cxn ang="0">
                    <a:pos x="32" y="64"/>
                  </a:cxn>
                  <a:cxn ang="0">
                    <a:pos x="38" y="64"/>
                  </a:cxn>
                  <a:cxn ang="0">
                    <a:pos x="44" y="62"/>
                  </a:cxn>
                  <a:cxn ang="0">
                    <a:pos x="50" y="58"/>
                  </a:cxn>
                  <a:cxn ang="0">
                    <a:pos x="54" y="54"/>
                  </a:cxn>
                  <a:cxn ang="0">
                    <a:pos x="54" y="54"/>
                  </a:cxn>
                  <a:cxn ang="0">
                    <a:pos x="60" y="50"/>
                  </a:cxn>
                  <a:cxn ang="0">
                    <a:pos x="62" y="44"/>
                  </a:cxn>
                  <a:cxn ang="0">
                    <a:pos x="64" y="38"/>
                  </a:cxn>
                  <a:cxn ang="0">
                    <a:pos x="64" y="32"/>
                  </a:cxn>
                  <a:cxn ang="0">
                    <a:pos x="64" y="26"/>
                  </a:cxn>
                  <a:cxn ang="0">
                    <a:pos x="62" y="20"/>
                  </a:cxn>
                  <a:cxn ang="0">
                    <a:pos x="60" y="14"/>
                  </a:cxn>
                  <a:cxn ang="0">
                    <a:pos x="54" y="8"/>
                  </a:cxn>
                  <a:cxn ang="0">
                    <a:pos x="54" y="8"/>
                  </a:cxn>
                  <a:cxn ang="0">
                    <a:pos x="50" y="4"/>
                  </a:cxn>
                  <a:cxn ang="0">
                    <a:pos x="44" y="2"/>
                  </a:cxn>
                  <a:cxn ang="0">
                    <a:pos x="38" y="0"/>
                  </a:cxn>
                  <a:cxn ang="0">
                    <a:pos x="32" y="0"/>
                  </a:cxn>
                </a:cxnLst>
                <a:rect l="0" t="0" r="r" b="b"/>
                <a:pathLst>
                  <a:path w="64" h="64">
                    <a:moveTo>
                      <a:pt x="32" y="0"/>
                    </a:moveTo>
                    <a:lnTo>
                      <a:pt x="32" y="0"/>
                    </a:lnTo>
                    <a:lnTo>
                      <a:pt x="26" y="0"/>
                    </a:lnTo>
                    <a:lnTo>
                      <a:pt x="20" y="2"/>
                    </a:lnTo>
                    <a:lnTo>
                      <a:pt x="14" y="4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6" y="14"/>
                    </a:lnTo>
                    <a:lnTo>
                      <a:pt x="2" y="20"/>
                    </a:lnTo>
                    <a:lnTo>
                      <a:pt x="0" y="26"/>
                    </a:lnTo>
                    <a:lnTo>
                      <a:pt x="0" y="32"/>
                    </a:lnTo>
                    <a:lnTo>
                      <a:pt x="0" y="38"/>
                    </a:lnTo>
                    <a:lnTo>
                      <a:pt x="2" y="44"/>
                    </a:lnTo>
                    <a:lnTo>
                      <a:pt x="6" y="50"/>
                    </a:lnTo>
                    <a:lnTo>
                      <a:pt x="10" y="54"/>
                    </a:lnTo>
                    <a:lnTo>
                      <a:pt x="10" y="54"/>
                    </a:lnTo>
                    <a:lnTo>
                      <a:pt x="14" y="58"/>
                    </a:lnTo>
                    <a:lnTo>
                      <a:pt x="20" y="62"/>
                    </a:lnTo>
                    <a:lnTo>
                      <a:pt x="26" y="64"/>
                    </a:lnTo>
                    <a:lnTo>
                      <a:pt x="32" y="64"/>
                    </a:lnTo>
                    <a:lnTo>
                      <a:pt x="32" y="64"/>
                    </a:lnTo>
                    <a:lnTo>
                      <a:pt x="38" y="64"/>
                    </a:lnTo>
                    <a:lnTo>
                      <a:pt x="44" y="62"/>
                    </a:lnTo>
                    <a:lnTo>
                      <a:pt x="50" y="58"/>
                    </a:lnTo>
                    <a:lnTo>
                      <a:pt x="54" y="54"/>
                    </a:lnTo>
                    <a:lnTo>
                      <a:pt x="54" y="54"/>
                    </a:lnTo>
                    <a:lnTo>
                      <a:pt x="60" y="50"/>
                    </a:lnTo>
                    <a:lnTo>
                      <a:pt x="62" y="44"/>
                    </a:lnTo>
                    <a:lnTo>
                      <a:pt x="64" y="38"/>
                    </a:lnTo>
                    <a:lnTo>
                      <a:pt x="64" y="32"/>
                    </a:lnTo>
                    <a:lnTo>
                      <a:pt x="64" y="26"/>
                    </a:lnTo>
                    <a:lnTo>
                      <a:pt x="62" y="20"/>
                    </a:lnTo>
                    <a:lnTo>
                      <a:pt x="60" y="14"/>
                    </a:lnTo>
                    <a:lnTo>
                      <a:pt x="54" y="8"/>
                    </a:lnTo>
                    <a:lnTo>
                      <a:pt x="54" y="8"/>
                    </a:lnTo>
                    <a:lnTo>
                      <a:pt x="50" y="4"/>
                    </a:lnTo>
                    <a:lnTo>
                      <a:pt x="44" y="2"/>
                    </a:lnTo>
                    <a:lnTo>
                      <a:pt x="38" y="0"/>
                    </a:lnTo>
                    <a:lnTo>
                      <a:pt x="3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82" name="Freeform 18"/>
              <p:cNvSpPr>
                <a:spLocks/>
              </p:cNvSpPr>
              <p:nvPr userDrawn="1"/>
            </p:nvSpPr>
            <p:spPr bwMode="auto">
              <a:xfrm>
                <a:off x="7772400" y="5362575"/>
                <a:ext cx="101600" cy="101600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0"/>
                  </a:cxn>
                  <a:cxn ang="0">
                    <a:pos x="26" y="0"/>
                  </a:cxn>
                  <a:cxn ang="0">
                    <a:pos x="20" y="2"/>
                  </a:cxn>
                  <a:cxn ang="0">
                    <a:pos x="14" y="4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6" y="14"/>
                  </a:cxn>
                  <a:cxn ang="0">
                    <a:pos x="2" y="20"/>
                  </a:cxn>
                  <a:cxn ang="0">
                    <a:pos x="0" y="26"/>
                  </a:cxn>
                  <a:cxn ang="0">
                    <a:pos x="0" y="32"/>
                  </a:cxn>
                  <a:cxn ang="0">
                    <a:pos x="0" y="38"/>
                  </a:cxn>
                  <a:cxn ang="0">
                    <a:pos x="2" y="44"/>
                  </a:cxn>
                  <a:cxn ang="0">
                    <a:pos x="6" y="50"/>
                  </a:cxn>
                  <a:cxn ang="0">
                    <a:pos x="10" y="54"/>
                  </a:cxn>
                  <a:cxn ang="0">
                    <a:pos x="10" y="54"/>
                  </a:cxn>
                  <a:cxn ang="0">
                    <a:pos x="14" y="58"/>
                  </a:cxn>
                  <a:cxn ang="0">
                    <a:pos x="20" y="62"/>
                  </a:cxn>
                  <a:cxn ang="0">
                    <a:pos x="26" y="64"/>
                  </a:cxn>
                  <a:cxn ang="0">
                    <a:pos x="32" y="64"/>
                  </a:cxn>
                  <a:cxn ang="0">
                    <a:pos x="32" y="64"/>
                  </a:cxn>
                  <a:cxn ang="0">
                    <a:pos x="38" y="64"/>
                  </a:cxn>
                  <a:cxn ang="0">
                    <a:pos x="44" y="62"/>
                  </a:cxn>
                  <a:cxn ang="0">
                    <a:pos x="50" y="58"/>
                  </a:cxn>
                  <a:cxn ang="0">
                    <a:pos x="54" y="54"/>
                  </a:cxn>
                  <a:cxn ang="0">
                    <a:pos x="54" y="54"/>
                  </a:cxn>
                  <a:cxn ang="0">
                    <a:pos x="60" y="50"/>
                  </a:cxn>
                  <a:cxn ang="0">
                    <a:pos x="62" y="44"/>
                  </a:cxn>
                  <a:cxn ang="0">
                    <a:pos x="64" y="38"/>
                  </a:cxn>
                  <a:cxn ang="0">
                    <a:pos x="64" y="32"/>
                  </a:cxn>
                  <a:cxn ang="0">
                    <a:pos x="64" y="26"/>
                  </a:cxn>
                  <a:cxn ang="0">
                    <a:pos x="62" y="20"/>
                  </a:cxn>
                  <a:cxn ang="0">
                    <a:pos x="60" y="14"/>
                  </a:cxn>
                  <a:cxn ang="0">
                    <a:pos x="54" y="8"/>
                  </a:cxn>
                  <a:cxn ang="0">
                    <a:pos x="54" y="8"/>
                  </a:cxn>
                  <a:cxn ang="0">
                    <a:pos x="50" y="4"/>
                  </a:cxn>
                  <a:cxn ang="0">
                    <a:pos x="44" y="2"/>
                  </a:cxn>
                  <a:cxn ang="0">
                    <a:pos x="38" y="0"/>
                  </a:cxn>
                  <a:cxn ang="0">
                    <a:pos x="32" y="0"/>
                  </a:cxn>
                </a:cxnLst>
                <a:rect l="0" t="0" r="r" b="b"/>
                <a:pathLst>
                  <a:path w="64" h="64">
                    <a:moveTo>
                      <a:pt x="32" y="0"/>
                    </a:moveTo>
                    <a:lnTo>
                      <a:pt x="32" y="0"/>
                    </a:lnTo>
                    <a:lnTo>
                      <a:pt x="26" y="0"/>
                    </a:lnTo>
                    <a:lnTo>
                      <a:pt x="20" y="2"/>
                    </a:lnTo>
                    <a:lnTo>
                      <a:pt x="14" y="4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6" y="14"/>
                    </a:lnTo>
                    <a:lnTo>
                      <a:pt x="2" y="20"/>
                    </a:lnTo>
                    <a:lnTo>
                      <a:pt x="0" y="26"/>
                    </a:lnTo>
                    <a:lnTo>
                      <a:pt x="0" y="32"/>
                    </a:lnTo>
                    <a:lnTo>
                      <a:pt x="0" y="38"/>
                    </a:lnTo>
                    <a:lnTo>
                      <a:pt x="2" y="44"/>
                    </a:lnTo>
                    <a:lnTo>
                      <a:pt x="6" y="50"/>
                    </a:lnTo>
                    <a:lnTo>
                      <a:pt x="10" y="54"/>
                    </a:lnTo>
                    <a:lnTo>
                      <a:pt x="10" y="54"/>
                    </a:lnTo>
                    <a:lnTo>
                      <a:pt x="14" y="58"/>
                    </a:lnTo>
                    <a:lnTo>
                      <a:pt x="20" y="62"/>
                    </a:lnTo>
                    <a:lnTo>
                      <a:pt x="26" y="64"/>
                    </a:lnTo>
                    <a:lnTo>
                      <a:pt x="32" y="64"/>
                    </a:lnTo>
                    <a:lnTo>
                      <a:pt x="32" y="64"/>
                    </a:lnTo>
                    <a:lnTo>
                      <a:pt x="38" y="64"/>
                    </a:lnTo>
                    <a:lnTo>
                      <a:pt x="44" y="62"/>
                    </a:lnTo>
                    <a:lnTo>
                      <a:pt x="50" y="58"/>
                    </a:lnTo>
                    <a:lnTo>
                      <a:pt x="54" y="54"/>
                    </a:lnTo>
                    <a:lnTo>
                      <a:pt x="54" y="54"/>
                    </a:lnTo>
                    <a:lnTo>
                      <a:pt x="60" y="50"/>
                    </a:lnTo>
                    <a:lnTo>
                      <a:pt x="62" y="44"/>
                    </a:lnTo>
                    <a:lnTo>
                      <a:pt x="64" y="38"/>
                    </a:lnTo>
                    <a:lnTo>
                      <a:pt x="64" y="32"/>
                    </a:lnTo>
                    <a:lnTo>
                      <a:pt x="64" y="26"/>
                    </a:lnTo>
                    <a:lnTo>
                      <a:pt x="62" y="20"/>
                    </a:lnTo>
                    <a:lnTo>
                      <a:pt x="60" y="14"/>
                    </a:lnTo>
                    <a:lnTo>
                      <a:pt x="54" y="8"/>
                    </a:lnTo>
                    <a:lnTo>
                      <a:pt x="54" y="8"/>
                    </a:lnTo>
                    <a:lnTo>
                      <a:pt x="50" y="4"/>
                    </a:lnTo>
                    <a:lnTo>
                      <a:pt x="44" y="2"/>
                    </a:lnTo>
                    <a:lnTo>
                      <a:pt x="38" y="0"/>
                    </a:lnTo>
                    <a:lnTo>
                      <a:pt x="3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83" name="Freeform 19"/>
              <p:cNvSpPr>
                <a:spLocks/>
              </p:cNvSpPr>
              <p:nvPr userDrawn="1"/>
            </p:nvSpPr>
            <p:spPr bwMode="auto">
              <a:xfrm>
                <a:off x="7626350" y="5692775"/>
                <a:ext cx="92075" cy="92075"/>
              </a:xfrm>
              <a:custGeom>
                <a:avLst/>
                <a:gdLst/>
                <a:ahLst/>
                <a:cxnLst>
                  <a:cxn ang="0">
                    <a:pos x="28" y="0"/>
                  </a:cxn>
                  <a:cxn ang="0">
                    <a:pos x="28" y="0"/>
                  </a:cxn>
                  <a:cxn ang="0">
                    <a:pos x="18" y="2"/>
                  </a:cxn>
                  <a:cxn ang="0">
                    <a:pos x="8" y="10"/>
                  </a:cxn>
                  <a:cxn ang="0">
                    <a:pos x="8" y="10"/>
                  </a:cxn>
                  <a:cxn ang="0">
                    <a:pos x="2" y="18"/>
                  </a:cxn>
                  <a:cxn ang="0">
                    <a:pos x="0" y="30"/>
                  </a:cxn>
                  <a:cxn ang="0">
                    <a:pos x="2" y="40"/>
                  </a:cxn>
                  <a:cxn ang="0">
                    <a:pos x="8" y="50"/>
                  </a:cxn>
                  <a:cxn ang="0">
                    <a:pos x="8" y="50"/>
                  </a:cxn>
                  <a:cxn ang="0">
                    <a:pos x="18" y="56"/>
                  </a:cxn>
                  <a:cxn ang="0">
                    <a:pos x="28" y="58"/>
                  </a:cxn>
                  <a:cxn ang="0">
                    <a:pos x="28" y="58"/>
                  </a:cxn>
                  <a:cxn ang="0">
                    <a:pos x="38" y="56"/>
                  </a:cxn>
                  <a:cxn ang="0">
                    <a:pos x="48" y="50"/>
                  </a:cxn>
                  <a:cxn ang="0">
                    <a:pos x="48" y="50"/>
                  </a:cxn>
                  <a:cxn ang="0">
                    <a:pos x="54" y="40"/>
                  </a:cxn>
                  <a:cxn ang="0">
                    <a:pos x="58" y="30"/>
                  </a:cxn>
                  <a:cxn ang="0">
                    <a:pos x="54" y="18"/>
                  </a:cxn>
                  <a:cxn ang="0">
                    <a:pos x="48" y="10"/>
                  </a:cxn>
                  <a:cxn ang="0">
                    <a:pos x="48" y="10"/>
                  </a:cxn>
                  <a:cxn ang="0">
                    <a:pos x="38" y="2"/>
                  </a:cxn>
                  <a:cxn ang="0">
                    <a:pos x="28" y="0"/>
                  </a:cxn>
                </a:cxnLst>
                <a:rect l="0" t="0" r="r" b="b"/>
                <a:pathLst>
                  <a:path w="58" h="58">
                    <a:moveTo>
                      <a:pt x="28" y="0"/>
                    </a:moveTo>
                    <a:lnTo>
                      <a:pt x="28" y="0"/>
                    </a:lnTo>
                    <a:lnTo>
                      <a:pt x="18" y="2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2" y="18"/>
                    </a:lnTo>
                    <a:lnTo>
                      <a:pt x="0" y="30"/>
                    </a:lnTo>
                    <a:lnTo>
                      <a:pt x="2" y="40"/>
                    </a:lnTo>
                    <a:lnTo>
                      <a:pt x="8" y="50"/>
                    </a:lnTo>
                    <a:lnTo>
                      <a:pt x="8" y="50"/>
                    </a:lnTo>
                    <a:lnTo>
                      <a:pt x="18" y="56"/>
                    </a:lnTo>
                    <a:lnTo>
                      <a:pt x="28" y="58"/>
                    </a:lnTo>
                    <a:lnTo>
                      <a:pt x="28" y="58"/>
                    </a:lnTo>
                    <a:lnTo>
                      <a:pt x="38" y="56"/>
                    </a:lnTo>
                    <a:lnTo>
                      <a:pt x="48" y="50"/>
                    </a:lnTo>
                    <a:lnTo>
                      <a:pt x="48" y="50"/>
                    </a:lnTo>
                    <a:lnTo>
                      <a:pt x="54" y="40"/>
                    </a:lnTo>
                    <a:lnTo>
                      <a:pt x="58" y="30"/>
                    </a:lnTo>
                    <a:lnTo>
                      <a:pt x="54" y="18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38" y="2"/>
                    </a:lnTo>
                    <a:lnTo>
                      <a:pt x="2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84" name="Freeform 20"/>
              <p:cNvSpPr>
                <a:spLocks/>
              </p:cNvSpPr>
              <p:nvPr userDrawn="1"/>
            </p:nvSpPr>
            <p:spPr bwMode="auto">
              <a:xfrm>
                <a:off x="7626350" y="5692775"/>
                <a:ext cx="92075" cy="92075"/>
              </a:xfrm>
              <a:custGeom>
                <a:avLst/>
                <a:gdLst/>
                <a:ahLst/>
                <a:cxnLst>
                  <a:cxn ang="0">
                    <a:pos x="28" y="0"/>
                  </a:cxn>
                  <a:cxn ang="0">
                    <a:pos x="28" y="0"/>
                  </a:cxn>
                  <a:cxn ang="0">
                    <a:pos x="18" y="2"/>
                  </a:cxn>
                  <a:cxn ang="0">
                    <a:pos x="8" y="10"/>
                  </a:cxn>
                  <a:cxn ang="0">
                    <a:pos x="8" y="10"/>
                  </a:cxn>
                  <a:cxn ang="0">
                    <a:pos x="2" y="18"/>
                  </a:cxn>
                  <a:cxn ang="0">
                    <a:pos x="0" y="30"/>
                  </a:cxn>
                  <a:cxn ang="0">
                    <a:pos x="2" y="40"/>
                  </a:cxn>
                  <a:cxn ang="0">
                    <a:pos x="8" y="50"/>
                  </a:cxn>
                  <a:cxn ang="0">
                    <a:pos x="8" y="50"/>
                  </a:cxn>
                  <a:cxn ang="0">
                    <a:pos x="18" y="56"/>
                  </a:cxn>
                  <a:cxn ang="0">
                    <a:pos x="28" y="58"/>
                  </a:cxn>
                  <a:cxn ang="0">
                    <a:pos x="28" y="58"/>
                  </a:cxn>
                  <a:cxn ang="0">
                    <a:pos x="38" y="56"/>
                  </a:cxn>
                  <a:cxn ang="0">
                    <a:pos x="48" y="50"/>
                  </a:cxn>
                  <a:cxn ang="0">
                    <a:pos x="48" y="50"/>
                  </a:cxn>
                  <a:cxn ang="0">
                    <a:pos x="54" y="40"/>
                  </a:cxn>
                  <a:cxn ang="0">
                    <a:pos x="58" y="30"/>
                  </a:cxn>
                  <a:cxn ang="0">
                    <a:pos x="54" y="18"/>
                  </a:cxn>
                  <a:cxn ang="0">
                    <a:pos x="48" y="10"/>
                  </a:cxn>
                  <a:cxn ang="0">
                    <a:pos x="48" y="10"/>
                  </a:cxn>
                  <a:cxn ang="0">
                    <a:pos x="38" y="2"/>
                  </a:cxn>
                  <a:cxn ang="0">
                    <a:pos x="28" y="0"/>
                  </a:cxn>
                </a:cxnLst>
                <a:rect l="0" t="0" r="r" b="b"/>
                <a:pathLst>
                  <a:path w="58" h="58">
                    <a:moveTo>
                      <a:pt x="28" y="0"/>
                    </a:moveTo>
                    <a:lnTo>
                      <a:pt x="28" y="0"/>
                    </a:lnTo>
                    <a:lnTo>
                      <a:pt x="18" y="2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2" y="18"/>
                    </a:lnTo>
                    <a:lnTo>
                      <a:pt x="0" y="30"/>
                    </a:lnTo>
                    <a:lnTo>
                      <a:pt x="2" y="40"/>
                    </a:lnTo>
                    <a:lnTo>
                      <a:pt x="8" y="50"/>
                    </a:lnTo>
                    <a:lnTo>
                      <a:pt x="8" y="50"/>
                    </a:lnTo>
                    <a:lnTo>
                      <a:pt x="18" y="56"/>
                    </a:lnTo>
                    <a:lnTo>
                      <a:pt x="28" y="58"/>
                    </a:lnTo>
                    <a:lnTo>
                      <a:pt x="28" y="58"/>
                    </a:lnTo>
                    <a:lnTo>
                      <a:pt x="38" y="56"/>
                    </a:lnTo>
                    <a:lnTo>
                      <a:pt x="48" y="50"/>
                    </a:lnTo>
                    <a:lnTo>
                      <a:pt x="48" y="50"/>
                    </a:lnTo>
                    <a:lnTo>
                      <a:pt x="54" y="40"/>
                    </a:lnTo>
                    <a:lnTo>
                      <a:pt x="58" y="30"/>
                    </a:lnTo>
                    <a:lnTo>
                      <a:pt x="54" y="18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38" y="2"/>
                    </a:lnTo>
                    <a:lnTo>
                      <a:pt x="2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85" name="Freeform 21"/>
              <p:cNvSpPr>
                <a:spLocks/>
              </p:cNvSpPr>
              <p:nvPr userDrawn="1"/>
            </p:nvSpPr>
            <p:spPr bwMode="auto">
              <a:xfrm>
                <a:off x="7423150" y="5994400"/>
                <a:ext cx="82550" cy="8255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6" y="2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2" y="16"/>
                  </a:cxn>
                  <a:cxn ang="0">
                    <a:pos x="0" y="26"/>
                  </a:cxn>
                  <a:cxn ang="0">
                    <a:pos x="2" y="36"/>
                  </a:cxn>
                  <a:cxn ang="0">
                    <a:pos x="8" y="44"/>
                  </a:cxn>
                  <a:cxn ang="0">
                    <a:pos x="8" y="44"/>
                  </a:cxn>
                  <a:cxn ang="0">
                    <a:pos x="16" y="50"/>
                  </a:cxn>
                  <a:cxn ang="0">
                    <a:pos x="26" y="52"/>
                  </a:cxn>
                  <a:cxn ang="0">
                    <a:pos x="26" y="52"/>
                  </a:cxn>
                  <a:cxn ang="0">
                    <a:pos x="36" y="50"/>
                  </a:cxn>
                  <a:cxn ang="0">
                    <a:pos x="44" y="44"/>
                  </a:cxn>
                  <a:cxn ang="0">
                    <a:pos x="44" y="44"/>
                  </a:cxn>
                  <a:cxn ang="0">
                    <a:pos x="50" y="36"/>
                  </a:cxn>
                  <a:cxn ang="0">
                    <a:pos x="52" y="26"/>
                  </a:cxn>
                  <a:cxn ang="0">
                    <a:pos x="50" y="16"/>
                  </a:cxn>
                  <a:cxn ang="0">
                    <a:pos x="44" y="8"/>
                  </a:cxn>
                  <a:cxn ang="0">
                    <a:pos x="44" y="8"/>
                  </a:cxn>
                  <a:cxn ang="0">
                    <a:pos x="36" y="2"/>
                  </a:cxn>
                  <a:cxn ang="0">
                    <a:pos x="26" y="0"/>
                  </a:cxn>
                </a:cxnLst>
                <a:rect l="0" t="0" r="r" b="b"/>
                <a:pathLst>
                  <a:path w="52" h="52">
                    <a:moveTo>
                      <a:pt x="26" y="0"/>
                    </a:moveTo>
                    <a:lnTo>
                      <a:pt x="26" y="0"/>
                    </a:lnTo>
                    <a:lnTo>
                      <a:pt x="16" y="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2" y="16"/>
                    </a:lnTo>
                    <a:lnTo>
                      <a:pt x="0" y="26"/>
                    </a:lnTo>
                    <a:lnTo>
                      <a:pt x="2" y="36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16" y="50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36" y="50"/>
                    </a:lnTo>
                    <a:lnTo>
                      <a:pt x="44" y="44"/>
                    </a:lnTo>
                    <a:lnTo>
                      <a:pt x="44" y="44"/>
                    </a:lnTo>
                    <a:lnTo>
                      <a:pt x="50" y="36"/>
                    </a:lnTo>
                    <a:lnTo>
                      <a:pt x="52" y="26"/>
                    </a:lnTo>
                    <a:lnTo>
                      <a:pt x="50" y="16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36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86" name="Freeform 22"/>
              <p:cNvSpPr>
                <a:spLocks/>
              </p:cNvSpPr>
              <p:nvPr userDrawn="1"/>
            </p:nvSpPr>
            <p:spPr bwMode="auto">
              <a:xfrm>
                <a:off x="7423150" y="5994400"/>
                <a:ext cx="82550" cy="8255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6" y="2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2" y="16"/>
                  </a:cxn>
                  <a:cxn ang="0">
                    <a:pos x="0" y="26"/>
                  </a:cxn>
                  <a:cxn ang="0">
                    <a:pos x="2" y="36"/>
                  </a:cxn>
                  <a:cxn ang="0">
                    <a:pos x="8" y="44"/>
                  </a:cxn>
                  <a:cxn ang="0">
                    <a:pos x="8" y="44"/>
                  </a:cxn>
                  <a:cxn ang="0">
                    <a:pos x="16" y="50"/>
                  </a:cxn>
                  <a:cxn ang="0">
                    <a:pos x="26" y="52"/>
                  </a:cxn>
                  <a:cxn ang="0">
                    <a:pos x="26" y="52"/>
                  </a:cxn>
                  <a:cxn ang="0">
                    <a:pos x="36" y="50"/>
                  </a:cxn>
                  <a:cxn ang="0">
                    <a:pos x="44" y="44"/>
                  </a:cxn>
                  <a:cxn ang="0">
                    <a:pos x="44" y="44"/>
                  </a:cxn>
                  <a:cxn ang="0">
                    <a:pos x="50" y="36"/>
                  </a:cxn>
                  <a:cxn ang="0">
                    <a:pos x="52" y="26"/>
                  </a:cxn>
                  <a:cxn ang="0">
                    <a:pos x="50" y="16"/>
                  </a:cxn>
                  <a:cxn ang="0">
                    <a:pos x="44" y="8"/>
                  </a:cxn>
                  <a:cxn ang="0">
                    <a:pos x="44" y="8"/>
                  </a:cxn>
                  <a:cxn ang="0">
                    <a:pos x="36" y="2"/>
                  </a:cxn>
                  <a:cxn ang="0">
                    <a:pos x="26" y="0"/>
                  </a:cxn>
                </a:cxnLst>
                <a:rect l="0" t="0" r="r" b="b"/>
                <a:pathLst>
                  <a:path w="52" h="52">
                    <a:moveTo>
                      <a:pt x="26" y="0"/>
                    </a:moveTo>
                    <a:lnTo>
                      <a:pt x="26" y="0"/>
                    </a:lnTo>
                    <a:lnTo>
                      <a:pt x="16" y="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2" y="16"/>
                    </a:lnTo>
                    <a:lnTo>
                      <a:pt x="0" y="26"/>
                    </a:lnTo>
                    <a:lnTo>
                      <a:pt x="2" y="36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16" y="50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36" y="50"/>
                    </a:lnTo>
                    <a:lnTo>
                      <a:pt x="44" y="44"/>
                    </a:lnTo>
                    <a:lnTo>
                      <a:pt x="44" y="44"/>
                    </a:lnTo>
                    <a:lnTo>
                      <a:pt x="50" y="36"/>
                    </a:lnTo>
                    <a:lnTo>
                      <a:pt x="52" y="26"/>
                    </a:lnTo>
                    <a:lnTo>
                      <a:pt x="50" y="16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36" y="2"/>
                    </a:lnTo>
                    <a:lnTo>
                      <a:pt x="2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87" name="Freeform 23"/>
              <p:cNvSpPr>
                <a:spLocks/>
              </p:cNvSpPr>
              <p:nvPr userDrawn="1"/>
            </p:nvSpPr>
            <p:spPr bwMode="auto">
              <a:xfrm>
                <a:off x="7172325" y="6254750"/>
                <a:ext cx="73025" cy="73025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4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0" y="32"/>
                  </a:cxn>
                  <a:cxn ang="0">
                    <a:pos x="6" y="40"/>
                  </a:cxn>
                  <a:cxn ang="0">
                    <a:pos x="6" y="40"/>
                  </a:cxn>
                  <a:cxn ang="0">
                    <a:pos x="14" y="44"/>
                  </a:cxn>
                  <a:cxn ang="0">
                    <a:pos x="22" y="46"/>
                  </a:cxn>
                  <a:cxn ang="0">
                    <a:pos x="22" y="46"/>
                  </a:cxn>
                  <a:cxn ang="0">
                    <a:pos x="32" y="44"/>
                  </a:cxn>
                  <a:cxn ang="0">
                    <a:pos x="40" y="40"/>
                  </a:cxn>
                  <a:cxn ang="0">
                    <a:pos x="40" y="40"/>
                  </a:cxn>
                  <a:cxn ang="0">
                    <a:pos x="44" y="32"/>
                  </a:cxn>
                  <a:cxn ang="0">
                    <a:pos x="46" y="22"/>
                  </a:cxn>
                  <a:cxn ang="0">
                    <a:pos x="44" y="14"/>
                  </a:cxn>
                  <a:cxn ang="0">
                    <a:pos x="40" y="6"/>
                  </a:cxn>
                  <a:cxn ang="0">
                    <a:pos x="40" y="6"/>
                  </a:cxn>
                  <a:cxn ang="0">
                    <a:pos x="32" y="2"/>
                  </a:cxn>
                  <a:cxn ang="0">
                    <a:pos x="22" y="0"/>
                  </a:cxn>
                </a:cxnLst>
                <a:rect l="0" t="0" r="r" b="b"/>
                <a:pathLst>
                  <a:path w="46" h="46">
                    <a:moveTo>
                      <a:pt x="22" y="0"/>
                    </a:moveTo>
                    <a:lnTo>
                      <a:pt x="22" y="0"/>
                    </a:lnTo>
                    <a:lnTo>
                      <a:pt x="14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0" y="32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14" y="44"/>
                    </a:lnTo>
                    <a:lnTo>
                      <a:pt x="22" y="46"/>
                    </a:lnTo>
                    <a:lnTo>
                      <a:pt x="22" y="46"/>
                    </a:lnTo>
                    <a:lnTo>
                      <a:pt x="32" y="44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4" y="32"/>
                    </a:lnTo>
                    <a:lnTo>
                      <a:pt x="46" y="22"/>
                    </a:lnTo>
                    <a:lnTo>
                      <a:pt x="44" y="14"/>
                    </a:lnTo>
                    <a:lnTo>
                      <a:pt x="40" y="6"/>
                    </a:lnTo>
                    <a:lnTo>
                      <a:pt x="40" y="6"/>
                    </a:lnTo>
                    <a:lnTo>
                      <a:pt x="32" y="2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88" name="Freeform 24"/>
              <p:cNvSpPr>
                <a:spLocks/>
              </p:cNvSpPr>
              <p:nvPr userDrawn="1"/>
            </p:nvSpPr>
            <p:spPr bwMode="auto">
              <a:xfrm>
                <a:off x="7172325" y="6254750"/>
                <a:ext cx="73025" cy="73025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4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0" y="32"/>
                  </a:cxn>
                  <a:cxn ang="0">
                    <a:pos x="6" y="40"/>
                  </a:cxn>
                  <a:cxn ang="0">
                    <a:pos x="6" y="40"/>
                  </a:cxn>
                  <a:cxn ang="0">
                    <a:pos x="14" y="44"/>
                  </a:cxn>
                  <a:cxn ang="0">
                    <a:pos x="22" y="46"/>
                  </a:cxn>
                  <a:cxn ang="0">
                    <a:pos x="22" y="46"/>
                  </a:cxn>
                  <a:cxn ang="0">
                    <a:pos x="32" y="44"/>
                  </a:cxn>
                  <a:cxn ang="0">
                    <a:pos x="40" y="40"/>
                  </a:cxn>
                  <a:cxn ang="0">
                    <a:pos x="40" y="40"/>
                  </a:cxn>
                  <a:cxn ang="0">
                    <a:pos x="44" y="32"/>
                  </a:cxn>
                  <a:cxn ang="0">
                    <a:pos x="46" y="22"/>
                  </a:cxn>
                  <a:cxn ang="0">
                    <a:pos x="44" y="14"/>
                  </a:cxn>
                  <a:cxn ang="0">
                    <a:pos x="40" y="6"/>
                  </a:cxn>
                  <a:cxn ang="0">
                    <a:pos x="40" y="6"/>
                  </a:cxn>
                  <a:cxn ang="0">
                    <a:pos x="32" y="2"/>
                  </a:cxn>
                  <a:cxn ang="0">
                    <a:pos x="22" y="0"/>
                  </a:cxn>
                </a:cxnLst>
                <a:rect l="0" t="0" r="r" b="b"/>
                <a:pathLst>
                  <a:path w="46" h="46">
                    <a:moveTo>
                      <a:pt x="22" y="0"/>
                    </a:moveTo>
                    <a:lnTo>
                      <a:pt x="22" y="0"/>
                    </a:lnTo>
                    <a:lnTo>
                      <a:pt x="14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0" y="32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14" y="44"/>
                    </a:lnTo>
                    <a:lnTo>
                      <a:pt x="22" y="46"/>
                    </a:lnTo>
                    <a:lnTo>
                      <a:pt x="22" y="46"/>
                    </a:lnTo>
                    <a:lnTo>
                      <a:pt x="32" y="44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4" y="32"/>
                    </a:lnTo>
                    <a:lnTo>
                      <a:pt x="46" y="22"/>
                    </a:lnTo>
                    <a:lnTo>
                      <a:pt x="44" y="14"/>
                    </a:lnTo>
                    <a:lnTo>
                      <a:pt x="40" y="6"/>
                    </a:lnTo>
                    <a:lnTo>
                      <a:pt x="40" y="6"/>
                    </a:lnTo>
                    <a:lnTo>
                      <a:pt x="32" y="2"/>
                    </a:lnTo>
                    <a:lnTo>
                      <a:pt x="2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89" name="Freeform 25"/>
              <p:cNvSpPr>
                <a:spLocks/>
              </p:cNvSpPr>
              <p:nvPr userDrawn="1"/>
            </p:nvSpPr>
            <p:spPr bwMode="auto">
              <a:xfrm>
                <a:off x="7112000" y="3019425"/>
                <a:ext cx="193675" cy="193675"/>
              </a:xfrm>
              <a:custGeom>
                <a:avLst/>
                <a:gdLst/>
                <a:ahLst/>
                <a:cxnLst>
                  <a:cxn ang="0">
                    <a:pos x="60" y="0"/>
                  </a:cxn>
                  <a:cxn ang="0">
                    <a:pos x="60" y="0"/>
                  </a:cxn>
                  <a:cxn ang="0">
                    <a:pos x="50" y="2"/>
                  </a:cxn>
                  <a:cxn ang="0">
                    <a:pos x="38" y="6"/>
                  </a:cxn>
                  <a:cxn ang="0">
                    <a:pos x="28" y="10"/>
                  </a:cxn>
                  <a:cxn ang="0">
                    <a:pos x="18" y="18"/>
                  </a:cxn>
                  <a:cxn ang="0">
                    <a:pos x="18" y="18"/>
                  </a:cxn>
                  <a:cxn ang="0">
                    <a:pos x="10" y="28"/>
                  </a:cxn>
                  <a:cxn ang="0">
                    <a:pos x="4" y="38"/>
                  </a:cxn>
                  <a:cxn ang="0">
                    <a:pos x="2" y="50"/>
                  </a:cxn>
                  <a:cxn ang="0">
                    <a:pos x="0" y="62"/>
                  </a:cxn>
                  <a:cxn ang="0">
                    <a:pos x="2" y="74"/>
                  </a:cxn>
                  <a:cxn ang="0">
                    <a:pos x="4" y="84"/>
                  </a:cxn>
                  <a:cxn ang="0">
                    <a:pos x="10" y="94"/>
                  </a:cxn>
                  <a:cxn ang="0">
                    <a:pos x="18" y="104"/>
                  </a:cxn>
                  <a:cxn ang="0">
                    <a:pos x="18" y="104"/>
                  </a:cxn>
                  <a:cxn ang="0">
                    <a:pos x="28" y="112"/>
                  </a:cxn>
                  <a:cxn ang="0">
                    <a:pos x="38" y="118"/>
                  </a:cxn>
                  <a:cxn ang="0">
                    <a:pos x="50" y="122"/>
                  </a:cxn>
                  <a:cxn ang="0">
                    <a:pos x="60" y="122"/>
                  </a:cxn>
                  <a:cxn ang="0">
                    <a:pos x="60" y="122"/>
                  </a:cxn>
                  <a:cxn ang="0">
                    <a:pos x="72" y="122"/>
                  </a:cxn>
                  <a:cxn ang="0">
                    <a:pos x="84" y="118"/>
                  </a:cxn>
                  <a:cxn ang="0">
                    <a:pos x="94" y="112"/>
                  </a:cxn>
                  <a:cxn ang="0">
                    <a:pos x="104" y="104"/>
                  </a:cxn>
                  <a:cxn ang="0">
                    <a:pos x="104" y="104"/>
                  </a:cxn>
                  <a:cxn ang="0">
                    <a:pos x="112" y="94"/>
                  </a:cxn>
                  <a:cxn ang="0">
                    <a:pos x="116" y="84"/>
                  </a:cxn>
                  <a:cxn ang="0">
                    <a:pos x="120" y="74"/>
                  </a:cxn>
                  <a:cxn ang="0">
                    <a:pos x="122" y="62"/>
                  </a:cxn>
                  <a:cxn ang="0">
                    <a:pos x="120" y="50"/>
                  </a:cxn>
                  <a:cxn ang="0">
                    <a:pos x="116" y="38"/>
                  </a:cxn>
                  <a:cxn ang="0">
                    <a:pos x="112" y="28"/>
                  </a:cxn>
                  <a:cxn ang="0">
                    <a:pos x="104" y="18"/>
                  </a:cxn>
                  <a:cxn ang="0">
                    <a:pos x="104" y="18"/>
                  </a:cxn>
                  <a:cxn ang="0">
                    <a:pos x="94" y="10"/>
                  </a:cxn>
                  <a:cxn ang="0">
                    <a:pos x="84" y="6"/>
                  </a:cxn>
                  <a:cxn ang="0">
                    <a:pos x="72" y="2"/>
                  </a:cxn>
                  <a:cxn ang="0">
                    <a:pos x="60" y="0"/>
                  </a:cxn>
                </a:cxnLst>
                <a:rect l="0" t="0" r="r" b="b"/>
                <a:pathLst>
                  <a:path w="122" h="122">
                    <a:moveTo>
                      <a:pt x="60" y="0"/>
                    </a:moveTo>
                    <a:lnTo>
                      <a:pt x="60" y="0"/>
                    </a:lnTo>
                    <a:lnTo>
                      <a:pt x="50" y="2"/>
                    </a:lnTo>
                    <a:lnTo>
                      <a:pt x="38" y="6"/>
                    </a:lnTo>
                    <a:lnTo>
                      <a:pt x="28" y="10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0" y="28"/>
                    </a:lnTo>
                    <a:lnTo>
                      <a:pt x="4" y="38"/>
                    </a:lnTo>
                    <a:lnTo>
                      <a:pt x="2" y="50"/>
                    </a:lnTo>
                    <a:lnTo>
                      <a:pt x="0" y="62"/>
                    </a:lnTo>
                    <a:lnTo>
                      <a:pt x="2" y="74"/>
                    </a:lnTo>
                    <a:lnTo>
                      <a:pt x="4" y="84"/>
                    </a:lnTo>
                    <a:lnTo>
                      <a:pt x="10" y="94"/>
                    </a:lnTo>
                    <a:lnTo>
                      <a:pt x="18" y="104"/>
                    </a:lnTo>
                    <a:lnTo>
                      <a:pt x="18" y="104"/>
                    </a:lnTo>
                    <a:lnTo>
                      <a:pt x="28" y="112"/>
                    </a:lnTo>
                    <a:lnTo>
                      <a:pt x="38" y="118"/>
                    </a:lnTo>
                    <a:lnTo>
                      <a:pt x="50" y="122"/>
                    </a:lnTo>
                    <a:lnTo>
                      <a:pt x="60" y="122"/>
                    </a:lnTo>
                    <a:lnTo>
                      <a:pt x="60" y="122"/>
                    </a:lnTo>
                    <a:lnTo>
                      <a:pt x="72" y="122"/>
                    </a:lnTo>
                    <a:lnTo>
                      <a:pt x="84" y="118"/>
                    </a:lnTo>
                    <a:lnTo>
                      <a:pt x="94" y="112"/>
                    </a:lnTo>
                    <a:lnTo>
                      <a:pt x="104" y="104"/>
                    </a:lnTo>
                    <a:lnTo>
                      <a:pt x="104" y="104"/>
                    </a:lnTo>
                    <a:lnTo>
                      <a:pt x="112" y="94"/>
                    </a:lnTo>
                    <a:lnTo>
                      <a:pt x="116" y="84"/>
                    </a:lnTo>
                    <a:lnTo>
                      <a:pt x="120" y="74"/>
                    </a:lnTo>
                    <a:lnTo>
                      <a:pt x="122" y="62"/>
                    </a:lnTo>
                    <a:lnTo>
                      <a:pt x="120" y="50"/>
                    </a:lnTo>
                    <a:lnTo>
                      <a:pt x="116" y="38"/>
                    </a:lnTo>
                    <a:lnTo>
                      <a:pt x="112" y="28"/>
                    </a:lnTo>
                    <a:lnTo>
                      <a:pt x="104" y="18"/>
                    </a:lnTo>
                    <a:lnTo>
                      <a:pt x="104" y="18"/>
                    </a:lnTo>
                    <a:lnTo>
                      <a:pt x="94" y="10"/>
                    </a:lnTo>
                    <a:lnTo>
                      <a:pt x="84" y="6"/>
                    </a:lnTo>
                    <a:lnTo>
                      <a:pt x="72" y="2"/>
                    </a:lnTo>
                    <a:lnTo>
                      <a:pt x="6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90" name="Freeform 26"/>
              <p:cNvSpPr>
                <a:spLocks/>
              </p:cNvSpPr>
              <p:nvPr userDrawn="1"/>
            </p:nvSpPr>
            <p:spPr bwMode="auto">
              <a:xfrm>
                <a:off x="7112000" y="3019425"/>
                <a:ext cx="193675" cy="193675"/>
              </a:xfrm>
              <a:custGeom>
                <a:avLst/>
                <a:gdLst/>
                <a:ahLst/>
                <a:cxnLst>
                  <a:cxn ang="0">
                    <a:pos x="60" y="0"/>
                  </a:cxn>
                  <a:cxn ang="0">
                    <a:pos x="60" y="0"/>
                  </a:cxn>
                  <a:cxn ang="0">
                    <a:pos x="50" y="2"/>
                  </a:cxn>
                  <a:cxn ang="0">
                    <a:pos x="38" y="6"/>
                  </a:cxn>
                  <a:cxn ang="0">
                    <a:pos x="28" y="10"/>
                  </a:cxn>
                  <a:cxn ang="0">
                    <a:pos x="18" y="18"/>
                  </a:cxn>
                  <a:cxn ang="0">
                    <a:pos x="18" y="18"/>
                  </a:cxn>
                  <a:cxn ang="0">
                    <a:pos x="10" y="28"/>
                  </a:cxn>
                  <a:cxn ang="0">
                    <a:pos x="4" y="38"/>
                  </a:cxn>
                  <a:cxn ang="0">
                    <a:pos x="2" y="50"/>
                  </a:cxn>
                  <a:cxn ang="0">
                    <a:pos x="0" y="62"/>
                  </a:cxn>
                  <a:cxn ang="0">
                    <a:pos x="2" y="74"/>
                  </a:cxn>
                  <a:cxn ang="0">
                    <a:pos x="4" y="84"/>
                  </a:cxn>
                  <a:cxn ang="0">
                    <a:pos x="10" y="94"/>
                  </a:cxn>
                  <a:cxn ang="0">
                    <a:pos x="18" y="104"/>
                  </a:cxn>
                  <a:cxn ang="0">
                    <a:pos x="18" y="104"/>
                  </a:cxn>
                  <a:cxn ang="0">
                    <a:pos x="28" y="112"/>
                  </a:cxn>
                  <a:cxn ang="0">
                    <a:pos x="38" y="118"/>
                  </a:cxn>
                  <a:cxn ang="0">
                    <a:pos x="50" y="122"/>
                  </a:cxn>
                  <a:cxn ang="0">
                    <a:pos x="60" y="122"/>
                  </a:cxn>
                  <a:cxn ang="0">
                    <a:pos x="60" y="122"/>
                  </a:cxn>
                  <a:cxn ang="0">
                    <a:pos x="72" y="122"/>
                  </a:cxn>
                  <a:cxn ang="0">
                    <a:pos x="84" y="118"/>
                  </a:cxn>
                  <a:cxn ang="0">
                    <a:pos x="94" y="112"/>
                  </a:cxn>
                  <a:cxn ang="0">
                    <a:pos x="104" y="104"/>
                  </a:cxn>
                  <a:cxn ang="0">
                    <a:pos x="104" y="104"/>
                  </a:cxn>
                  <a:cxn ang="0">
                    <a:pos x="112" y="94"/>
                  </a:cxn>
                  <a:cxn ang="0">
                    <a:pos x="116" y="84"/>
                  </a:cxn>
                  <a:cxn ang="0">
                    <a:pos x="120" y="74"/>
                  </a:cxn>
                  <a:cxn ang="0">
                    <a:pos x="122" y="62"/>
                  </a:cxn>
                  <a:cxn ang="0">
                    <a:pos x="120" y="50"/>
                  </a:cxn>
                  <a:cxn ang="0">
                    <a:pos x="116" y="38"/>
                  </a:cxn>
                  <a:cxn ang="0">
                    <a:pos x="112" y="28"/>
                  </a:cxn>
                  <a:cxn ang="0">
                    <a:pos x="104" y="18"/>
                  </a:cxn>
                  <a:cxn ang="0">
                    <a:pos x="104" y="18"/>
                  </a:cxn>
                  <a:cxn ang="0">
                    <a:pos x="94" y="10"/>
                  </a:cxn>
                  <a:cxn ang="0">
                    <a:pos x="84" y="6"/>
                  </a:cxn>
                  <a:cxn ang="0">
                    <a:pos x="72" y="2"/>
                  </a:cxn>
                  <a:cxn ang="0">
                    <a:pos x="60" y="0"/>
                  </a:cxn>
                </a:cxnLst>
                <a:rect l="0" t="0" r="r" b="b"/>
                <a:pathLst>
                  <a:path w="122" h="122">
                    <a:moveTo>
                      <a:pt x="60" y="0"/>
                    </a:moveTo>
                    <a:lnTo>
                      <a:pt x="60" y="0"/>
                    </a:lnTo>
                    <a:lnTo>
                      <a:pt x="50" y="2"/>
                    </a:lnTo>
                    <a:lnTo>
                      <a:pt x="38" y="6"/>
                    </a:lnTo>
                    <a:lnTo>
                      <a:pt x="28" y="10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0" y="28"/>
                    </a:lnTo>
                    <a:lnTo>
                      <a:pt x="4" y="38"/>
                    </a:lnTo>
                    <a:lnTo>
                      <a:pt x="2" y="50"/>
                    </a:lnTo>
                    <a:lnTo>
                      <a:pt x="0" y="62"/>
                    </a:lnTo>
                    <a:lnTo>
                      <a:pt x="2" y="74"/>
                    </a:lnTo>
                    <a:lnTo>
                      <a:pt x="4" y="84"/>
                    </a:lnTo>
                    <a:lnTo>
                      <a:pt x="10" y="94"/>
                    </a:lnTo>
                    <a:lnTo>
                      <a:pt x="18" y="104"/>
                    </a:lnTo>
                    <a:lnTo>
                      <a:pt x="18" y="104"/>
                    </a:lnTo>
                    <a:lnTo>
                      <a:pt x="28" y="112"/>
                    </a:lnTo>
                    <a:lnTo>
                      <a:pt x="38" y="118"/>
                    </a:lnTo>
                    <a:lnTo>
                      <a:pt x="50" y="122"/>
                    </a:lnTo>
                    <a:lnTo>
                      <a:pt x="60" y="122"/>
                    </a:lnTo>
                    <a:lnTo>
                      <a:pt x="60" y="122"/>
                    </a:lnTo>
                    <a:lnTo>
                      <a:pt x="72" y="122"/>
                    </a:lnTo>
                    <a:lnTo>
                      <a:pt x="84" y="118"/>
                    </a:lnTo>
                    <a:lnTo>
                      <a:pt x="94" y="112"/>
                    </a:lnTo>
                    <a:lnTo>
                      <a:pt x="104" y="104"/>
                    </a:lnTo>
                    <a:lnTo>
                      <a:pt x="104" y="104"/>
                    </a:lnTo>
                    <a:lnTo>
                      <a:pt x="112" y="94"/>
                    </a:lnTo>
                    <a:lnTo>
                      <a:pt x="116" y="84"/>
                    </a:lnTo>
                    <a:lnTo>
                      <a:pt x="120" y="74"/>
                    </a:lnTo>
                    <a:lnTo>
                      <a:pt x="122" y="62"/>
                    </a:lnTo>
                    <a:lnTo>
                      <a:pt x="120" y="50"/>
                    </a:lnTo>
                    <a:lnTo>
                      <a:pt x="116" y="38"/>
                    </a:lnTo>
                    <a:lnTo>
                      <a:pt x="112" y="28"/>
                    </a:lnTo>
                    <a:lnTo>
                      <a:pt x="104" y="18"/>
                    </a:lnTo>
                    <a:lnTo>
                      <a:pt x="104" y="18"/>
                    </a:lnTo>
                    <a:lnTo>
                      <a:pt x="94" y="10"/>
                    </a:lnTo>
                    <a:lnTo>
                      <a:pt x="84" y="6"/>
                    </a:lnTo>
                    <a:lnTo>
                      <a:pt x="72" y="2"/>
                    </a:lnTo>
                    <a:lnTo>
                      <a:pt x="6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91" name="Freeform 27"/>
              <p:cNvSpPr>
                <a:spLocks/>
              </p:cNvSpPr>
              <p:nvPr userDrawn="1"/>
            </p:nvSpPr>
            <p:spPr bwMode="auto">
              <a:xfrm>
                <a:off x="6826250" y="2822575"/>
                <a:ext cx="174625" cy="174625"/>
              </a:xfrm>
              <a:custGeom>
                <a:avLst/>
                <a:gdLst/>
                <a:ahLst/>
                <a:cxnLst>
                  <a:cxn ang="0">
                    <a:pos x="54" y="0"/>
                  </a:cxn>
                  <a:cxn ang="0">
                    <a:pos x="54" y="0"/>
                  </a:cxn>
                  <a:cxn ang="0">
                    <a:pos x="44" y="2"/>
                  </a:cxn>
                  <a:cxn ang="0">
                    <a:pos x="34" y="4"/>
                  </a:cxn>
                  <a:cxn ang="0">
                    <a:pos x="24" y="10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8" y="26"/>
                  </a:cxn>
                  <a:cxn ang="0">
                    <a:pos x="4" y="34"/>
                  </a:cxn>
                  <a:cxn ang="0">
                    <a:pos x="0" y="44"/>
                  </a:cxn>
                  <a:cxn ang="0">
                    <a:pos x="0" y="56"/>
                  </a:cxn>
                  <a:cxn ang="0">
                    <a:pos x="0" y="66"/>
                  </a:cxn>
                  <a:cxn ang="0">
                    <a:pos x="4" y="76"/>
                  </a:cxn>
                  <a:cxn ang="0">
                    <a:pos x="8" y="86"/>
                  </a:cxn>
                  <a:cxn ang="0">
                    <a:pos x="16" y="94"/>
                  </a:cxn>
                  <a:cxn ang="0">
                    <a:pos x="16" y="94"/>
                  </a:cxn>
                  <a:cxn ang="0">
                    <a:pos x="24" y="100"/>
                  </a:cxn>
                  <a:cxn ang="0">
                    <a:pos x="34" y="106"/>
                  </a:cxn>
                  <a:cxn ang="0">
                    <a:pos x="44" y="108"/>
                  </a:cxn>
                  <a:cxn ang="0">
                    <a:pos x="54" y="110"/>
                  </a:cxn>
                  <a:cxn ang="0">
                    <a:pos x="54" y="110"/>
                  </a:cxn>
                  <a:cxn ang="0">
                    <a:pos x="64" y="108"/>
                  </a:cxn>
                  <a:cxn ang="0">
                    <a:pos x="74" y="106"/>
                  </a:cxn>
                  <a:cxn ang="0">
                    <a:pos x="84" y="100"/>
                  </a:cxn>
                  <a:cxn ang="0">
                    <a:pos x="94" y="94"/>
                  </a:cxn>
                  <a:cxn ang="0">
                    <a:pos x="94" y="94"/>
                  </a:cxn>
                  <a:cxn ang="0">
                    <a:pos x="100" y="86"/>
                  </a:cxn>
                  <a:cxn ang="0">
                    <a:pos x="106" y="76"/>
                  </a:cxn>
                  <a:cxn ang="0">
                    <a:pos x="108" y="66"/>
                  </a:cxn>
                  <a:cxn ang="0">
                    <a:pos x="110" y="56"/>
                  </a:cxn>
                  <a:cxn ang="0">
                    <a:pos x="108" y="44"/>
                  </a:cxn>
                  <a:cxn ang="0">
                    <a:pos x="106" y="34"/>
                  </a:cxn>
                  <a:cxn ang="0">
                    <a:pos x="100" y="26"/>
                  </a:cxn>
                  <a:cxn ang="0">
                    <a:pos x="94" y="16"/>
                  </a:cxn>
                  <a:cxn ang="0">
                    <a:pos x="94" y="16"/>
                  </a:cxn>
                  <a:cxn ang="0">
                    <a:pos x="84" y="10"/>
                  </a:cxn>
                  <a:cxn ang="0">
                    <a:pos x="74" y="4"/>
                  </a:cxn>
                  <a:cxn ang="0">
                    <a:pos x="64" y="2"/>
                  </a:cxn>
                  <a:cxn ang="0">
                    <a:pos x="54" y="0"/>
                  </a:cxn>
                </a:cxnLst>
                <a:rect l="0" t="0" r="r" b="b"/>
                <a:pathLst>
                  <a:path w="110" h="110">
                    <a:moveTo>
                      <a:pt x="54" y="0"/>
                    </a:moveTo>
                    <a:lnTo>
                      <a:pt x="54" y="0"/>
                    </a:lnTo>
                    <a:lnTo>
                      <a:pt x="44" y="2"/>
                    </a:lnTo>
                    <a:lnTo>
                      <a:pt x="34" y="4"/>
                    </a:lnTo>
                    <a:lnTo>
                      <a:pt x="24" y="10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8" y="26"/>
                    </a:lnTo>
                    <a:lnTo>
                      <a:pt x="4" y="34"/>
                    </a:lnTo>
                    <a:lnTo>
                      <a:pt x="0" y="44"/>
                    </a:lnTo>
                    <a:lnTo>
                      <a:pt x="0" y="56"/>
                    </a:lnTo>
                    <a:lnTo>
                      <a:pt x="0" y="66"/>
                    </a:lnTo>
                    <a:lnTo>
                      <a:pt x="4" y="76"/>
                    </a:lnTo>
                    <a:lnTo>
                      <a:pt x="8" y="86"/>
                    </a:lnTo>
                    <a:lnTo>
                      <a:pt x="16" y="94"/>
                    </a:lnTo>
                    <a:lnTo>
                      <a:pt x="16" y="94"/>
                    </a:lnTo>
                    <a:lnTo>
                      <a:pt x="24" y="100"/>
                    </a:lnTo>
                    <a:lnTo>
                      <a:pt x="34" y="106"/>
                    </a:lnTo>
                    <a:lnTo>
                      <a:pt x="44" y="108"/>
                    </a:lnTo>
                    <a:lnTo>
                      <a:pt x="54" y="110"/>
                    </a:lnTo>
                    <a:lnTo>
                      <a:pt x="54" y="110"/>
                    </a:lnTo>
                    <a:lnTo>
                      <a:pt x="64" y="108"/>
                    </a:lnTo>
                    <a:lnTo>
                      <a:pt x="74" y="106"/>
                    </a:lnTo>
                    <a:lnTo>
                      <a:pt x="84" y="100"/>
                    </a:lnTo>
                    <a:lnTo>
                      <a:pt x="94" y="94"/>
                    </a:lnTo>
                    <a:lnTo>
                      <a:pt x="94" y="94"/>
                    </a:lnTo>
                    <a:lnTo>
                      <a:pt x="100" y="86"/>
                    </a:lnTo>
                    <a:lnTo>
                      <a:pt x="106" y="76"/>
                    </a:lnTo>
                    <a:lnTo>
                      <a:pt x="108" y="66"/>
                    </a:lnTo>
                    <a:lnTo>
                      <a:pt x="110" y="56"/>
                    </a:lnTo>
                    <a:lnTo>
                      <a:pt x="108" y="44"/>
                    </a:lnTo>
                    <a:lnTo>
                      <a:pt x="106" y="34"/>
                    </a:lnTo>
                    <a:lnTo>
                      <a:pt x="100" y="26"/>
                    </a:lnTo>
                    <a:lnTo>
                      <a:pt x="94" y="16"/>
                    </a:lnTo>
                    <a:lnTo>
                      <a:pt x="94" y="16"/>
                    </a:lnTo>
                    <a:lnTo>
                      <a:pt x="84" y="10"/>
                    </a:lnTo>
                    <a:lnTo>
                      <a:pt x="74" y="4"/>
                    </a:lnTo>
                    <a:lnTo>
                      <a:pt x="64" y="2"/>
                    </a:lnTo>
                    <a:lnTo>
                      <a:pt x="5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92" name="Freeform 28"/>
              <p:cNvSpPr>
                <a:spLocks/>
              </p:cNvSpPr>
              <p:nvPr userDrawn="1"/>
            </p:nvSpPr>
            <p:spPr bwMode="auto">
              <a:xfrm>
                <a:off x="6826250" y="2822575"/>
                <a:ext cx="174625" cy="174625"/>
              </a:xfrm>
              <a:custGeom>
                <a:avLst/>
                <a:gdLst/>
                <a:ahLst/>
                <a:cxnLst>
                  <a:cxn ang="0">
                    <a:pos x="54" y="0"/>
                  </a:cxn>
                  <a:cxn ang="0">
                    <a:pos x="54" y="0"/>
                  </a:cxn>
                  <a:cxn ang="0">
                    <a:pos x="44" y="2"/>
                  </a:cxn>
                  <a:cxn ang="0">
                    <a:pos x="34" y="4"/>
                  </a:cxn>
                  <a:cxn ang="0">
                    <a:pos x="24" y="10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8" y="26"/>
                  </a:cxn>
                  <a:cxn ang="0">
                    <a:pos x="4" y="34"/>
                  </a:cxn>
                  <a:cxn ang="0">
                    <a:pos x="0" y="44"/>
                  </a:cxn>
                  <a:cxn ang="0">
                    <a:pos x="0" y="56"/>
                  </a:cxn>
                  <a:cxn ang="0">
                    <a:pos x="0" y="66"/>
                  </a:cxn>
                  <a:cxn ang="0">
                    <a:pos x="4" y="76"/>
                  </a:cxn>
                  <a:cxn ang="0">
                    <a:pos x="8" y="86"/>
                  </a:cxn>
                  <a:cxn ang="0">
                    <a:pos x="16" y="94"/>
                  </a:cxn>
                  <a:cxn ang="0">
                    <a:pos x="16" y="94"/>
                  </a:cxn>
                  <a:cxn ang="0">
                    <a:pos x="24" y="100"/>
                  </a:cxn>
                  <a:cxn ang="0">
                    <a:pos x="34" y="106"/>
                  </a:cxn>
                  <a:cxn ang="0">
                    <a:pos x="44" y="108"/>
                  </a:cxn>
                  <a:cxn ang="0">
                    <a:pos x="54" y="110"/>
                  </a:cxn>
                  <a:cxn ang="0">
                    <a:pos x="54" y="110"/>
                  </a:cxn>
                  <a:cxn ang="0">
                    <a:pos x="64" y="108"/>
                  </a:cxn>
                  <a:cxn ang="0">
                    <a:pos x="74" y="106"/>
                  </a:cxn>
                  <a:cxn ang="0">
                    <a:pos x="84" y="100"/>
                  </a:cxn>
                  <a:cxn ang="0">
                    <a:pos x="94" y="94"/>
                  </a:cxn>
                  <a:cxn ang="0">
                    <a:pos x="94" y="94"/>
                  </a:cxn>
                  <a:cxn ang="0">
                    <a:pos x="100" y="86"/>
                  </a:cxn>
                  <a:cxn ang="0">
                    <a:pos x="106" y="76"/>
                  </a:cxn>
                  <a:cxn ang="0">
                    <a:pos x="108" y="66"/>
                  </a:cxn>
                  <a:cxn ang="0">
                    <a:pos x="110" y="56"/>
                  </a:cxn>
                  <a:cxn ang="0">
                    <a:pos x="108" y="44"/>
                  </a:cxn>
                  <a:cxn ang="0">
                    <a:pos x="106" y="34"/>
                  </a:cxn>
                  <a:cxn ang="0">
                    <a:pos x="100" y="26"/>
                  </a:cxn>
                  <a:cxn ang="0">
                    <a:pos x="94" y="16"/>
                  </a:cxn>
                  <a:cxn ang="0">
                    <a:pos x="94" y="16"/>
                  </a:cxn>
                  <a:cxn ang="0">
                    <a:pos x="84" y="10"/>
                  </a:cxn>
                  <a:cxn ang="0">
                    <a:pos x="74" y="4"/>
                  </a:cxn>
                  <a:cxn ang="0">
                    <a:pos x="64" y="2"/>
                  </a:cxn>
                  <a:cxn ang="0">
                    <a:pos x="54" y="0"/>
                  </a:cxn>
                </a:cxnLst>
                <a:rect l="0" t="0" r="r" b="b"/>
                <a:pathLst>
                  <a:path w="110" h="110">
                    <a:moveTo>
                      <a:pt x="54" y="0"/>
                    </a:moveTo>
                    <a:lnTo>
                      <a:pt x="54" y="0"/>
                    </a:lnTo>
                    <a:lnTo>
                      <a:pt x="44" y="2"/>
                    </a:lnTo>
                    <a:lnTo>
                      <a:pt x="34" y="4"/>
                    </a:lnTo>
                    <a:lnTo>
                      <a:pt x="24" y="10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8" y="26"/>
                    </a:lnTo>
                    <a:lnTo>
                      <a:pt x="4" y="34"/>
                    </a:lnTo>
                    <a:lnTo>
                      <a:pt x="0" y="44"/>
                    </a:lnTo>
                    <a:lnTo>
                      <a:pt x="0" y="56"/>
                    </a:lnTo>
                    <a:lnTo>
                      <a:pt x="0" y="66"/>
                    </a:lnTo>
                    <a:lnTo>
                      <a:pt x="4" y="76"/>
                    </a:lnTo>
                    <a:lnTo>
                      <a:pt x="8" y="86"/>
                    </a:lnTo>
                    <a:lnTo>
                      <a:pt x="16" y="94"/>
                    </a:lnTo>
                    <a:lnTo>
                      <a:pt x="16" y="94"/>
                    </a:lnTo>
                    <a:lnTo>
                      <a:pt x="24" y="100"/>
                    </a:lnTo>
                    <a:lnTo>
                      <a:pt x="34" y="106"/>
                    </a:lnTo>
                    <a:lnTo>
                      <a:pt x="44" y="108"/>
                    </a:lnTo>
                    <a:lnTo>
                      <a:pt x="54" y="110"/>
                    </a:lnTo>
                    <a:lnTo>
                      <a:pt x="54" y="110"/>
                    </a:lnTo>
                    <a:lnTo>
                      <a:pt x="64" y="108"/>
                    </a:lnTo>
                    <a:lnTo>
                      <a:pt x="74" y="106"/>
                    </a:lnTo>
                    <a:lnTo>
                      <a:pt x="84" y="100"/>
                    </a:lnTo>
                    <a:lnTo>
                      <a:pt x="94" y="94"/>
                    </a:lnTo>
                    <a:lnTo>
                      <a:pt x="94" y="94"/>
                    </a:lnTo>
                    <a:lnTo>
                      <a:pt x="100" y="86"/>
                    </a:lnTo>
                    <a:lnTo>
                      <a:pt x="106" y="76"/>
                    </a:lnTo>
                    <a:lnTo>
                      <a:pt x="108" y="66"/>
                    </a:lnTo>
                    <a:lnTo>
                      <a:pt x="110" y="56"/>
                    </a:lnTo>
                    <a:lnTo>
                      <a:pt x="108" y="44"/>
                    </a:lnTo>
                    <a:lnTo>
                      <a:pt x="106" y="34"/>
                    </a:lnTo>
                    <a:lnTo>
                      <a:pt x="100" y="26"/>
                    </a:lnTo>
                    <a:lnTo>
                      <a:pt x="94" y="16"/>
                    </a:lnTo>
                    <a:lnTo>
                      <a:pt x="94" y="16"/>
                    </a:lnTo>
                    <a:lnTo>
                      <a:pt x="84" y="10"/>
                    </a:lnTo>
                    <a:lnTo>
                      <a:pt x="74" y="4"/>
                    </a:lnTo>
                    <a:lnTo>
                      <a:pt x="64" y="2"/>
                    </a:lnTo>
                    <a:lnTo>
                      <a:pt x="5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93" name="Freeform 29"/>
              <p:cNvSpPr>
                <a:spLocks/>
              </p:cNvSpPr>
              <p:nvPr userDrawn="1"/>
            </p:nvSpPr>
            <p:spPr bwMode="auto">
              <a:xfrm>
                <a:off x="6508750" y="2679700"/>
                <a:ext cx="155575" cy="155575"/>
              </a:xfrm>
              <a:custGeom>
                <a:avLst/>
                <a:gdLst/>
                <a:ahLst/>
                <a:cxnLst>
                  <a:cxn ang="0">
                    <a:pos x="48" y="0"/>
                  </a:cxn>
                  <a:cxn ang="0">
                    <a:pos x="48" y="0"/>
                  </a:cxn>
                  <a:cxn ang="0">
                    <a:pos x="38" y="0"/>
                  </a:cxn>
                  <a:cxn ang="0">
                    <a:pos x="30" y="4"/>
                  </a:cxn>
                  <a:cxn ang="0">
                    <a:pos x="22" y="8"/>
                  </a:cxn>
                  <a:cxn ang="0">
                    <a:pos x="14" y="14"/>
                  </a:cxn>
                  <a:cxn ang="0">
                    <a:pos x="14" y="14"/>
                  </a:cxn>
                  <a:cxn ang="0">
                    <a:pos x="8" y="22"/>
                  </a:cxn>
                  <a:cxn ang="0">
                    <a:pos x="2" y="30"/>
                  </a:cxn>
                  <a:cxn ang="0">
                    <a:pos x="0" y="40"/>
                  </a:cxn>
                  <a:cxn ang="0">
                    <a:pos x="0" y="48"/>
                  </a:cxn>
                  <a:cxn ang="0">
                    <a:pos x="0" y="58"/>
                  </a:cxn>
                  <a:cxn ang="0">
                    <a:pos x="2" y="68"/>
                  </a:cxn>
                  <a:cxn ang="0">
                    <a:pos x="8" y="76"/>
                  </a:cxn>
                  <a:cxn ang="0">
                    <a:pos x="14" y="84"/>
                  </a:cxn>
                  <a:cxn ang="0">
                    <a:pos x="14" y="84"/>
                  </a:cxn>
                  <a:cxn ang="0">
                    <a:pos x="22" y="90"/>
                  </a:cxn>
                  <a:cxn ang="0">
                    <a:pos x="30" y="94"/>
                  </a:cxn>
                  <a:cxn ang="0">
                    <a:pos x="38" y="98"/>
                  </a:cxn>
                  <a:cxn ang="0">
                    <a:pos x="48" y="98"/>
                  </a:cxn>
                  <a:cxn ang="0">
                    <a:pos x="48" y="98"/>
                  </a:cxn>
                  <a:cxn ang="0">
                    <a:pos x="58" y="98"/>
                  </a:cxn>
                  <a:cxn ang="0">
                    <a:pos x="66" y="94"/>
                  </a:cxn>
                  <a:cxn ang="0">
                    <a:pos x="76" y="90"/>
                  </a:cxn>
                  <a:cxn ang="0">
                    <a:pos x="84" y="84"/>
                  </a:cxn>
                  <a:cxn ang="0">
                    <a:pos x="84" y="84"/>
                  </a:cxn>
                  <a:cxn ang="0">
                    <a:pos x="90" y="76"/>
                  </a:cxn>
                  <a:cxn ang="0">
                    <a:pos x="94" y="68"/>
                  </a:cxn>
                  <a:cxn ang="0">
                    <a:pos x="96" y="58"/>
                  </a:cxn>
                  <a:cxn ang="0">
                    <a:pos x="98" y="48"/>
                  </a:cxn>
                  <a:cxn ang="0">
                    <a:pos x="96" y="40"/>
                  </a:cxn>
                  <a:cxn ang="0">
                    <a:pos x="94" y="30"/>
                  </a:cxn>
                  <a:cxn ang="0">
                    <a:pos x="90" y="22"/>
                  </a:cxn>
                  <a:cxn ang="0">
                    <a:pos x="84" y="14"/>
                  </a:cxn>
                  <a:cxn ang="0">
                    <a:pos x="84" y="14"/>
                  </a:cxn>
                  <a:cxn ang="0">
                    <a:pos x="76" y="8"/>
                  </a:cxn>
                  <a:cxn ang="0">
                    <a:pos x="66" y="4"/>
                  </a:cxn>
                  <a:cxn ang="0">
                    <a:pos x="58" y="0"/>
                  </a:cxn>
                  <a:cxn ang="0">
                    <a:pos x="48" y="0"/>
                  </a:cxn>
                </a:cxnLst>
                <a:rect l="0" t="0" r="r" b="b"/>
                <a:pathLst>
                  <a:path w="98" h="98">
                    <a:moveTo>
                      <a:pt x="48" y="0"/>
                    </a:moveTo>
                    <a:lnTo>
                      <a:pt x="48" y="0"/>
                    </a:lnTo>
                    <a:lnTo>
                      <a:pt x="38" y="0"/>
                    </a:lnTo>
                    <a:lnTo>
                      <a:pt x="30" y="4"/>
                    </a:lnTo>
                    <a:lnTo>
                      <a:pt x="22" y="8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8" y="22"/>
                    </a:lnTo>
                    <a:lnTo>
                      <a:pt x="2" y="30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0" y="58"/>
                    </a:lnTo>
                    <a:lnTo>
                      <a:pt x="2" y="68"/>
                    </a:lnTo>
                    <a:lnTo>
                      <a:pt x="8" y="76"/>
                    </a:lnTo>
                    <a:lnTo>
                      <a:pt x="14" y="84"/>
                    </a:lnTo>
                    <a:lnTo>
                      <a:pt x="14" y="84"/>
                    </a:lnTo>
                    <a:lnTo>
                      <a:pt x="22" y="90"/>
                    </a:lnTo>
                    <a:lnTo>
                      <a:pt x="30" y="94"/>
                    </a:lnTo>
                    <a:lnTo>
                      <a:pt x="38" y="98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58" y="98"/>
                    </a:lnTo>
                    <a:lnTo>
                      <a:pt x="66" y="94"/>
                    </a:lnTo>
                    <a:lnTo>
                      <a:pt x="76" y="90"/>
                    </a:lnTo>
                    <a:lnTo>
                      <a:pt x="84" y="84"/>
                    </a:lnTo>
                    <a:lnTo>
                      <a:pt x="84" y="84"/>
                    </a:lnTo>
                    <a:lnTo>
                      <a:pt x="90" y="76"/>
                    </a:lnTo>
                    <a:lnTo>
                      <a:pt x="94" y="68"/>
                    </a:lnTo>
                    <a:lnTo>
                      <a:pt x="96" y="58"/>
                    </a:lnTo>
                    <a:lnTo>
                      <a:pt x="98" y="48"/>
                    </a:lnTo>
                    <a:lnTo>
                      <a:pt x="96" y="40"/>
                    </a:lnTo>
                    <a:lnTo>
                      <a:pt x="94" y="30"/>
                    </a:lnTo>
                    <a:lnTo>
                      <a:pt x="90" y="22"/>
                    </a:lnTo>
                    <a:lnTo>
                      <a:pt x="84" y="14"/>
                    </a:lnTo>
                    <a:lnTo>
                      <a:pt x="84" y="14"/>
                    </a:lnTo>
                    <a:lnTo>
                      <a:pt x="76" y="8"/>
                    </a:lnTo>
                    <a:lnTo>
                      <a:pt x="66" y="4"/>
                    </a:lnTo>
                    <a:lnTo>
                      <a:pt x="58" y="0"/>
                    </a:lnTo>
                    <a:lnTo>
                      <a:pt x="4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94" name="Freeform 30"/>
              <p:cNvSpPr>
                <a:spLocks/>
              </p:cNvSpPr>
              <p:nvPr userDrawn="1"/>
            </p:nvSpPr>
            <p:spPr bwMode="auto">
              <a:xfrm>
                <a:off x="6508750" y="2679700"/>
                <a:ext cx="155575" cy="155575"/>
              </a:xfrm>
              <a:custGeom>
                <a:avLst/>
                <a:gdLst/>
                <a:ahLst/>
                <a:cxnLst>
                  <a:cxn ang="0">
                    <a:pos x="48" y="0"/>
                  </a:cxn>
                  <a:cxn ang="0">
                    <a:pos x="48" y="0"/>
                  </a:cxn>
                  <a:cxn ang="0">
                    <a:pos x="38" y="0"/>
                  </a:cxn>
                  <a:cxn ang="0">
                    <a:pos x="30" y="4"/>
                  </a:cxn>
                  <a:cxn ang="0">
                    <a:pos x="22" y="8"/>
                  </a:cxn>
                  <a:cxn ang="0">
                    <a:pos x="14" y="14"/>
                  </a:cxn>
                  <a:cxn ang="0">
                    <a:pos x="14" y="14"/>
                  </a:cxn>
                  <a:cxn ang="0">
                    <a:pos x="8" y="22"/>
                  </a:cxn>
                  <a:cxn ang="0">
                    <a:pos x="2" y="30"/>
                  </a:cxn>
                  <a:cxn ang="0">
                    <a:pos x="0" y="40"/>
                  </a:cxn>
                  <a:cxn ang="0">
                    <a:pos x="0" y="48"/>
                  </a:cxn>
                  <a:cxn ang="0">
                    <a:pos x="0" y="58"/>
                  </a:cxn>
                  <a:cxn ang="0">
                    <a:pos x="2" y="68"/>
                  </a:cxn>
                  <a:cxn ang="0">
                    <a:pos x="8" y="76"/>
                  </a:cxn>
                  <a:cxn ang="0">
                    <a:pos x="14" y="84"/>
                  </a:cxn>
                  <a:cxn ang="0">
                    <a:pos x="14" y="84"/>
                  </a:cxn>
                  <a:cxn ang="0">
                    <a:pos x="22" y="90"/>
                  </a:cxn>
                  <a:cxn ang="0">
                    <a:pos x="30" y="94"/>
                  </a:cxn>
                  <a:cxn ang="0">
                    <a:pos x="38" y="98"/>
                  </a:cxn>
                  <a:cxn ang="0">
                    <a:pos x="48" y="98"/>
                  </a:cxn>
                  <a:cxn ang="0">
                    <a:pos x="48" y="98"/>
                  </a:cxn>
                  <a:cxn ang="0">
                    <a:pos x="58" y="98"/>
                  </a:cxn>
                  <a:cxn ang="0">
                    <a:pos x="66" y="94"/>
                  </a:cxn>
                  <a:cxn ang="0">
                    <a:pos x="76" y="90"/>
                  </a:cxn>
                  <a:cxn ang="0">
                    <a:pos x="84" y="84"/>
                  </a:cxn>
                  <a:cxn ang="0">
                    <a:pos x="84" y="84"/>
                  </a:cxn>
                  <a:cxn ang="0">
                    <a:pos x="90" y="76"/>
                  </a:cxn>
                  <a:cxn ang="0">
                    <a:pos x="94" y="68"/>
                  </a:cxn>
                  <a:cxn ang="0">
                    <a:pos x="96" y="58"/>
                  </a:cxn>
                  <a:cxn ang="0">
                    <a:pos x="98" y="48"/>
                  </a:cxn>
                  <a:cxn ang="0">
                    <a:pos x="96" y="40"/>
                  </a:cxn>
                  <a:cxn ang="0">
                    <a:pos x="94" y="30"/>
                  </a:cxn>
                  <a:cxn ang="0">
                    <a:pos x="90" y="22"/>
                  </a:cxn>
                  <a:cxn ang="0">
                    <a:pos x="84" y="14"/>
                  </a:cxn>
                  <a:cxn ang="0">
                    <a:pos x="84" y="14"/>
                  </a:cxn>
                  <a:cxn ang="0">
                    <a:pos x="76" y="8"/>
                  </a:cxn>
                  <a:cxn ang="0">
                    <a:pos x="66" y="4"/>
                  </a:cxn>
                  <a:cxn ang="0">
                    <a:pos x="58" y="0"/>
                  </a:cxn>
                  <a:cxn ang="0">
                    <a:pos x="48" y="0"/>
                  </a:cxn>
                </a:cxnLst>
                <a:rect l="0" t="0" r="r" b="b"/>
                <a:pathLst>
                  <a:path w="98" h="98">
                    <a:moveTo>
                      <a:pt x="48" y="0"/>
                    </a:moveTo>
                    <a:lnTo>
                      <a:pt x="48" y="0"/>
                    </a:lnTo>
                    <a:lnTo>
                      <a:pt x="38" y="0"/>
                    </a:lnTo>
                    <a:lnTo>
                      <a:pt x="30" y="4"/>
                    </a:lnTo>
                    <a:lnTo>
                      <a:pt x="22" y="8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8" y="22"/>
                    </a:lnTo>
                    <a:lnTo>
                      <a:pt x="2" y="30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0" y="58"/>
                    </a:lnTo>
                    <a:lnTo>
                      <a:pt x="2" y="68"/>
                    </a:lnTo>
                    <a:lnTo>
                      <a:pt x="8" y="76"/>
                    </a:lnTo>
                    <a:lnTo>
                      <a:pt x="14" y="84"/>
                    </a:lnTo>
                    <a:lnTo>
                      <a:pt x="14" y="84"/>
                    </a:lnTo>
                    <a:lnTo>
                      <a:pt x="22" y="90"/>
                    </a:lnTo>
                    <a:lnTo>
                      <a:pt x="30" y="94"/>
                    </a:lnTo>
                    <a:lnTo>
                      <a:pt x="38" y="98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58" y="98"/>
                    </a:lnTo>
                    <a:lnTo>
                      <a:pt x="66" y="94"/>
                    </a:lnTo>
                    <a:lnTo>
                      <a:pt x="76" y="90"/>
                    </a:lnTo>
                    <a:lnTo>
                      <a:pt x="84" y="84"/>
                    </a:lnTo>
                    <a:lnTo>
                      <a:pt x="84" y="84"/>
                    </a:lnTo>
                    <a:lnTo>
                      <a:pt x="90" y="76"/>
                    </a:lnTo>
                    <a:lnTo>
                      <a:pt x="94" y="68"/>
                    </a:lnTo>
                    <a:lnTo>
                      <a:pt x="96" y="58"/>
                    </a:lnTo>
                    <a:lnTo>
                      <a:pt x="98" y="48"/>
                    </a:lnTo>
                    <a:lnTo>
                      <a:pt x="96" y="40"/>
                    </a:lnTo>
                    <a:lnTo>
                      <a:pt x="94" y="30"/>
                    </a:lnTo>
                    <a:lnTo>
                      <a:pt x="90" y="22"/>
                    </a:lnTo>
                    <a:lnTo>
                      <a:pt x="84" y="14"/>
                    </a:lnTo>
                    <a:lnTo>
                      <a:pt x="84" y="14"/>
                    </a:lnTo>
                    <a:lnTo>
                      <a:pt x="76" y="8"/>
                    </a:lnTo>
                    <a:lnTo>
                      <a:pt x="66" y="4"/>
                    </a:lnTo>
                    <a:lnTo>
                      <a:pt x="58" y="0"/>
                    </a:lnTo>
                    <a:lnTo>
                      <a:pt x="4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95" name="Freeform 31"/>
              <p:cNvSpPr>
                <a:spLocks/>
              </p:cNvSpPr>
              <p:nvPr userDrawn="1"/>
            </p:nvSpPr>
            <p:spPr bwMode="auto">
              <a:xfrm>
                <a:off x="6165850" y="2593975"/>
                <a:ext cx="139700" cy="139700"/>
              </a:xfrm>
              <a:custGeom>
                <a:avLst/>
                <a:gdLst/>
                <a:ahLst/>
                <a:cxnLst>
                  <a:cxn ang="0">
                    <a:pos x="44" y="0"/>
                  </a:cxn>
                  <a:cxn ang="0">
                    <a:pos x="44" y="0"/>
                  </a:cxn>
                  <a:cxn ang="0">
                    <a:pos x="36" y="0"/>
                  </a:cxn>
                  <a:cxn ang="0">
                    <a:pos x="28" y="4"/>
                  </a:cxn>
                  <a:cxn ang="0">
                    <a:pos x="20" y="8"/>
                  </a:cxn>
                  <a:cxn ang="0">
                    <a:pos x="14" y="12"/>
                  </a:cxn>
                  <a:cxn ang="0">
                    <a:pos x="14" y="12"/>
                  </a:cxn>
                  <a:cxn ang="0">
                    <a:pos x="8" y="20"/>
                  </a:cxn>
                  <a:cxn ang="0">
                    <a:pos x="4" y="28"/>
                  </a:cxn>
                  <a:cxn ang="0">
                    <a:pos x="2" y="36"/>
                  </a:cxn>
                  <a:cxn ang="0">
                    <a:pos x="0" y="44"/>
                  </a:cxn>
                  <a:cxn ang="0">
                    <a:pos x="2" y="52"/>
                  </a:cxn>
                  <a:cxn ang="0">
                    <a:pos x="4" y="60"/>
                  </a:cxn>
                  <a:cxn ang="0">
                    <a:pos x="8" y="68"/>
                  </a:cxn>
                  <a:cxn ang="0">
                    <a:pos x="14" y="76"/>
                  </a:cxn>
                  <a:cxn ang="0">
                    <a:pos x="14" y="76"/>
                  </a:cxn>
                  <a:cxn ang="0">
                    <a:pos x="20" y="82"/>
                  </a:cxn>
                  <a:cxn ang="0">
                    <a:pos x="28" y="86"/>
                  </a:cxn>
                  <a:cxn ang="0">
                    <a:pos x="36" y="88"/>
                  </a:cxn>
                  <a:cxn ang="0">
                    <a:pos x="44" y="88"/>
                  </a:cxn>
                  <a:cxn ang="0">
                    <a:pos x="44" y="88"/>
                  </a:cxn>
                  <a:cxn ang="0">
                    <a:pos x="54" y="88"/>
                  </a:cxn>
                  <a:cxn ang="0">
                    <a:pos x="62" y="86"/>
                  </a:cxn>
                  <a:cxn ang="0">
                    <a:pos x="68" y="82"/>
                  </a:cxn>
                  <a:cxn ang="0">
                    <a:pos x="76" y="76"/>
                  </a:cxn>
                  <a:cxn ang="0">
                    <a:pos x="76" y="76"/>
                  </a:cxn>
                  <a:cxn ang="0">
                    <a:pos x="82" y="68"/>
                  </a:cxn>
                  <a:cxn ang="0">
                    <a:pos x="86" y="60"/>
                  </a:cxn>
                  <a:cxn ang="0">
                    <a:pos x="88" y="52"/>
                  </a:cxn>
                  <a:cxn ang="0">
                    <a:pos x="88" y="44"/>
                  </a:cxn>
                  <a:cxn ang="0">
                    <a:pos x="88" y="36"/>
                  </a:cxn>
                  <a:cxn ang="0">
                    <a:pos x="86" y="28"/>
                  </a:cxn>
                  <a:cxn ang="0">
                    <a:pos x="82" y="20"/>
                  </a:cxn>
                  <a:cxn ang="0">
                    <a:pos x="76" y="12"/>
                  </a:cxn>
                  <a:cxn ang="0">
                    <a:pos x="76" y="12"/>
                  </a:cxn>
                  <a:cxn ang="0">
                    <a:pos x="68" y="8"/>
                  </a:cxn>
                  <a:cxn ang="0">
                    <a:pos x="62" y="4"/>
                  </a:cxn>
                  <a:cxn ang="0">
                    <a:pos x="54" y="0"/>
                  </a:cxn>
                  <a:cxn ang="0">
                    <a:pos x="44" y="0"/>
                  </a:cxn>
                </a:cxnLst>
                <a:rect l="0" t="0" r="r" b="b"/>
                <a:pathLst>
                  <a:path w="88" h="88">
                    <a:moveTo>
                      <a:pt x="44" y="0"/>
                    </a:moveTo>
                    <a:lnTo>
                      <a:pt x="44" y="0"/>
                    </a:lnTo>
                    <a:lnTo>
                      <a:pt x="36" y="0"/>
                    </a:lnTo>
                    <a:lnTo>
                      <a:pt x="28" y="4"/>
                    </a:lnTo>
                    <a:lnTo>
                      <a:pt x="20" y="8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8" y="20"/>
                    </a:lnTo>
                    <a:lnTo>
                      <a:pt x="4" y="28"/>
                    </a:lnTo>
                    <a:lnTo>
                      <a:pt x="2" y="36"/>
                    </a:lnTo>
                    <a:lnTo>
                      <a:pt x="0" y="44"/>
                    </a:lnTo>
                    <a:lnTo>
                      <a:pt x="2" y="52"/>
                    </a:lnTo>
                    <a:lnTo>
                      <a:pt x="4" y="60"/>
                    </a:lnTo>
                    <a:lnTo>
                      <a:pt x="8" y="68"/>
                    </a:lnTo>
                    <a:lnTo>
                      <a:pt x="14" y="76"/>
                    </a:lnTo>
                    <a:lnTo>
                      <a:pt x="14" y="76"/>
                    </a:lnTo>
                    <a:lnTo>
                      <a:pt x="20" y="82"/>
                    </a:lnTo>
                    <a:lnTo>
                      <a:pt x="28" y="86"/>
                    </a:lnTo>
                    <a:lnTo>
                      <a:pt x="36" y="88"/>
                    </a:lnTo>
                    <a:lnTo>
                      <a:pt x="44" y="88"/>
                    </a:lnTo>
                    <a:lnTo>
                      <a:pt x="44" y="88"/>
                    </a:lnTo>
                    <a:lnTo>
                      <a:pt x="54" y="88"/>
                    </a:lnTo>
                    <a:lnTo>
                      <a:pt x="62" y="86"/>
                    </a:lnTo>
                    <a:lnTo>
                      <a:pt x="68" y="82"/>
                    </a:lnTo>
                    <a:lnTo>
                      <a:pt x="76" y="76"/>
                    </a:lnTo>
                    <a:lnTo>
                      <a:pt x="76" y="76"/>
                    </a:lnTo>
                    <a:lnTo>
                      <a:pt x="82" y="68"/>
                    </a:lnTo>
                    <a:lnTo>
                      <a:pt x="86" y="60"/>
                    </a:lnTo>
                    <a:lnTo>
                      <a:pt x="88" y="52"/>
                    </a:lnTo>
                    <a:lnTo>
                      <a:pt x="88" y="44"/>
                    </a:lnTo>
                    <a:lnTo>
                      <a:pt x="88" y="36"/>
                    </a:lnTo>
                    <a:lnTo>
                      <a:pt x="86" y="28"/>
                    </a:lnTo>
                    <a:lnTo>
                      <a:pt x="82" y="20"/>
                    </a:lnTo>
                    <a:lnTo>
                      <a:pt x="76" y="12"/>
                    </a:lnTo>
                    <a:lnTo>
                      <a:pt x="76" y="12"/>
                    </a:lnTo>
                    <a:lnTo>
                      <a:pt x="68" y="8"/>
                    </a:lnTo>
                    <a:lnTo>
                      <a:pt x="62" y="4"/>
                    </a:lnTo>
                    <a:lnTo>
                      <a:pt x="54" y="0"/>
                    </a:lnTo>
                    <a:lnTo>
                      <a:pt x="4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96" name="Freeform 32"/>
              <p:cNvSpPr>
                <a:spLocks/>
              </p:cNvSpPr>
              <p:nvPr userDrawn="1"/>
            </p:nvSpPr>
            <p:spPr bwMode="auto">
              <a:xfrm>
                <a:off x="6165850" y="2593975"/>
                <a:ext cx="139700" cy="139700"/>
              </a:xfrm>
              <a:custGeom>
                <a:avLst/>
                <a:gdLst/>
                <a:ahLst/>
                <a:cxnLst>
                  <a:cxn ang="0">
                    <a:pos x="44" y="0"/>
                  </a:cxn>
                  <a:cxn ang="0">
                    <a:pos x="44" y="0"/>
                  </a:cxn>
                  <a:cxn ang="0">
                    <a:pos x="36" y="0"/>
                  </a:cxn>
                  <a:cxn ang="0">
                    <a:pos x="28" y="4"/>
                  </a:cxn>
                  <a:cxn ang="0">
                    <a:pos x="20" y="8"/>
                  </a:cxn>
                  <a:cxn ang="0">
                    <a:pos x="14" y="12"/>
                  </a:cxn>
                  <a:cxn ang="0">
                    <a:pos x="14" y="12"/>
                  </a:cxn>
                  <a:cxn ang="0">
                    <a:pos x="8" y="20"/>
                  </a:cxn>
                  <a:cxn ang="0">
                    <a:pos x="4" y="28"/>
                  </a:cxn>
                  <a:cxn ang="0">
                    <a:pos x="2" y="36"/>
                  </a:cxn>
                  <a:cxn ang="0">
                    <a:pos x="0" y="44"/>
                  </a:cxn>
                  <a:cxn ang="0">
                    <a:pos x="2" y="52"/>
                  </a:cxn>
                  <a:cxn ang="0">
                    <a:pos x="4" y="60"/>
                  </a:cxn>
                  <a:cxn ang="0">
                    <a:pos x="8" y="68"/>
                  </a:cxn>
                  <a:cxn ang="0">
                    <a:pos x="14" y="76"/>
                  </a:cxn>
                  <a:cxn ang="0">
                    <a:pos x="14" y="76"/>
                  </a:cxn>
                  <a:cxn ang="0">
                    <a:pos x="20" y="82"/>
                  </a:cxn>
                  <a:cxn ang="0">
                    <a:pos x="28" y="86"/>
                  </a:cxn>
                  <a:cxn ang="0">
                    <a:pos x="36" y="88"/>
                  </a:cxn>
                  <a:cxn ang="0">
                    <a:pos x="44" y="88"/>
                  </a:cxn>
                  <a:cxn ang="0">
                    <a:pos x="44" y="88"/>
                  </a:cxn>
                  <a:cxn ang="0">
                    <a:pos x="54" y="88"/>
                  </a:cxn>
                  <a:cxn ang="0">
                    <a:pos x="62" y="86"/>
                  </a:cxn>
                  <a:cxn ang="0">
                    <a:pos x="68" y="82"/>
                  </a:cxn>
                  <a:cxn ang="0">
                    <a:pos x="76" y="76"/>
                  </a:cxn>
                  <a:cxn ang="0">
                    <a:pos x="76" y="76"/>
                  </a:cxn>
                  <a:cxn ang="0">
                    <a:pos x="82" y="68"/>
                  </a:cxn>
                  <a:cxn ang="0">
                    <a:pos x="86" y="60"/>
                  </a:cxn>
                  <a:cxn ang="0">
                    <a:pos x="88" y="52"/>
                  </a:cxn>
                  <a:cxn ang="0">
                    <a:pos x="88" y="44"/>
                  </a:cxn>
                  <a:cxn ang="0">
                    <a:pos x="88" y="36"/>
                  </a:cxn>
                  <a:cxn ang="0">
                    <a:pos x="86" y="28"/>
                  </a:cxn>
                  <a:cxn ang="0">
                    <a:pos x="82" y="20"/>
                  </a:cxn>
                  <a:cxn ang="0">
                    <a:pos x="76" y="12"/>
                  </a:cxn>
                  <a:cxn ang="0">
                    <a:pos x="76" y="12"/>
                  </a:cxn>
                  <a:cxn ang="0">
                    <a:pos x="68" y="8"/>
                  </a:cxn>
                  <a:cxn ang="0">
                    <a:pos x="62" y="4"/>
                  </a:cxn>
                  <a:cxn ang="0">
                    <a:pos x="54" y="0"/>
                  </a:cxn>
                  <a:cxn ang="0">
                    <a:pos x="44" y="0"/>
                  </a:cxn>
                </a:cxnLst>
                <a:rect l="0" t="0" r="r" b="b"/>
                <a:pathLst>
                  <a:path w="88" h="88">
                    <a:moveTo>
                      <a:pt x="44" y="0"/>
                    </a:moveTo>
                    <a:lnTo>
                      <a:pt x="44" y="0"/>
                    </a:lnTo>
                    <a:lnTo>
                      <a:pt x="36" y="0"/>
                    </a:lnTo>
                    <a:lnTo>
                      <a:pt x="28" y="4"/>
                    </a:lnTo>
                    <a:lnTo>
                      <a:pt x="20" y="8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8" y="20"/>
                    </a:lnTo>
                    <a:lnTo>
                      <a:pt x="4" y="28"/>
                    </a:lnTo>
                    <a:lnTo>
                      <a:pt x="2" y="36"/>
                    </a:lnTo>
                    <a:lnTo>
                      <a:pt x="0" y="44"/>
                    </a:lnTo>
                    <a:lnTo>
                      <a:pt x="2" y="52"/>
                    </a:lnTo>
                    <a:lnTo>
                      <a:pt x="4" y="60"/>
                    </a:lnTo>
                    <a:lnTo>
                      <a:pt x="8" y="68"/>
                    </a:lnTo>
                    <a:lnTo>
                      <a:pt x="14" y="76"/>
                    </a:lnTo>
                    <a:lnTo>
                      <a:pt x="14" y="76"/>
                    </a:lnTo>
                    <a:lnTo>
                      <a:pt x="20" y="82"/>
                    </a:lnTo>
                    <a:lnTo>
                      <a:pt x="28" y="86"/>
                    </a:lnTo>
                    <a:lnTo>
                      <a:pt x="36" y="88"/>
                    </a:lnTo>
                    <a:lnTo>
                      <a:pt x="44" y="88"/>
                    </a:lnTo>
                    <a:lnTo>
                      <a:pt x="44" y="88"/>
                    </a:lnTo>
                    <a:lnTo>
                      <a:pt x="54" y="88"/>
                    </a:lnTo>
                    <a:lnTo>
                      <a:pt x="62" y="86"/>
                    </a:lnTo>
                    <a:lnTo>
                      <a:pt x="68" y="82"/>
                    </a:lnTo>
                    <a:lnTo>
                      <a:pt x="76" y="76"/>
                    </a:lnTo>
                    <a:lnTo>
                      <a:pt x="76" y="76"/>
                    </a:lnTo>
                    <a:lnTo>
                      <a:pt x="82" y="68"/>
                    </a:lnTo>
                    <a:lnTo>
                      <a:pt x="86" y="60"/>
                    </a:lnTo>
                    <a:lnTo>
                      <a:pt x="88" y="52"/>
                    </a:lnTo>
                    <a:lnTo>
                      <a:pt x="88" y="44"/>
                    </a:lnTo>
                    <a:lnTo>
                      <a:pt x="88" y="36"/>
                    </a:lnTo>
                    <a:lnTo>
                      <a:pt x="86" y="28"/>
                    </a:lnTo>
                    <a:lnTo>
                      <a:pt x="82" y="20"/>
                    </a:lnTo>
                    <a:lnTo>
                      <a:pt x="76" y="12"/>
                    </a:lnTo>
                    <a:lnTo>
                      <a:pt x="76" y="12"/>
                    </a:lnTo>
                    <a:lnTo>
                      <a:pt x="68" y="8"/>
                    </a:lnTo>
                    <a:lnTo>
                      <a:pt x="62" y="4"/>
                    </a:lnTo>
                    <a:lnTo>
                      <a:pt x="54" y="0"/>
                    </a:lnTo>
                    <a:lnTo>
                      <a:pt x="4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97" name="Freeform 33"/>
              <p:cNvSpPr>
                <a:spLocks/>
              </p:cNvSpPr>
              <p:nvPr userDrawn="1"/>
            </p:nvSpPr>
            <p:spPr bwMode="auto">
              <a:xfrm>
                <a:off x="5813425" y="2568575"/>
                <a:ext cx="127000" cy="127000"/>
              </a:xfrm>
              <a:custGeom>
                <a:avLst/>
                <a:gdLst/>
                <a:ahLst/>
                <a:cxnLst>
                  <a:cxn ang="0">
                    <a:pos x="40" y="0"/>
                  </a:cxn>
                  <a:cxn ang="0">
                    <a:pos x="40" y="0"/>
                  </a:cxn>
                  <a:cxn ang="0">
                    <a:pos x="32" y="2"/>
                  </a:cxn>
                  <a:cxn ang="0">
                    <a:pos x="26" y="4"/>
                  </a:cxn>
                  <a:cxn ang="0">
                    <a:pos x="18" y="8"/>
                  </a:cxn>
                  <a:cxn ang="0">
                    <a:pos x="12" y="12"/>
                  </a:cxn>
                  <a:cxn ang="0">
                    <a:pos x="12" y="12"/>
                  </a:cxn>
                  <a:cxn ang="0">
                    <a:pos x="6" y="18"/>
                  </a:cxn>
                  <a:cxn ang="0">
                    <a:pos x="4" y="26"/>
                  </a:cxn>
                  <a:cxn ang="0">
                    <a:pos x="0" y="32"/>
                  </a:cxn>
                  <a:cxn ang="0">
                    <a:pos x="0" y="40"/>
                  </a:cxn>
                  <a:cxn ang="0">
                    <a:pos x="0" y="48"/>
                  </a:cxn>
                  <a:cxn ang="0">
                    <a:pos x="4" y="56"/>
                  </a:cxn>
                  <a:cxn ang="0">
                    <a:pos x="6" y="62"/>
                  </a:cxn>
                  <a:cxn ang="0">
                    <a:pos x="12" y="68"/>
                  </a:cxn>
                  <a:cxn ang="0">
                    <a:pos x="12" y="68"/>
                  </a:cxn>
                  <a:cxn ang="0">
                    <a:pos x="18" y="74"/>
                  </a:cxn>
                  <a:cxn ang="0">
                    <a:pos x="26" y="78"/>
                  </a:cxn>
                  <a:cxn ang="0">
                    <a:pos x="32" y="80"/>
                  </a:cxn>
                  <a:cxn ang="0">
                    <a:pos x="40" y="80"/>
                  </a:cxn>
                  <a:cxn ang="0">
                    <a:pos x="40" y="80"/>
                  </a:cxn>
                  <a:cxn ang="0">
                    <a:pos x="48" y="80"/>
                  </a:cxn>
                  <a:cxn ang="0">
                    <a:pos x="54" y="78"/>
                  </a:cxn>
                  <a:cxn ang="0">
                    <a:pos x="62" y="74"/>
                  </a:cxn>
                  <a:cxn ang="0">
                    <a:pos x="68" y="68"/>
                  </a:cxn>
                  <a:cxn ang="0">
                    <a:pos x="68" y="68"/>
                  </a:cxn>
                  <a:cxn ang="0">
                    <a:pos x="74" y="62"/>
                  </a:cxn>
                  <a:cxn ang="0">
                    <a:pos x="76" y="56"/>
                  </a:cxn>
                  <a:cxn ang="0">
                    <a:pos x="80" y="48"/>
                  </a:cxn>
                  <a:cxn ang="0">
                    <a:pos x="80" y="40"/>
                  </a:cxn>
                  <a:cxn ang="0">
                    <a:pos x="80" y="32"/>
                  </a:cxn>
                  <a:cxn ang="0">
                    <a:pos x="76" y="26"/>
                  </a:cxn>
                  <a:cxn ang="0">
                    <a:pos x="74" y="18"/>
                  </a:cxn>
                  <a:cxn ang="0">
                    <a:pos x="68" y="12"/>
                  </a:cxn>
                  <a:cxn ang="0">
                    <a:pos x="68" y="12"/>
                  </a:cxn>
                  <a:cxn ang="0">
                    <a:pos x="62" y="8"/>
                  </a:cxn>
                  <a:cxn ang="0">
                    <a:pos x="54" y="4"/>
                  </a:cxn>
                  <a:cxn ang="0">
                    <a:pos x="48" y="2"/>
                  </a:cxn>
                  <a:cxn ang="0">
                    <a:pos x="40" y="0"/>
                  </a:cxn>
                </a:cxnLst>
                <a:rect l="0" t="0" r="r" b="b"/>
                <a:pathLst>
                  <a:path w="80" h="80">
                    <a:moveTo>
                      <a:pt x="40" y="0"/>
                    </a:moveTo>
                    <a:lnTo>
                      <a:pt x="40" y="0"/>
                    </a:lnTo>
                    <a:lnTo>
                      <a:pt x="32" y="2"/>
                    </a:lnTo>
                    <a:lnTo>
                      <a:pt x="26" y="4"/>
                    </a:lnTo>
                    <a:lnTo>
                      <a:pt x="18" y="8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6" y="18"/>
                    </a:lnTo>
                    <a:lnTo>
                      <a:pt x="4" y="26"/>
                    </a:lnTo>
                    <a:lnTo>
                      <a:pt x="0" y="32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4" y="56"/>
                    </a:lnTo>
                    <a:lnTo>
                      <a:pt x="6" y="62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8" y="74"/>
                    </a:lnTo>
                    <a:lnTo>
                      <a:pt x="26" y="78"/>
                    </a:lnTo>
                    <a:lnTo>
                      <a:pt x="32" y="80"/>
                    </a:lnTo>
                    <a:lnTo>
                      <a:pt x="40" y="80"/>
                    </a:lnTo>
                    <a:lnTo>
                      <a:pt x="40" y="80"/>
                    </a:lnTo>
                    <a:lnTo>
                      <a:pt x="48" y="80"/>
                    </a:lnTo>
                    <a:lnTo>
                      <a:pt x="54" y="78"/>
                    </a:lnTo>
                    <a:lnTo>
                      <a:pt x="62" y="74"/>
                    </a:lnTo>
                    <a:lnTo>
                      <a:pt x="68" y="68"/>
                    </a:lnTo>
                    <a:lnTo>
                      <a:pt x="68" y="68"/>
                    </a:lnTo>
                    <a:lnTo>
                      <a:pt x="74" y="62"/>
                    </a:lnTo>
                    <a:lnTo>
                      <a:pt x="76" y="56"/>
                    </a:lnTo>
                    <a:lnTo>
                      <a:pt x="80" y="48"/>
                    </a:lnTo>
                    <a:lnTo>
                      <a:pt x="80" y="40"/>
                    </a:lnTo>
                    <a:lnTo>
                      <a:pt x="80" y="32"/>
                    </a:lnTo>
                    <a:lnTo>
                      <a:pt x="76" y="26"/>
                    </a:lnTo>
                    <a:lnTo>
                      <a:pt x="74" y="18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2" y="8"/>
                    </a:lnTo>
                    <a:lnTo>
                      <a:pt x="54" y="4"/>
                    </a:lnTo>
                    <a:lnTo>
                      <a:pt x="48" y="2"/>
                    </a:lnTo>
                    <a:lnTo>
                      <a:pt x="4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98" name="Freeform 34"/>
              <p:cNvSpPr>
                <a:spLocks/>
              </p:cNvSpPr>
              <p:nvPr userDrawn="1"/>
            </p:nvSpPr>
            <p:spPr bwMode="auto">
              <a:xfrm>
                <a:off x="5813425" y="2568575"/>
                <a:ext cx="127000" cy="127000"/>
              </a:xfrm>
              <a:custGeom>
                <a:avLst/>
                <a:gdLst/>
                <a:ahLst/>
                <a:cxnLst>
                  <a:cxn ang="0">
                    <a:pos x="40" y="0"/>
                  </a:cxn>
                  <a:cxn ang="0">
                    <a:pos x="40" y="0"/>
                  </a:cxn>
                  <a:cxn ang="0">
                    <a:pos x="32" y="2"/>
                  </a:cxn>
                  <a:cxn ang="0">
                    <a:pos x="26" y="4"/>
                  </a:cxn>
                  <a:cxn ang="0">
                    <a:pos x="18" y="8"/>
                  </a:cxn>
                  <a:cxn ang="0">
                    <a:pos x="12" y="12"/>
                  </a:cxn>
                  <a:cxn ang="0">
                    <a:pos x="12" y="12"/>
                  </a:cxn>
                  <a:cxn ang="0">
                    <a:pos x="6" y="18"/>
                  </a:cxn>
                  <a:cxn ang="0">
                    <a:pos x="4" y="26"/>
                  </a:cxn>
                  <a:cxn ang="0">
                    <a:pos x="0" y="32"/>
                  </a:cxn>
                  <a:cxn ang="0">
                    <a:pos x="0" y="40"/>
                  </a:cxn>
                  <a:cxn ang="0">
                    <a:pos x="0" y="48"/>
                  </a:cxn>
                  <a:cxn ang="0">
                    <a:pos x="4" y="56"/>
                  </a:cxn>
                  <a:cxn ang="0">
                    <a:pos x="6" y="62"/>
                  </a:cxn>
                  <a:cxn ang="0">
                    <a:pos x="12" y="68"/>
                  </a:cxn>
                  <a:cxn ang="0">
                    <a:pos x="12" y="68"/>
                  </a:cxn>
                  <a:cxn ang="0">
                    <a:pos x="18" y="74"/>
                  </a:cxn>
                  <a:cxn ang="0">
                    <a:pos x="26" y="78"/>
                  </a:cxn>
                  <a:cxn ang="0">
                    <a:pos x="32" y="80"/>
                  </a:cxn>
                  <a:cxn ang="0">
                    <a:pos x="40" y="80"/>
                  </a:cxn>
                  <a:cxn ang="0">
                    <a:pos x="40" y="80"/>
                  </a:cxn>
                  <a:cxn ang="0">
                    <a:pos x="48" y="80"/>
                  </a:cxn>
                  <a:cxn ang="0">
                    <a:pos x="54" y="78"/>
                  </a:cxn>
                  <a:cxn ang="0">
                    <a:pos x="62" y="74"/>
                  </a:cxn>
                  <a:cxn ang="0">
                    <a:pos x="68" y="68"/>
                  </a:cxn>
                  <a:cxn ang="0">
                    <a:pos x="68" y="68"/>
                  </a:cxn>
                  <a:cxn ang="0">
                    <a:pos x="74" y="62"/>
                  </a:cxn>
                  <a:cxn ang="0">
                    <a:pos x="76" y="56"/>
                  </a:cxn>
                  <a:cxn ang="0">
                    <a:pos x="80" y="48"/>
                  </a:cxn>
                  <a:cxn ang="0">
                    <a:pos x="80" y="40"/>
                  </a:cxn>
                  <a:cxn ang="0">
                    <a:pos x="80" y="32"/>
                  </a:cxn>
                  <a:cxn ang="0">
                    <a:pos x="76" y="26"/>
                  </a:cxn>
                  <a:cxn ang="0">
                    <a:pos x="74" y="18"/>
                  </a:cxn>
                  <a:cxn ang="0">
                    <a:pos x="68" y="12"/>
                  </a:cxn>
                  <a:cxn ang="0">
                    <a:pos x="68" y="12"/>
                  </a:cxn>
                  <a:cxn ang="0">
                    <a:pos x="62" y="8"/>
                  </a:cxn>
                  <a:cxn ang="0">
                    <a:pos x="54" y="4"/>
                  </a:cxn>
                  <a:cxn ang="0">
                    <a:pos x="48" y="2"/>
                  </a:cxn>
                  <a:cxn ang="0">
                    <a:pos x="40" y="0"/>
                  </a:cxn>
                </a:cxnLst>
                <a:rect l="0" t="0" r="r" b="b"/>
                <a:pathLst>
                  <a:path w="80" h="80">
                    <a:moveTo>
                      <a:pt x="40" y="0"/>
                    </a:moveTo>
                    <a:lnTo>
                      <a:pt x="40" y="0"/>
                    </a:lnTo>
                    <a:lnTo>
                      <a:pt x="32" y="2"/>
                    </a:lnTo>
                    <a:lnTo>
                      <a:pt x="26" y="4"/>
                    </a:lnTo>
                    <a:lnTo>
                      <a:pt x="18" y="8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6" y="18"/>
                    </a:lnTo>
                    <a:lnTo>
                      <a:pt x="4" y="26"/>
                    </a:lnTo>
                    <a:lnTo>
                      <a:pt x="0" y="32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4" y="56"/>
                    </a:lnTo>
                    <a:lnTo>
                      <a:pt x="6" y="62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8" y="74"/>
                    </a:lnTo>
                    <a:lnTo>
                      <a:pt x="26" y="78"/>
                    </a:lnTo>
                    <a:lnTo>
                      <a:pt x="32" y="80"/>
                    </a:lnTo>
                    <a:lnTo>
                      <a:pt x="40" y="80"/>
                    </a:lnTo>
                    <a:lnTo>
                      <a:pt x="40" y="80"/>
                    </a:lnTo>
                    <a:lnTo>
                      <a:pt x="48" y="80"/>
                    </a:lnTo>
                    <a:lnTo>
                      <a:pt x="54" y="78"/>
                    </a:lnTo>
                    <a:lnTo>
                      <a:pt x="62" y="74"/>
                    </a:lnTo>
                    <a:lnTo>
                      <a:pt x="68" y="68"/>
                    </a:lnTo>
                    <a:lnTo>
                      <a:pt x="68" y="68"/>
                    </a:lnTo>
                    <a:lnTo>
                      <a:pt x="74" y="62"/>
                    </a:lnTo>
                    <a:lnTo>
                      <a:pt x="76" y="56"/>
                    </a:lnTo>
                    <a:lnTo>
                      <a:pt x="80" y="48"/>
                    </a:lnTo>
                    <a:lnTo>
                      <a:pt x="80" y="40"/>
                    </a:lnTo>
                    <a:lnTo>
                      <a:pt x="80" y="32"/>
                    </a:lnTo>
                    <a:lnTo>
                      <a:pt x="76" y="26"/>
                    </a:lnTo>
                    <a:lnTo>
                      <a:pt x="74" y="18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2" y="8"/>
                    </a:lnTo>
                    <a:lnTo>
                      <a:pt x="54" y="4"/>
                    </a:lnTo>
                    <a:lnTo>
                      <a:pt x="48" y="2"/>
                    </a:lnTo>
                    <a:lnTo>
                      <a:pt x="4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99" name="Freeform 35"/>
              <p:cNvSpPr>
                <a:spLocks/>
              </p:cNvSpPr>
              <p:nvPr userDrawn="1"/>
            </p:nvSpPr>
            <p:spPr bwMode="auto">
              <a:xfrm>
                <a:off x="5461000" y="2606675"/>
                <a:ext cx="114300" cy="114300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8" y="0"/>
                  </a:cxn>
                  <a:cxn ang="0">
                    <a:pos x="22" y="2"/>
                  </a:cxn>
                  <a:cxn ang="0">
                    <a:pos x="16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6"/>
                  </a:cxn>
                  <a:cxn ang="0">
                    <a:pos x="2" y="22"/>
                  </a:cxn>
                  <a:cxn ang="0">
                    <a:pos x="0" y="30"/>
                  </a:cxn>
                  <a:cxn ang="0">
                    <a:pos x="0" y="36"/>
                  </a:cxn>
                  <a:cxn ang="0">
                    <a:pos x="0" y="42"/>
                  </a:cxn>
                  <a:cxn ang="0">
                    <a:pos x="2" y="50"/>
                  </a:cxn>
                  <a:cxn ang="0">
                    <a:pos x="6" y="56"/>
                  </a:cxn>
                  <a:cxn ang="0">
                    <a:pos x="10" y="62"/>
                  </a:cxn>
                  <a:cxn ang="0">
                    <a:pos x="10" y="62"/>
                  </a:cxn>
                  <a:cxn ang="0">
                    <a:pos x="16" y="66"/>
                  </a:cxn>
                  <a:cxn ang="0">
                    <a:pos x="22" y="70"/>
                  </a:cxn>
                  <a:cxn ang="0">
                    <a:pos x="28" y="72"/>
                  </a:cxn>
                  <a:cxn ang="0">
                    <a:pos x="36" y="72"/>
                  </a:cxn>
                  <a:cxn ang="0">
                    <a:pos x="36" y="72"/>
                  </a:cxn>
                  <a:cxn ang="0">
                    <a:pos x="42" y="72"/>
                  </a:cxn>
                  <a:cxn ang="0">
                    <a:pos x="48" y="70"/>
                  </a:cxn>
                  <a:cxn ang="0">
                    <a:pos x="56" y="66"/>
                  </a:cxn>
                  <a:cxn ang="0">
                    <a:pos x="60" y="62"/>
                  </a:cxn>
                  <a:cxn ang="0">
                    <a:pos x="60" y="62"/>
                  </a:cxn>
                  <a:cxn ang="0">
                    <a:pos x="66" y="56"/>
                  </a:cxn>
                  <a:cxn ang="0">
                    <a:pos x="68" y="50"/>
                  </a:cxn>
                  <a:cxn ang="0">
                    <a:pos x="70" y="42"/>
                  </a:cxn>
                  <a:cxn ang="0">
                    <a:pos x="72" y="36"/>
                  </a:cxn>
                  <a:cxn ang="0">
                    <a:pos x="70" y="30"/>
                  </a:cxn>
                  <a:cxn ang="0">
                    <a:pos x="68" y="22"/>
                  </a:cxn>
                  <a:cxn ang="0">
                    <a:pos x="66" y="16"/>
                  </a:cxn>
                  <a:cxn ang="0">
                    <a:pos x="60" y="10"/>
                  </a:cxn>
                  <a:cxn ang="0">
                    <a:pos x="60" y="10"/>
                  </a:cxn>
                  <a:cxn ang="0">
                    <a:pos x="56" y="6"/>
                  </a:cxn>
                  <a:cxn ang="0">
                    <a:pos x="48" y="2"/>
                  </a:cxn>
                  <a:cxn ang="0">
                    <a:pos x="42" y="0"/>
                  </a:cxn>
                  <a:cxn ang="0">
                    <a:pos x="36" y="0"/>
                  </a:cxn>
                </a:cxnLst>
                <a:rect l="0" t="0" r="r" b="b"/>
                <a:pathLst>
                  <a:path w="72" h="72">
                    <a:moveTo>
                      <a:pt x="36" y="0"/>
                    </a:moveTo>
                    <a:lnTo>
                      <a:pt x="36" y="0"/>
                    </a:lnTo>
                    <a:lnTo>
                      <a:pt x="28" y="0"/>
                    </a:lnTo>
                    <a:lnTo>
                      <a:pt x="22" y="2"/>
                    </a:lnTo>
                    <a:lnTo>
                      <a:pt x="16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6"/>
                    </a:lnTo>
                    <a:lnTo>
                      <a:pt x="2" y="22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0" y="42"/>
                    </a:lnTo>
                    <a:lnTo>
                      <a:pt x="2" y="50"/>
                    </a:lnTo>
                    <a:lnTo>
                      <a:pt x="6" y="56"/>
                    </a:lnTo>
                    <a:lnTo>
                      <a:pt x="10" y="62"/>
                    </a:lnTo>
                    <a:lnTo>
                      <a:pt x="10" y="62"/>
                    </a:lnTo>
                    <a:lnTo>
                      <a:pt x="16" y="66"/>
                    </a:lnTo>
                    <a:lnTo>
                      <a:pt x="22" y="70"/>
                    </a:lnTo>
                    <a:lnTo>
                      <a:pt x="28" y="72"/>
                    </a:lnTo>
                    <a:lnTo>
                      <a:pt x="36" y="72"/>
                    </a:lnTo>
                    <a:lnTo>
                      <a:pt x="36" y="72"/>
                    </a:lnTo>
                    <a:lnTo>
                      <a:pt x="42" y="72"/>
                    </a:lnTo>
                    <a:lnTo>
                      <a:pt x="48" y="70"/>
                    </a:lnTo>
                    <a:lnTo>
                      <a:pt x="56" y="66"/>
                    </a:lnTo>
                    <a:lnTo>
                      <a:pt x="60" y="62"/>
                    </a:lnTo>
                    <a:lnTo>
                      <a:pt x="60" y="62"/>
                    </a:lnTo>
                    <a:lnTo>
                      <a:pt x="66" y="56"/>
                    </a:lnTo>
                    <a:lnTo>
                      <a:pt x="68" y="50"/>
                    </a:lnTo>
                    <a:lnTo>
                      <a:pt x="70" y="42"/>
                    </a:lnTo>
                    <a:lnTo>
                      <a:pt x="72" y="36"/>
                    </a:lnTo>
                    <a:lnTo>
                      <a:pt x="70" y="30"/>
                    </a:lnTo>
                    <a:lnTo>
                      <a:pt x="68" y="22"/>
                    </a:lnTo>
                    <a:lnTo>
                      <a:pt x="66" y="16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56" y="6"/>
                    </a:lnTo>
                    <a:lnTo>
                      <a:pt x="48" y="2"/>
                    </a:lnTo>
                    <a:lnTo>
                      <a:pt x="42" y="0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00" name="Freeform 36"/>
              <p:cNvSpPr>
                <a:spLocks/>
              </p:cNvSpPr>
              <p:nvPr userDrawn="1"/>
            </p:nvSpPr>
            <p:spPr bwMode="auto">
              <a:xfrm>
                <a:off x="5461000" y="2606675"/>
                <a:ext cx="114300" cy="114300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8" y="0"/>
                  </a:cxn>
                  <a:cxn ang="0">
                    <a:pos x="22" y="2"/>
                  </a:cxn>
                  <a:cxn ang="0">
                    <a:pos x="16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6"/>
                  </a:cxn>
                  <a:cxn ang="0">
                    <a:pos x="2" y="22"/>
                  </a:cxn>
                  <a:cxn ang="0">
                    <a:pos x="0" y="30"/>
                  </a:cxn>
                  <a:cxn ang="0">
                    <a:pos x="0" y="36"/>
                  </a:cxn>
                  <a:cxn ang="0">
                    <a:pos x="0" y="42"/>
                  </a:cxn>
                  <a:cxn ang="0">
                    <a:pos x="2" y="50"/>
                  </a:cxn>
                  <a:cxn ang="0">
                    <a:pos x="6" y="56"/>
                  </a:cxn>
                  <a:cxn ang="0">
                    <a:pos x="10" y="62"/>
                  </a:cxn>
                  <a:cxn ang="0">
                    <a:pos x="10" y="62"/>
                  </a:cxn>
                  <a:cxn ang="0">
                    <a:pos x="16" y="66"/>
                  </a:cxn>
                  <a:cxn ang="0">
                    <a:pos x="22" y="70"/>
                  </a:cxn>
                  <a:cxn ang="0">
                    <a:pos x="28" y="72"/>
                  </a:cxn>
                  <a:cxn ang="0">
                    <a:pos x="36" y="72"/>
                  </a:cxn>
                  <a:cxn ang="0">
                    <a:pos x="36" y="72"/>
                  </a:cxn>
                  <a:cxn ang="0">
                    <a:pos x="42" y="72"/>
                  </a:cxn>
                  <a:cxn ang="0">
                    <a:pos x="48" y="70"/>
                  </a:cxn>
                  <a:cxn ang="0">
                    <a:pos x="56" y="66"/>
                  </a:cxn>
                  <a:cxn ang="0">
                    <a:pos x="60" y="62"/>
                  </a:cxn>
                  <a:cxn ang="0">
                    <a:pos x="60" y="62"/>
                  </a:cxn>
                  <a:cxn ang="0">
                    <a:pos x="66" y="56"/>
                  </a:cxn>
                  <a:cxn ang="0">
                    <a:pos x="68" y="50"/>
                  </a:cxn>
                  <a:cxn ang="0">
                    <a:pos x="70" y="42"/>
                  </a:cxn>
                  <a:cxn ang="0">
                    <a:pos x="72" y="36"/>
                  </a:cxn>
                  <a:cxn ang="0">
                    <a:pos x="70" y="30"/>
                  </a:cxn>
                  <a:cxn ang="0">
                    <a:pos x="68" y="22"/>
                  </a:cxn>
                  <a:cxn ang="0">
                    <a:pos x="66" y="16"/>
                  </a:cxn>
                  <a:cxn ang="0">
                    <a:pos x="60" y="10"/>
                  </a:cxn>
                  <a:cxn ang="0">
                    <a:pos x="60" y="10"/>
                  </a:cxn>
                  <a:cxn ang="0">
                    <a:pos x="56" y="6"/>
                  </a:cxn>
                  <a:cxn ang="0">
                    <a:pos x="48" y="2"/>
                  </a:cxn>
                  <a:cxn ang="0">
                    <a:pos x="42" y="0"/>
                  </a:cxn>
                  <a:cxn ang="0">
                    <a:pos x="36" y="0"/>
                  </a:cxn>
                </a:cxnLst>
                <a:rect l="0" t="0" r="r" b="b"/>
                <a:pathLst>
                  <a:path w="72" h="72">
                    <a:moveTo>
                      <a:pt x="36" y="0"/>
                    </a:moveTo>
                    <a:lnTo>
                      <a:pt x="36" y="0"/>
                    </a:lnTo>
                    <a:lnTo>
                      <a:pt x="28" y="0"/>
                    </a:lnTo>
                    <a:lnTo>
                      <a:pt x="22" y="2"/>
                    </a:lnTo>
                    <a:lnTo>
                      <a:pt x="16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6"/>
                    </a:lnTo>
                    <a:lnTo>
                      <a:pt x="2" y="22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0" y="42"/>
                    </a:lnTo>
                    <a:lnTo>
                      <a:pt x="2" y="50"/>
                    </a:lnTo>
                    <a:lnTo>
                      <a:pt x="6" y="56"/>
                    </a:lnTo>
                    <a:lnTo>
                      <a:pt x="10" y="62"/>
                    </a:lnTo>
                    <a:lnTo>
                      <a:pt x="10" y="62"/>
                    </a:lnTo>
                    <a:lnTo>
                      <a:pt x="16" y="66"/>
                    </a:lnTo>
                    <a:lnTo>
                      <a:pt x="22" y="70"/>
                    </a:lnTo>
                    <a:lnTo>
                      <a:pt x="28" y="72"/>
                    </a:lnTo>
                    <a:lnTo>
                      <a:pt x="36" y="72"/>
                    </a:lnTo>
                    <a:lnTo>
                      <a:pt x="36" y="72"/>
                    </a:lnTo>
                    <a:lnTo>
                      <a:pt x="42" y="72"/>
                    </a:lnTo>
                    <a:lnTo>
                      <a:pt x="48" y="70"/>
                    </a:lnTo>
                    <a:lnTo>
                      <a:pt x="56" y="66"/>
                    </a:lnTo>
                    <a:lnTo>
                      <a:pt x="60" y="62"/>
                    </a:lnTo>
                    <a:lnTo>
                      <a:pt x="60" y="62"/>
                    </a:lnTo>
                    <a:lnTo>
                      <a:pt x="66" y="56"/>
                    </a:lnTo>
                    <a:lnTo>
                      <a:pt x="68" y="50"/>
                    </a:lnTo>
                    <a:lnTo>
                      <a:pt x="70" y="42"/>
                    </a:lnTo>
                    <a:lnTo>
                      <a:pt x="72" y="36"/>
                    </a:lnTo>
                    <a:lnTo>
                      <a:pt x="70" y="30"/>
                    </a:lnTo>
                    <a:lnTo>
                      <a:pt x="68" y="22"/>
                    </a:lnTo>
                    <a:lnTo>
                      <a:pt x="66" y="16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56" y="6"/>
                    </a:lnTo>
                    <a:lnTo>
                      <a:pt x="48" y="2"/>
                    </a:lnTo>
                    <a:lnTo>
                      <a:pt x="42" y="0"/>
                    </a:lnTo>
                    <a:lnTo>
                      <a:pt x="3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01" name="Freeform 37"/>
              <p:cNvSpPr>
                <a:spLocks/>
              </p:cNvSpPr>
              <p:nvPr userDrawn="1"/>
            </p:nvSpPr>
            <p:spPr bwMode="auto">
              <a:xfrm>
                <a:off x="5118100" y="2705100"/>
                <a:ext cx="101600" cy="104775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0"/>
                  </a:cxn>
                  <a:cxn ang="0">
                    <a:pos x="26" y="2"/>
                  </a:cxn>
                  <a:cxn ang="0">
                    <a:pos x="20" y="4"/>
                  </a:cxn>
                  <a:cxn ang="0">
                    <a:pos x="14" y="6"/>
                  </a:cxn>
                  <a:cxn ang="0">
                    <a:pos x="8" y="10"/>
                  </a:cxn>
                  <a:cxn ang="0">
                    <a:pos x="8" y="10"/>
                  </a:cxn>
                  <a:cxn ang="0">
                    <a:pos x="4" y="16"/>
                  </a:cxn>
                  <a:cxn ang="0">
                    <a:pos x="2" y="20"/>
                  </a:cxn>
                  <a:cxn ang="0">
                    <a:pos x="0" y="26"/>
                  </a:cxn>
                  <a:cxn ang="0">
                    <a:pos x="0" y="32"/>
                  </a:cxn>
                  <a:cxn ang="0">
                    <a:pos x="0" y="40"/>
                  </a:cxn>
                  <a:cxn ang="0">
                    <a:pos x="2" y="46"/>
                  </a:cxn>
                  <a:cxn ang="0">
                    <a:pos x="4" y="50"/>
                  </a:cxn>
                  <a:cxn ang="0">
                    <a:pos x="8" y="56"/>
                  </a:cxn>
                  <a:cxn ang="0">
                    <a:pos x="8" y="56"/>
                  </a:cxn>
                  <a:cxn ang="0">
                    <a:pos x="14" y="60"/>
                  </a:cxn>
                  <a:cxn ang="0">
                    <a:pos x="20" y="62"/>
                  </a:cxn>
                  <a:cxn ang="0">
                    <a:pos x="26" y="64"/>
                  </a:cxn>
                  <a:cxn ang="0">
                    <a:pos x="32" y="66"/>
                  </a:cxn>
                  <a:cxn ang="0">
                    <a:pos x="32" y="66"/>
                  </a:cxn>
                  <a:cxn ang="0">
                    <a:pos x="38" y="64"/>
                  </a:cxn>
                  <a:cxn ang="0">
                    <a:pos x="44" y="62"/>
                  </a:cxn>
                  <a:cxn ang="0">
                    <a:pos x="50" y="60"/>
                  </a:cxn>
                  <a:cxn ang="0">
                    <a:pos x="54" y="56"/>
                  </a:cxn>
                  <a:cxn ang="0">
                    <a:pos x="54" y="56"/>
                  </a:cxn>
                  <a:cxn ang="0">
                    <a:pos x="58" y="50"/>
                  </a:cxn>
                  <a:cxn ang="0">
                    <a:pos x="62" y="46"/>
                  </a:cxn>
                  <a:cxn ang="0">
                    <a:pos x="64" y="40"/>
                  </a:cxn>
                  <a:cxn ang="0">
                    <a:pos x="64" y="32"/>
                  </a:cxn>
                  <a:cxn ang="0">
                    <a:pos x="64" y="26"/>
                  </a:cxn>
                  <a:cxn ang="0">
                    <a:pos x="62" y="20"/>
                  </a:cxn>
                  <a:cxn ang="0">
                    <a:pos x="58" y="16"/>
                  </a:cxn>
                  <a:cxn ang="0">
                    <a:pos x="54" y="10"/>
                  </a:cxn>
                  <a:cxn ang="0">
                    <a:pos x="54" y="10"/>
                  </a:cxn>
                  <a:cxn ang="0">
                    <a:pos x="50" y="6"/>
                  </a:cxn>
                  <a:cxn ang="0">
                    <a:pos x="44" y="4"/>
                  </a:cxn>
                  <a:cxn ang="0">
                    <a:pos x="38" y="2"/>
                  </a:cxn>
                  <a:cxn ang="0">
                    <a:pos x="32" y="0"/>
                  </a:cxn>
                </a:cxnLst>
                <a:rect l="0" t="0" r="r" b="b"/>
                <a:pathLst>
                  <a:path w="64" h="66">
                    <a:moveTo>
                      <a:pt x="32" y="0"/>
                    </a:moveTo>
                    <a:lnTo>
                      <a:pt x="32" y="0"/>
                    </a:lnTo>
                    <a:lnTo>
                      <a:pt x="26" y="2"/>
                    </a:lnTo>
                    <a:lnTo>
                      <a:pt x="20" y="4"/>
                    </a:lnTo>
                    <a:lnTo>
                      <a:pt x="14" y="6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4" y="16"/>
                    </a:lnTo>
                    <a:lnTo>
                      <a:pt x="2" y="20"/>
                    </a:lnTo>
                    <a:lnTo>
                      <a:pt x="0" y="26"/>
                    </a:lnTo>
                    <a:lnTo>
                      <a:pt x="0" y="32"/>
                    </a:lnTo>
                    <a:lnTo>
                      <a:pt x="0" y="40"/>
                    </a:lnTo>
                    <a:lnTo>
                      <a:pt x="2" y="46"/>
                    </a:lnTo>
                    <a:lnTo>
                      <a:pt x="4" y="50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14" y="60"/>
                    </a:lnTo>
                    <a:lnTo>
                      <a:pt x="20" y="62"/>
                    </a:lnTo>
                    <a:lnTo>
                      <a:pt x="26" y="64"/>
                    </a:lnTo>
                    <a:lnTo>
                      <a:pt x="32" y="66"/>
                    </a:lnTo>
                    <a:lnTo>
                      <a:pt x="32" y="66"/>
                    </a:lnTo>
                    <a:lnTo>
                      <a:pt x="38" y="64"/>
                    </a:lnTo>
                    <a:lnTo>
                      <a:pt x="44" y="62"/>
                    </a:lnTo>
                    <a:lnTo>
                      <a:pt x="50" y="60"/>
                    </a:lnTo>
                    <a:lnTo>
                      <a:pt x="54" y="56"/>
                    </a:lnTo>
                    <a:lnTo>
                      <a:pt x="54" y="56"/>
                    </a:lnTo>
                    <a:lnTo>
                      <a:pt x="58" y="50"/>
                    </a:lnTo>
                    <a:lnTo>
                      <a:pt x="62" y="46"/>
                    </a:lnTo>
                    <a:lnTo>
                      <a:pt x="64" y="40"/>
                    </a:lnTo>
                    <a:lnTo>
                      <a:pt x="64" y="32"/>
                    </a:lnTo>
                    <a:lnTo>
                      <a:pt x="64" y="26"/>
                    </a:lnTo>
                    <a:lnTo>
                      <a:pt x="62" y="20"/>
                    </a:lnTo>
                    <a:lnTo>
                      <a:pt x="58" y="16"/>
                    </a:lnTo>
                    <a:lnTo>
                      <a:pt x="54" y="10"/>
                    </a:lnTo>
                    <a:lnTo>
                      <a:pt x="54" y="10"/>
                    </a:lnTo>
                    <a:lnTo>
                      <a:pt x="50" y="6"/>
                    </a:lnTo>
                    <a:lnTo>
                      <a:pt x="44" y="4"/>
                    </a:lnTo>
                    <a:lnTo>
                      <a:pt x="38" y="2"/>
                    </a:lnTo>
                    <a:lnTo>
                      <a:pt x="3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02" name="Freeform 38"/>
              <p:cNvSpPr>
                <a:spLocks/>
              </p:cNvSpPr>
              <p:nvPr userDrawn="1"/>
            </p:nvSpPr>
            <p:spPr bwMode="auto">
              <a:xfrm>
                <a:off x="5118100" y="2705100"/>
                <a:ext cx="101600" cy="104775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0"/>
                  </a:cxn>
                  <a:cxn ang="0">
                    <a:pos x="26" y="2"/>
                  </a:cxn>
                  <a:cxn ang="0">
                    <a:pos x="20" y="4"/>
                  </a:cxn>
                  <a:cxn ang="0">
                    <a:pos x="14" y="6"/>
                  </a:cxn>
                  <a:cxn ang="0">
                    <a:pos x="8" y="10"/>
                  </a:cxn>
                  <a:cxn ang="0">
                    <a:pos x="8" y="10"/>
                  </a:cxn>
                  <a:cxn ang="0">
                    <a:pos x="4" y="16"/>
                  </a:cxn>
                  <a:cxn ang="0">
                    <a:pos x="2" y="20"/>
                  </a:cxn>
                  <a:cxn ang="0">
                    <a:pos x="0" y="26"/>
                  </a:cxn>
                  <a:cxn ang="0">
                    <a:pos x="0" y="32"/>
                  </a:cxn>
                  <a:cxn ang="0">
                    <a:pos x="0" y="40"/>
                  </a:cxn>
                  <a:cxn ang="0">
                    <a:pos x="2" y="46"/>
                  </a:cxn>
                  <a:cxn ang="0">
                    <a:pos x="4" y="50"/>
                  </a:cxn>
                  <a:cxn ang="0">
                    <a:pos x="8" y="56"/>
                  </a:cxn>
                  <a:cxn ang="0">
                    <a:pos x="8" y="56"/>
                  </a:cxn>
                  <a:cxn ang="0">
                    <a:pos x="14" y="60"/>
                  </a:cxn>
                  <a:cxn ang="0">
                    <a:pos x="20" y="62"/>
                  </a:cxn>
                  <a:cxn ang="0">
                    <a:pos x="26" y="64"/>
                  </a:cxn>
                  <a:cxn ang="0">
                    <a:pos x="32" y="66"/>
                  </a:cxn>
                  <a:cxn ang="0">
                    <a:pos x="32" y="66"/>
                  </a:cxn>
                  <a:cxn ang="0">
                    <a:pos x="38" y="64"/>
                  </a:cxn>
                  <a:cxn ang="0">
                    <a:pos x="44" y="62"/>
                  </a:cxn>
                  <a:cxn ang="0">
                    <a:pos x="50" y="60"/>
                  </a:cxn>
                  <a:cxn ang="0">
                    <a:pos x="54" y="56"/>
                  </a:cxn>
                  <a:cxn ang="0">
                    <a:pos x="54" y="56"/>
                  </a:cxn>
                  <a:cxn ang="0">
                    <a:pos x="58" y="50"/>
                  </a:cxn>
                  <a:cxn ang="0">
                    <a:pos x="62" y="46"/>
                  </a:cxn>
                  <a:cxn ang="0">
                    <a:pos x="64" y="40"/>
                  </a:cxn>
                  <a:cxn ang="0">
                    <a:pos x="64" y="32"/>
                  </a:cxn>
                  <a:cxn ang="0">
                    <a:pos x="64" y="26"/>
                  </a:cxn>
                  <a:cxn ang="0">
                    <a:pos x="62" y="20"/>
                  </a:cxn>
                  <a:cxn ang="0">
                    <a:pos x="58" y="16"/>
                  </a:cxn>
                  <a:cxn ang="0">
                    <a:pos x="54" y="10"/>
                  </a:cxn>
                  <a:cxn ang="0">
                    <a:pos x="54" y="10"/>
                  </a:cxn>
                  <a:cxn ang="0">
                    <a:pos x="50" y="6"/>
                  </a:cxn>
                  <a:cxn ang="0">
                    <a:pos x="44" y="4"/>
                  </a:cxn>
                  <a:cxn ang="0">
                    <a:pos x="38" y="2"/>
                  </a:cxn>
                  <a:cxn ang="0">
                    <a:pos x="32" y="0"/>
                  </a:cxn>
                </a:cxnLst>
                <a:rect l="0" t="0" r="r" b="b"/>
                <a:pathLst>
                  <a:path w="64" h="66">
                    <a:moveTo>
                      <a:pt x="32" y="0"/>
                    </a:moveTo>
                    <a:lnTo>
                      <a:pt x="32" y="0"/>
                    </a:lnTo>
                    <a:lnTo>
                      <a:pt x="26" y="2"/>
                    </a:lnTo>
                    <a:lnTo>
                      <a:pt x="20" y="4"/>
                    </a:lnTo>
                    <a:lnTo>
                      <a:pt x="14" y="6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4" y="16"/>
                    </a:lnTo>
                    <a:lnTo>
                      <a:pt x="2" y="20"/>
                    </a:lnTo>
                    <a:lnTo>
                      <a:pt x="0" y="26"/>
                    </a:lnTo>
                    <a:lnTo>
                      <a:pt x="0" y="32"/>
                    </a:lnTo>
                    <a:lnTo>
                      <a:pt x="0" y="40"/>
                    </a:lnTo>
                    <a:lnTo>
                      <a:pt x="2" y="46"/>
                    </a:lnTo>
                    <a:lnTo>
                      <a:pt x="4" y="50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14" y="60"/>
                    </a:lnTo>
                    <a:lnTo>
                      <a:pt x="20" y="62"/>
                    </a:lnTo>
                    <a:lnTo>
                      <a:pt x="26" y="64"/>
                    </a:lnTo>
                    <a:lnTo>
                      <a:pt x="32" y="66"/>
                    </a:lnTo>
                    <a:lnTo>
                      <a:pt x="32" y="66"/>
                    </a:lnTo>
                    <a:lnTo>
                      <a:pt x="38" y="64"/>
                    </a:lnTo>
                    <a:lnTo>
                      <a:pt x="44" y="62"/>
                    </a:lnTo>
                    <a:lnTo>
                      <a:pt x="50" y="60"/>
                    </a:lnTo>
                    <a:lnTo>
                      <a:pt x="54" y="56"/>
                    </a:lnTo>
                    <a:lnTo>
                      <a:pt x="54" y="56"/>
                    </a:lnTo>
                    <a:lnTo>
                      <a:pt x="58" y="50"/>
                    </a:lnTo>
                    <a:lnTo>
                      <a:pt x="62" y="46"/>
                    </a:lnTo>
                    <a:lnTo>
                      <a:pt x="64" y="40"/>
                    </a:lnTo>
                    <a:lnTo>
                      <a:pt x="64" y="32"/>
                    </a:lnTo>
                    <a:lnTo>
                      <a:pt x="64" y="26"/>
                    </a:lnTo>
                    <a:lnTo>
                      <a:pt x="62" y="20"/>
                    </a:lnTo>
                    <a:lnTo>
                      <a:pt x="58" y="16"/>
                    </a:lnTo>
                    <a:lnTo>
                      <a:pt x="54" y="10"/>
                    </a:lnTo>
                    <a:lnTo>
                      <a:pt x="54" y="10"/>
                    </a:lnTo>
                    <a:lnTo>
                      <a:pt x="50" y="6"/>
                    </a:lnTo>
                    <a:lnTo>
                      <a:pt x="44" y="4"/>
                    </a:lnTo>
                    <a:lnTo>
                      <a:pt x="38" y="2"/>
                    </a:lnTo>
                    <a:lnTo>
                      <a:pt x="3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03" name="Freeform 39"/>
              <p:cNvSpPr>
                <a:spLocks/>
              </p:cNvSpPr>
              <p:nvPr userDrawn="1"/>
            </p:nvSpPr>
            <p:spPr bwMode="auto">
              <a:xfrm>
                <a:off x="4794250" y="2863850"/>
                <a:ext cx="92075" cy="92075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0"/>
                  </a:cxn>
                  <a:cxn ang="0">
                    <a:pos x="18" y="2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2" y="18"/>
                  </a:cxn>
                  <a:cxn ang="0">
                    <a:pos x="0" y="30"/>
                  </a:cxn>
                  <a:cxn ang="0">
                    <a:pos x="2" y="40"/>
                  </a:cxn>
                  <a:cxn ang="0">
                    <a:pos x="10" y="50"/>
                  </a:cxn>
                  <a:cxn ang="0">
                    <a:pos x="10" y="50"/>
                  </a:cxn>
                  <a:cxn ang="0">
                    <a:pos x="18" y="56"/>
                  </a:cxn>
                  <a:cxn ang="0">
                    <a:pos x="30" y="58"/>
                  </a:cxn>
                  <a:cxn ang="0">
                    <a:pos x="30" y="58"/>
                  </a:cxn>
                  <a:cxn ang="0">
                    <a:pos x="40" y="56"/>
                  </a:cxn>
                  <a:cxn ang="0">
                    <a:pos x="50" y="50"/>
                  </a:cxn>
                  <a:cxn ang="0">
                    <a:pos x="50" y="50"/>
                  </a:cxn>
                  <a:cxn ang="0">
                    <a:pos x="56" y="40"/>
                  </a:cxn>
                  <a:cxn ang="0">
                    <a:pos x="58" y="30"/>
                  </a:cxn>
                  <a:cxn ang="0">
                    <a:pos x="56" y="18"/>
                  </a:cxn>
                  <a:cxn ang="0">
                    <a:pos x="50" y="8"/>
                  </a:cxn>
                  <a:cxn ang="0">
                    <a:pos x="50" y="8"/>
                  </a:cxn>
                  <a:cxn ang="0">
                    <a:pos x="40" y="2"/>
                  </a:cxn>
                  <a:cxn ang="0">
                    <a:pos x="30" y="0"/>
                  </a:cxn>
                </a:cxnLst>
                <a:rect l="0" t="0" r="r" b="b"/>
                <a:pathLst>
                  <a:path w="58" h="58">
                    <a:moveTo>
                      <a:pt x="30" y="0"/>
                    </a:moveTo>
                    <a:lnTo>
                      <a:pt x="30" y="0"/>
                    </a:lnTo>
                    <a:lnTo>
                      <a:pt x="18" y="2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2" y="18"/>
                    </a:lnTo>
                    <a:lnTo>
                      <a:pt x="0" y="30"/>
                    </a:lnTo>
                    <a:lnTo>
                      <a:pt x="2" y="40"/>
                    </a:lnTo>
                    <a:lnTo>
                      <a:pt x="10" y="50"/>
                    </a:lnTo>
                    <a:lnTo>
                      <a:pt x="10" y="50"/>
                    </a:lnTo>
                    <a:lnTo>
                      <a:pt x="18" y="56"/>
                    </a:lnTo>
                    <a:lnTo>
                      <a:pt x="30" y="58"/>
                    </a:lnTo>
                    <a:lnTo>
                      <a:pt x="30" y="58"/>
                    </a:lnTo>
                    <a:lnTo>
                      <a:pt x="40" y="56"/>
                    </a:lnTo>
                    <a:lnTo>
                      <a:pt x="50" y="50"/>
                    </a:lnTo>
                    <a:lnTo>
                      <a:pt x="50" y="50"/>
                    </a:lnTo>
                    <a:lnTo>
                      <a:pt x="56" y="40"/>
                    </a:lnTo>
                    <a:lnTo>
                      <a:pt x="58" y="30"/>
                    </a:lnTo>
                    <a:lnTo>
                      <a:pt x="56" y="1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40" y="2"/>
                    </a:lnTo>
                    <a:lnTo>
                      <a:pt x="3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04" name="Freeform 40"/>
              <p:cNvSpPr>
                <a:spLocks/>
              </p:cNvSpPr>
              <p:nvPr userDrawn="1"/>
            </p:nvSpPr>
            <p:spPr bwMode="auto">
              <a:xfrm>
                <a:off x="4794250" y="2863850"/>
                <a:ext cx="92075" cy="92075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0"/>
                  </a:cxn>
                  <a:cxn ang="0">
                    <a:pos x="18" y="2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2" y="18"/>
                  </a:cxn>
                  <a:cxn ang="0">
                    <a:pos x="0" y="30"/>
                  </a:cxn>
                  <a:cxn ang="0">
                    <a:pos x="2" y="40"/>
                  </a:cxn>
                  <a:cxn ang="0">
                    <a:pos x="10" y="50"/>
                  </a:cxn>
                  <a:cxn ang="0">
                    <a:pos x="10" y="50"/>
                  </a:cxn>
                  <a:cxn ang="0">
                    <a:pos x="18" y="56"/>
                  </a:cxn>
                  <a:cxn ang="0">
                    <a:pos x="30" y="58"/>
                  </a:cxn>
                  <a:cxn ang="0">
                    <a:pos x="30" y="58"/>
                  </a:cxn>
                  <a:cxn ang="0">
                    <a:pos x="40" y="56"/>
                  </a:cxn>
                  <a:cxn ang="0">
                    <a:pos x="50" y="50"/>
                  </a:cxn>
                  <a:cxn ang="0">
                    <a:pos x="50" y="50"/>
                  </a:cxn>
                  <a:cxn ang="0">
                    <a:pos x="56" y="40"/>
                  </a:cxn>
                  <a:cxn ang="0">
                    <a:pos x="58" y="30"/>
                  </a:cxn>
                  <a:cxn ang="0">
                    <a:pos x="56" y="18"/>
                  </a:cxn>
                  <a:cxn ang="0">
                    <a:pos x="50" y="8"/>
                  </a:cxn>
                  <a:cxn ang="0">
                    <a:pos x="50" y="8"/>
                  </a:cxn>
                  <a:cxn ang="0">
                    <a:pos x="40" y="2"/>
                  </a:cxn>
                  <a:cxn ang="0">
                    <a:pos x="30" y="0"/>
                  </a:cxn>
                </a:cxnLst>
                <a:rect l="0" t="0" r="r" b="b"/>
                <a:pathLst>
                  <a:path w="58" h="58">
                    <a:moveTo>
                      <a:pt x="30" y="0"/>
                    </a:moveTo>
                    <a:lnTo>
                      <a:pt x="30" y="0"/>
                    </a:lnTo>
                    <a:lnTo>
                      <a:pt x="18" y="2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2" y="18"/>
                    </a:lnTo>
                    <a:lnTo>
                      <a:pt x="0" y="30"/>
                    </a:lnTo>
                    <a:lnTo>
                      <a:pt x="2" y="40"/>
                    </a:lnTo>
                    <a:lnTo>
                      <a:pt x="10" y="50"/>
                    </a:lnTo>
                    <a:lnTo>
                      <a:pt x="10" y="50"/>
                    </a:lnTo>
                    <a:lnTo>
                      <a:pt x="18" y="56"/>
                    </a:lnTo>
                    <a:lnTo>
                      <a:pt x="30" y="58"/>
                    </a:lnTo>
                    <a:lnTo>
                      <a:pt x="30" y="58"/>
                    </a:lnTo>
                    <a:lnTo>
                      <a:pt x="40" y="56"/>
                    </a:lnTo>
                    <a:lnTo>
                      <a:pt x="50" y="50"/>
                    </a:lnTo>
                    <a:lnTo>
                      <a:pt x="50" y="50"/>
                    </a:lnTo>
                    <a:lnTo>
                      <a:pt x="56" y="40"/>
                    </a:lnTo>
                    <a:lnTo>
                      <a:pt x="58" y="30"/>
                    </a:lnTo>
                    <a:lnTo>
                      <a:pt x="56" y="1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40" y="2"/>
                    </a:lnTo>
                    <a:lnTo>
                      <a:pt x="3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05" name="Freeform 41"/>
              <p:cNvSpPr>
                <a:spLocks/>
              </p:cNvSpPr>
              <p:nvPr userDrawn="1"/>
            </p:nvSpPr>
            <p:spPr bwMode="auto">
              <a:xfrm>
                <a:off x="4505325" y="3076575"/>
                <a:ext cx="82550" cy="8255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6" y="2"/>
                  </a:cxn>
                  <a:cxn ang="0">
                    <a:pos x="6" y="8"/>
                  </a:cxn>
                  <a:cxn ang="0">
                    <a:pos x="6" y="8"/>
                  </a:cxn>
                  <a:cxn ang="0">
                    <a:pos x="2" y="16"/>
                  </a:cxn>
                  <a:cxn ang="0">
                    <a:pos x="0" y="26"/>
                  </a:cxn>
                  <a:cxn ang="0">
                    <a:pos x="2" y="36"/>
                  </a:cxn>
                  <a:cxn ang="0">
                    <a:pos x="6" y="44"/>
                  </a:cxn>
                  <a:cxn ang="0">
                    <a:pos x="6" y="44"/>
                  </a:cxn>
                  <a:cxn ang="0">
                    <a:pos x="16" y="50"/>
                  </a:cxn>
                  <a:cxn ang="0">
                    <a:pos x="26" y="52"/>
                  </a:cxn>
                  <a:cxn ang="0">
                    <a:pos x="26" y="52"/>
                  </a:cxn>
                  <a:cxn ang="0">
                    <a:pos x="36" y="50"/>
                  </a:cxn>
                  <a:cxn ang="0">
                    <a:pos x="44" y="44"/>
                  </a:cxn>
                  <a:cxn ang="0">
                    <a:pos x="44" y="44"/>
                  </a:cxn>
                  <a:cxn ang="0">
                    <a:pos x="50" y="36"/>
                  </a:cxn>
                  <a:cxn ang="0">
                    <a:pos x="52" y="26"/>
                  </a:cxn>
                  <a:cxn ang="0">
                    <a:pos x="50" y="16"/>
                  </a:cxn>
                  <a:cxn ang="0">
                    <a:pos x="44" y="8"/>
                  </a:cxn>
                  <a:cxn ang="0">
                    <a:pos x="44" y="8"/>
                  </a:cxn>
                  <a:cxn ang="0">
                    <a:pos x="36" y="2"/>
                  </a:cxn>
                  <a:cxn ang="0">
                    <a:pos x="26" y="0"/>
                  </a:cxn>
                </a:cxnLst>
                <a:rect l="0" t="0" r="r" b="b"/>
                <a:pathLst>
                  <a:path w="52" h="52">
                    <a:moveTo>
                      <a:pt x="26" y="0"/>
                    </a:moveTo>
                    <a:lnTo>
                      <a:pt x="26" y="0"/>
                    </a:lnTo>
                    <a:lnTo>
                      <a:pt x="16" y="2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2" y="16"/>
                    </a:lnTo>
                    <a:lnTo>
                      <a:pt x="0" y="26"/>
                    </a:lnTo>
                    <a:lnTo>
                      <a:pt x="2" y="36"/>
                    </a:lnTo>
                    <a:lnTo>
                      <a:pt x="6" y="44"/>
                    </a:lnTo>
                    <a:lnTo>
                      <a:pt x="6" y="44"/>
                    </a:lnTo>
                    <a:lnTo>
                      <a:pt x="16" y="50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36" y="50"/>
                    </a:lnTo>
                    <a:lnTo>
                      <a:pt x="44" y="44"/>
                    </a:lnTo>
                    <a:lnTo>
                      <a:pt x="44" y="44"/>
                    </a:lnTo>
                    <a:lnTo>
                      <a:pt x="50" y="36"/>
                    </a:lnTo>
                    <a:lnTo>
                      <a:pt x="52" y="26"/>
                    </a:lnTo>
                    <a:lnTo>
                      <a:pt x="50" y="16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36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06" name="Freeform 42"/>
              <p:cNvSpPr>
                <a:spLocks/>
              </p:cNvSpPr>
              <p:nvPr userDrawn="1"/>
            </p:nvSpPr>
            <p:spPr bwMode="auto">
              <a:xfrm>
                <a:off x="4505325" y="3076575"/>
                <a:ext cx="82550" cy="8255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6" y="2"/>
                  </a:cxn>
                  <a:cxn ang="0">
                    <a:pos x="6" y="8"/>
                  </a:cxn>
                  <a:cxn ang="0">
                    <a:pos x="6" y="8"/>
                  </a:cxn>
                  <a:cxn ang="0">
                    <a:pos x="2" y="16"/>
                  </a:cxn>
                  <a:cxn ang="0">
                    <a:pos x="0" y="26"/>
                  </a:cxn>
                  <a:cxn ang="0">
                    <a:pos x="2" y="36"/>
                  </a:cxn>
                  <a:cxn ang="0">
                    <a:pos x="6" y="44"/>
                  </a:cxn>
                  <a:cxn ang="0">
                    <a:pos x="6" y="44"/>
                  </a:cxn>
                  <a:cxn ang="0">
                    <a:pos x="16" y="50"/>
                  </a:cxn>
                  <a:cxn ang="0">
                    <a:pos x="26" y="52"/>
                  </a:cxn>
                  <a:cxn ang="0">
                    <a:pos x="26" y="52"/>
                  </a:cxn>
                  <a:cxn ang="0">
                    <a:pos x="36" y="50"/>
                  </a:cxn>
                  <a:cxn ang="0">
                    <a:pos x="44" y="44"/>
                  </a:cxn>
                  <a:cxn ang="0">
                    <a:pos x="44" y="44"/>
                  </a:cxn>
                  <a:cxn ang="0">
                    <a:pos x="50" y="36"/>
                  </a:cxn>
                  <a:cxn ang="0">
                    <a:pos x="52" y="26"/>
                  </a:cxn>
                  <a:cxn ang="0">
                    <a:pos x="50" y="16"/>
                  </a:cxn>
                  <a:cxn ang="0">
                    <a:pos x="44" y="8"/>
                  </a:cxn>
                  <a:cxn ang="0">
                    <a:pos x="44" y="8"/>
                  </a:cxn>
                  <a:cxn ang="0">
                    <a:pos x="36" y="2"/>
                  </a:cxn>
                  <a:cxn ang="0">
                    <a:pos x="26" y="0"/>
                  </a:cxn>
                </a:cxnLst>
                <a:rect l="0" t="0" r="r" b="b"/>
                <a:pathLst>
                  <a:path w="52" h="52">
                    <a:moveTo>
                      <a:pt x="26" y="0"/>
                    </a:moveTo>
                    <a:lnTo>
                      <a:pt x="26" y="0"/>
                    </a:lnTo>
                    <a:lnTo>
                      <a:pt x="16" y="2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2" y="16"/>
                    </a:lnTo>
                    <a:lnTo>
                      <a:pt x="0" y="26"/>
                    </a:lnTo>
                    <a:lnTo>
                      <a:pt x="2" y="36"/>
                    </a:lnTo>
                    <a:lnTo>
                      <a:pt x="6" y="44"/>
                    </a:lnTo>
                    <a:lnTo>
                      <a:pt x="6" y="44"/>
                    </a:lnTo>
                    <a:lnTo>
                      <a:pt x="16" y="50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36" y="50"/>
                    </a:lnTo>
                    <a:lnTo>
                      <a:pt x="44" y="44"/>
                    </a:lnTo>
                    <a:lnTo>
                      <a:pt x="44" y="44"/>
                    </a:lnTo>
                    <a:lnTo>
                      <a:pt x="50" y="36"/>
                    </a:lnTo>
                    <a:lnTo>
                      <a:pt x="52" y="26"/>
                    </a:lnTo>
                    <a:lnTo>
                      <a:pt x="50" y="16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36" y="2"/>
                    </a:lnTo>
                    <a:lnTo>
                      <a:pt x="2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07" name="Freeform 43"/>
              <p:cNvSpPr>
                <a:spLocks/>
              </p:cNvSpPr>
              <p:nvPr userDrawn="1"/>
            </p:nvSpPr>
            <p:spPr bwMode="auto">
              <a:xfrm>
                <a:off x="4251325" y="3333750"/>
                <a:ext cx="76200" cy="76200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6" y="2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2" y="16"/>
                  </a:cxn>
                  <a:cxn ang="0">
                    <a:pos x="0" y="24"/>
                  </a:cxn>
                  <a:cxn ang="0">
                    <a:pos x="2" y="34"/>
                  </a:cxn>
                  <a:cxn ang="0">
                    <a:pos x="8" y="42"/>
                  </a:cxn>
                  <a:cxn ang="0">
                    <a:pos x="8" y="42"/>
                  </a:cxn>
                  <a:cxn ang="0">
                    <a:pos x="16" y="46"/>
                  </a:cxn>
                  <a:cxn ang="0">
                    <a:pos x="24" y="48"/>
                  </a:cxn>
                  <a:cxn ang="0">
                    <a:pos x="24" y="48"/>
                  </a:cxn>
                  <a:cxn ang="0">
                    <a:pos x="34" y="46"/>
                  </a:cxn>
                  <a:cxn ang="0">
                    <a:pos x="40" y="42"/>
                  </a:cxn>
                  <a:cxn ang="0">
                    <a:pos x="40" y="42"/>
                  </a:cxn>
                  <a:cxn ang="0">
                    <a:pos x="46" y="34"/>
                  </a:cxn>
                  <a:cxn ang="0">
                    <a:pos x="48" y="24"/>
                  </a:cxn>
                  <a:cxn ang="0">
                    <a:pos x="46" y="16"/>
                  </a:cxn>
                  <a:cxn ang="0">
                    <a:pos x="40" y="8"/>
                  </a:cxn>
                  <a:cxn ang="0">
                    <a:pos x="40" y="8"/>
                  </a:cxn>
                  <a:cxn ang="0">
                    <a:pos x="34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lnTo>
                      <a:pt x="24" y="0"/>
                    </a:lnTo>
                    <a:lnTo>
                      <a:pt x="16" y="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2" y="16"/>
                    </a:lnTo>
                    <a:lnTo>
                      <a:pt x="0" y="24"/>
                    </a:lnTo>
                    <a:lnTo>
                      <a:pt x="2" y="34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16" y="46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34" y="46"/>
                    </a:lnTo>
                    <a:lnTo>
                      <a:pt x="40" y="42"/>
                    </a:lnTo>
                    <a:lnTo>
                      <a:pt x="40" y="42"/>
                    </a:lnTo>
                    <a:lnTo>
                      <a:pt x="46" y="34"/>
                    </a:lnTo>
                    <a:lnTo>
                      <a:pt x="48" y="24"/>
                    </a:lnTo>
                    <a:lnTo>
                      <a:pt x="46" y="16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34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08" name="Freeform 44"/>
              <p:cNvSpPr>
                <a:spLocks/>
              </p:cNvSpPr>
              <p:nvPr userDrawn="1"/>
            </p:nvSpPr>
            <p:spPr bwMode="auto">
              <a:xfrm>
                <a:off x="4251325" y="3333750"/>
                <a:ext cx="76200" cy="76200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6" y="2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2" y="16"/>
                  </a:cxn>
                  <a:cxn ang="0">
                    <a:pos x="0" y="24"/>
                  </a:cxn>
                  <a:cxn ang="0">
                    <a:pos x="2" y="34"/>
                  </a:cxn>
                  <a:cxn ang="0">
                    <a:pos x="8" y="42"/>
                  </a:cxn>
                  <a:cxn ang="0">
                    <a:pos x="8" y="42"/>
                  </a:cxn>
                  <a:cxn ang="0">
                    <a:pos x="16" y="46"/>
                  </a:cxn>
                  <a:cxn ang="0">
                    <a:pos x="24" y="48"/>
                  </a:cxn>
                  <a:cxn ang="0">
                    <a:pos x="24" y="48"/>
                  </a:cxn>
                  <a:cxn ang="0">
                    <a:pos x="34" y="46"/>
                  </a:cxn>
                  <a:cxn ang="0">
                    <a:pos x="40" y="42"/>
                  </a:cxn>
                  <a:cxn ang="0">
                    <a:pos x="40" y="42"/>
                  </a:cxn>
                  <a:cxn ang="0">
                    <a:pos x="46" y="34"/>
                  </a:cxn>
                  <a:cxn ang="0">
                    <a:pos x="48" y="24"/>
                  </a:cxn>
                  <a:cxn ang="0">
                    <a:pos x="46" y="16"/>
                  </a:cxn>
                  <a:cxn ang="0">
                    <a:pos x="40" y="8"/>
                  </a:cxn>
                  <a:cxn ang="0">
                    <a:pos x="40" y="8"/>
                  </a:cxn>
                  <a:cxn ang="0">
                    <a:pos x="34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lnTo>
                      <a:pt x="24" y="0"/>
                    </a:lnTo>
                    <a:lnTo>
                      <a:pt x="16" y="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2" y="16"/>
                    </a:lnTo>
                    <a:lnTo>
                      <a:pt x="0" y="24"/>
                    </a:lnTo>
                    <a:lnTo>
                      <a:pt x="2" y="34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16" y="46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34" y="46"/>
                    </a:lnTo>
                    <a:lnTo>
                      <a:pt x="40" y="42"/>
                    </a:lnTo>
                    <a:lnTo>
                      <a:pt x="40" y="42"/>
                    </a:lnTo>
                    <a:lnTo>
                      <a:pt x="46" y="34"/>
                    </a:lnTo>
                    <a:lnTo>
                      <a:pt x="48" y="24"/>
                    </a:lnTo>
                    <a:lnTo>
                      <a:pt x="46" y="16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34" y="2"/>
                    </a:lnTo>
                    <a:lnTo>
                      <a:pt x="2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09" name="Freeform 45"/>
              <p:cNvSpPr>
                <a:spLocks/>
              </p:cNvSpPr>
              <p:nvPr userDrawn="1"/>
            </p:nvSpPr>
            <p:spPr bwMode="auto">
              <a:xfrm>
                <a:off x="6397625" y="2968625"/>
                <a:ext cx="161925" cy="161925"/>
              </a:xfrm>
              <a:custGeom>
                <a:avLst/>
                <a:gdLst/>
                <a:ahLst/>
                <a:cxnLst>
                  <a:cxn ang="0">
                    <a:pos x="52" y="0"/>
                  </a:cxn>
                  <a:cxn ang="0">
                    <a:pos x="52" y="0"/>
                  </a:cxn>
                  <a:cxn ang="0">
                    <a:pos x="42" y="0"/>
                  </a:cxn>
                  <a:cxn ang="0">
                    <a:pos x="34" y="2"/>
                  </a:cxn>
                  <a:cxn ang="0">
                    <a:pos x="28" y="6"/>
                  </a:cxn>
                  <a:cxn ang="0">
                    <a:pos x="20" y="10"/>
                  </a:cxn>
                  <a:cxn ang="0">
                    <a:pos x="14" y="16"/>
                  </a:cxn>
                  <a:cxn ang="0">
                    <a:pos x="8" y="22"/>
                  </a:cxn>
                  <a:cxn ang="0">
                    <a:pos x="4" y="30"/>
                  </a:cxn>
                  <a:cxn ang="0">
                    <a:pos x="2" y="38"/>
                  </a:cxn>
                  <a:cxn ang="0">
                    <a:pos x="2" y="38"/>
                  </a:cxn>
                  <a:cxn ang="0">
                    <a:pos x="0" y="48"/>
                  </a:cxn>
                  <a:cxn ang="0">
                    <a:pos x="0" y="58"/>
                  </a:cxn>
                  <a:cxn ang="0">
                    <a:pos x="2" y="68"/>
                  </a:cxn>
                  <a:cxn ang="0">
                    <a:pos x="6" y="76"/>
                  </a:cxn>
                  <a:cxn ang="0">
                    <a:pos x="12" y="84"/>
                  </a:cxn>
                  <a:cxn ang="0">
                    <a:pos x="20" y="92"/>
                  </a:cxn>
                  <a:cxn ang="0">
                    <a:pos x="28" y="96"/>
                  </a:cxn>
                  <a:cxn ang="0">
                    <a:pos x="38" y="100"/>
                  </a:cxn>
                  <a:cxn ang="0">
                    <a:pos x="38" y="100"/>
                  </a:cxn>
                  <a:cxn ang="0">
                    <a:pos x="52" y="102"/>
                  </a:cxn>
                  <a:cxn ang="0">
                    <a:pos x="52" y="102"/>
                  </a:cxn>
                  <a:cxn ang="0">
                    <a:pos x="60" y="102"/>
                  </a:cxn>
                  <a:cxn ang="0">
                    <a:pos x="68" y="100"/>
                  </a:cxn>
                  <a:cxn ang="0">
                    <a:pos x="76" y="96"/>
                  </a:cxn>
                  <a:cxn ang="0">
                    <a:pos x="82" y="92"/>
                  </a:cxn>
                  <a:cxn ang="0">
                    <a:pos x="88" y="86"/>
                  </a:cxn>
                  <a:cxn ang="0">
                    <a:pos x="94" y="80"/>
                  </a:cxn>
                  <a:cxn ang="0">
                    <a:pos x="98" y="72"/>
                  </a:cxn>
                  <a:cxn ang="0">
                    <a:pos x="102" y="64"/>
                  </a:cxn>
                  <a:cxn ang="0">
                    <a:pos x="102" y="64"/>
                  </a:cxn>
                  <a:cxn ang="0">
                    <a:pos x="102" y="54"/>
                  </a:cxn>
                  <a:cxn ang="0">
                    <a:pos x="102" y="44"/>
                  </a:cxn>
                  <a:cxn ang="0">
                    <a:pos x="100" y="34"/>
                  </a:cxn>
                  <a:cxn ang="0">
                    <a:pos x="96" y="26"/>
                  </a:cxn>
                  <a:cxn ang="0">
                    <a:pos x="90" y="18"/>
                  </a:cxn>
                  <a:cxn ang="0">
                    <a:pos x="84" y="10"/>
                  </a:cxn>
                  <a:cxn ang="0">
                    <a:pos x="74" y="4"/>
                  </a:cxn>
                  <a:cxn ang="0">
                    <a:pos x="64" y="2"/>
                  </a:cxn>
                  <a:cxn ang="0">
                    <a:pos x="64" y="2"/>
                  </a:cxn>
                  <a:cxn ang="0">
                    <a:pos x="52" y="0"/>
                  </a:cxn>
                </a:cxnLst>
                <a:rect l="0" t="0" r="r" b="b"/>
                <a:pathLst>
                  <a:path w="102" h="102">
                    <a:moveTo>
                      <a:pt x="52" y="0"/>
                    </a:moveTo>
                    <a:lnTo>
                      <a:pt x="52" y="0"/>
                    </a:lnTo>
                    <a:lnTo>
                      <a:pt x="42" y="0"/>
                    </a:lnTo>
                    <a:lnTo>
                      <a:pt x="34" y="2"/>
                    </a:lnTo>
                    <a:lnTo>
                      <a:pt x="28" y="6"/>
                    </a:lnTo>
                    <a:lnTo>
                      <a:pt x="20" y="10"/>
                    </a:lnTo>
                    <a:lnTo>
                      <a:pt x="14" y="16"/>
                    </a:lnTo>
                    <a:lnTo>
                      <a:pt x="8" y="22"/>
                    </a:lnTo>
                    <a:lnTo>
                      <a:pt x="4" y="30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0" y="48"/>
                    </a:lnTo>
                    <a:lnTo>
                      <a:pt x="0" y="58"/>
                    </a:lnTo>
                    <a:lnTo>
                      <a:pt x="2" y="68"/>
                    </a:lnTo>
                    <a:lnTo>
                      <a:pt x="6" y="76"/>
                    </a:lnTo>
                    <a:lnTo>
                      <a:pt x="12" y="84"/>
                    </a:lnTo>
                    <a:lnTo>
                      <a:pt x="20" y="92"/>
                    </a:lnTo>
                    <a:lnTo>
                      <a:pt x="28" y="96"/>
                    </a:lnTo>
                    <a:lnTo>
                      <a:pt x="38" y="100"/>
                    </a:lnTo>
                    <a:lnTo>
                      <a:pt x="38" y="100"/>
                    </a:lnTo>
                    <a:lnTo>
                      <a:pt x="52" y="102"/>
                    </a:lnTo>
                    <a:lnTo>
                      <a:pt x="52" y="102"/>
                    </a:lnTo>
                    <a:lnTo>
                      <a:pt x="60" y="102"/>
                    </a:lnTo>
                    <a:lnTo>
                      <a:pt x="68" y="100"/>
                    </a:lnTo>
                    <a:lnTo>
                      <a:pt x="76" y="96"/>
                    </a:lnTo>
                    <a:lnTo>
                      <a:pt x="82" y="92"/>
                    </a:lnTo>
                    <a:lnTo>
                      <a:pt x="88" y="86"/>
                    </a:lnTo>
                    <a:lnTo>
                      <a:pt x="94" y="80"/>
                    </a:lnTo>
                    <a:lnTo>
                      <a:pt x="98" y="72"/>
                    </a:lnTo>
                    <a:lnTo>
                      <a:pt x="102" y="64"/>
                    </a:lnTo>
                    <a:lnTo>
                      <a:pt x="102" y="64"/>
                    </a:lnTo>
                    <a:lnTo>
                      <a:pt x="102" y="54"/>
                    </a:lnTo>
                    <a:lnTo>
                      <a:pt x="102" y="44"/>
                    </a:lnTo>
                    <a:lnTo>
                      <a:pt x="100" y="34"/>
                    </a:lnTo>
                    <a:lnTo>
                      <a:pt x="96" y="26"/>
                    </a:lnTo>
                    <a:lnTo>
                      <a:pt x="90" y="18"/>
                    </a:lnTo>
                    <a:lnTo>
                      <a:pt x="84" y="10"/>
                    </a:lnTo>
                    <a:lnTo>
                      <a:pt x="74" y="4"/>
                    </a:lnTo>
                    <a:lnTo>
                      <a:pt x="64" y="2"/>
                    </a:lnTo>
                    <a:lnTo>
                      <a:pt x="64" y="2"/>
                    </a:lnTo>
                    <a:lnTo>
                      <a:pt x="5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10" name="Freeform 46"/>
              <p:cNvSpPr>
                <a:spLocks/>
              </p:cNvSpPr>
              <p:nvPr userDrawn="1"/>
            </p:nvSpPr>
            <p:spPr bwMode="auto">
              <a:xfrm>
                <a:off x="6397625" y="2968625"/>
                <a:ext cx="161925" cy="161925"/>
              </a:xfrm>
              <a:custGeom>
                <a:avLst/>
                <a:gdLst/>
                <a:ahLst/>
                <a:cxnLst>
                  <a:cxn ang="0">
                    <a:pos x="52" y="0"/>
                  </a:cxn>
                  <a:cxn ang="0">
                    <a:pos x="52" y="0"/>
                  </a:cxn>
                  <a:cxn ang="0">
                    <a:pos x="42" y="0"/>
                  </a:cxn>
                  <a:cxn ang="0">
                    <a:pos x="34" y="2"/>
                  </a:cxn>
                  <a:cxn ang="0">
                    <a:pos x="28" y="6"/>
                  </a:cxn>
                  <a:cxn ang="0">
                    <a:pos x="20" y="10"/>
                  </a:cxn>
                  <a:cxn ang="0">
                    <a:pos x="14" y="16"/>
                  </a:cxn>
                  <a:cxn ang="0">
                    <a:pos x="8" y="22"/>
                  </a:cxn>
                  <a:cxn ang="0">
                    <a:pos x="4" y="30"/>
                  </a:cxn>
                  <a:cxn ang="0">
                    <a:pos x="2" y="38"/>
                  </a:cxn>
                  <a:cxn ang="0">
                    <a:pos x="2" y="38"/>
                  </a:cxn>
                  <a:cxn ang="0">
                    <a:pos x="0" y="48"/>
                  </a:cxn>
                  <a:cxn ang="0">
                    <a:pos x="0" y="58"/>
                  </a:cxn>
                  <a:cxn ang="0">
                    <a:pos x="2" y="68"/>
                  </a:cxn>
                  <a:cxn ang="0">
                    <a:pos x="6" y="76"/>
                  </a:cxn>
                  <a:cxn ang="0">
                    <a:pos x="12" y="84"/>
                  </a:cxn>
                  <a:cxn ang="0">
                    <a:pos x="20" y="92"/>
                  </a:cxn>
                  <a:cxn ang="0">
                    <a:pos x="28" y="96"/>
                  </a:cxn>
                  <a:cxn ang="0">
                    <a:pos x="38" y="100"/>
                  </a:cxn>
                  <a:cxn ang="0">
                    <a:pos x="38" y="100"/>
                  </a:cxn>
                  <a:cxn ang="0">
                    <a:pos x="52" y="102"/>
                  </a:cxn>
                  <a:cxn ang="0">
                    <a:pos x="52" y="102"/>
                  </a:cxn>
                  <a:cxn ang="0">
                    <a:pos x="60" y="102"/>
                  </a:cxn>
                  <a:cxn ang="0">
                    <a:pos x="68" y="100"/>
                  </a:cxn>
                  <a:cxn ang="0">
                    <a:pos x="76" y="96"/>
                  </a:cxn>
                  <a:cxn ang="0">
                    <a:pos x="82" y="92"/>
                  </a:cxn>
                  <a:cxn ang="0">
                    <a:pos x="88" y="86"/>
                  </a:cxn>
                  <a:cxn ang="0">
                    <a:pos x="94" y="80"/>
                  </a:cxn>
                  <a:cxn ang="0">
                    <a:pos x="98" y="72"/>
                  </a:cxn>
                  <a:cxn ang="0">
                    <a:pos x="102" y="64"/>
                  </a:cxn>
                  <a:cxn ang="0">
                    <a:pos x="102" y="64"/>
                  </a:cxn>
                  <a:cxn ang="0">
                    <a:pos x="102" y="54"/>
                  </a:cxn>
                  <a:cxn ang="0">
                    <a:pos x="102" y="44"/>
                  </a:cxn>
                  <a:cxn ang="0">
                    <a:pos x="100" y="34"/>
                  </a:cxn>
                  <a:cxn ang="0">
                    <a:pos x="96" y="26"/>
                  </a:cxn>
                  <a:cxn ang="0">
                    <a:pos x="90" y="18"/>
                  </a:cxn>
                  <a:cxn ang="0">
                    <a:pos x="84" y="10"/>
                  </a:cxn>
                  <a:cxn ang="0">
                    <a:pos x="74" y="4"/>
                  </a:cxn>
                  <a:cxn ang="0">
                    <a:pos x="64" y="2"/>
                  </a:cxn>
                  <a:cxn ang="0">
                    <a:pos x="64" y="2"/>
                  </a:cxn>
                  <a:cxn ang="0">
                    <a:pos x="52" y="0"/>
                  </a:cxn>
                </a:cxnLst>
                <a:rect l="0" t="0" r="r" b="b"/>
                <a:pathLst>
                  <a:path w="102" h="102">
                    <a:moveTo>
                      <a:pt x="52" y="0"/>
                    </a:moveTo>
                    <a:lnTo>
                      <a:pt x="52" y="0"/>
                    </a:lnTo>
                    <a:lnTo>
                      <a:pt x="42" y="0"/>
                    </a:lnTo>
                    <a:lnTo>
                      <a:pt x="34" y="2"/>
                    </a:lnTo>
                    <a:lnTo>
                      <a:pt x="28" y="6"/>
                    </a:lnTo>
                    <a:lnTo>
                      <a:pt x="20" y="10"/>
                    </a:lnTo>
                    <a:lnTo>
                      <a:pt x="14" y="16"/>
                    </a:lnTo>
                    <a:lnTo>
                      <a:pt x="8" y="22"/>
                    </a:lnTo>
                    <a:lnTo>
                      <a:pt x="4" y="30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0" y="48"/>
                    </a:lnTo>
                    <a:lnTo>
                      <a:pt x="0" y="58"/>
                    </a:lnTo>
                    <a:lnTo>
                      <a:pt x="2" y="68"/>
                    </a:lnTo>
                    <a:lnTo>
                      <a:pt x="6" y="76"/>
                    </a:lnTo>
                    <a:lnTo>
                      <a:pt x="12" y="84"/>
                    </a:lnTo>
                    <a:lnTo>
                      <a:pt x="20" y="92"/>
                    </a:lnTo>
                    <a:lnTo>
                      <a:pt x="28" y="96"/>
                    </a:lnTo>
                    <a:lnTo>
                      <a:pt x="38" y="100"/>
                    </a:lnTo>
                    <a:lnTo>
                      <a:pt x="38" y="100"/>
                    </a:lnTo>
                    <a:lnTo>
                      <a:pt x="52" y="102"/>
                    </a:lnTo>
                    <a:lnTo>
                      <a:pt x="52" y="102"/>
                    </a:lnTo>
                    <a:lnTo>
                      <a:pt x="60" y="102"/>
                    </a:lnTo>
                    <a:lnTo>
                      <a:pt x="68" y="100"/>
                    </a:lnTo>
                    <a:lnTo>
                      <a:pt x="76" y="96"/>
                    </a:lnTo>
                    <a:lnTo>
                      <a:pt x="82" y="92"/>
                    </a:lnTo>
                    <a:lnTo>
                      <a:pt x="88" y="86"/>
                    </a:lnTo>
                    <a:lnTo>
                      <a:pt x="94" y="80"/>
                    </a:lnTo>
                    <a:lnTo>
                      <a:pt x="98" y="72"/>
                    </a:lnTo>
                    <a:lnTo>
                      <a:pt x="102" y="64"/>
                    </a:lnTo>
                    <a:lnTo>
                      <a:pt x="102" y="64"/>
                    </a:lnTo>
                    <a:lnTo>
                      <a:pt x="102" y="54"/>
                    </a:lnTo>
                    <a:lnTo>
                      <a:pt x="102" y="44"/>
                    </a:lnTo>
                    <a:lnTo>
                      <a:pt x="100" y="34"/>
                    </a:lnTo>
                    <a:lnTo>
                      <a:pt x="96" y="26"/>
                    </a:lnTo>
                    <a:lnTo>
                      <a:pt x="90" y="18"/>
                    </a:lnTo>
                    <a:lnTo>
                      <a:pt x="84" y="10"/>
                    </a:lnTo>
                    <a:lnTo>
                      <a:pt x="74" y="4"/>
                    </a:lnTo>
                    <a:lnTo>
                      <a:pt x="64" y="2"/>
                    </a:lnTo>
                    <a:lnTo>
                      <a:pt x="64" y="2"/>
                    </a:lnTo>
                    <a:lnTo>
                      <a:pt x="5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11" name="Freeform 47"/>
              <p:cNvSpPr>
                <a:spLocks/>
              </p:cNvSpPr>
              <p:nvPr userDrawn="1"/>
            </p:nvSpPr>
            <p:spPr bwMode="auto">
              <a:xfrm>
                <a:off x="6683375" y="3105150"/>
                <a:ext cx="146050" cy="146050"/>
              </a:xfrm>
              <a:custGeom>
                <a:avLst/>
                <a:gdLst/>
                <a:ahLst/>
                <a:cxnLst>
                  <a:cxn ang="0">
                    <a:pos x="46" y="0"/>
                  </a:cxn>
                  <a:cxn ang="0">
                    <a:pos x="46" y="0"/>
                  </a:cxn>
                  <a:cxn ang="0">
                    <a:pos x="38" y="0"/>
                  </a:cxn>
                  <a:cxn ang="0">
                    <a:pos x="32" y="2"/>
                  </a:cxn>
                  <a:cxn ang="0">
                    <a:pos x="18" y="10"/>
                  </a:cxn>
                  <a:cxn ang="0">
                    <a:pos x="12" y="14"/>
                  </a:cxn>
                  <a:cxn ang="0">
                    <a:pos x="8" y="20"/>
                  </a:cxn>
                  <a:cxn ang="0">
                    <a:pos x="4" y="28"/>
                  </a:cxn>
                  <a:cxn ang="0">
                    <a:pos x="2" y="34"/>
                  </a:cxn>
                  <a:cxn ang="0">
                    <a:pos x="2" y="34"/>
                  </a:cxn>
                  <a:cxn ang="0">
                    <a:pos x="0" y="44"/>
                  </a:cxn>
                  <a:cxn ang="0">
                    <a:pos x="0" y="52"/>
                  </a:cxn>
                  <a:cxn ang="0">
                    <a:pos x="2" y="62"/>
                  </a:cxn>
                  <a:cxn ang="0">
                    <a:pos x="6" y="70"/>
                  </a:cxn>
                  <a:cxn ang="0">
                    <a:pos x="12" y="78"/>
                  </a:cxn>
                  <a:cxn ang="0">
                    <a:pos x="18" y="84"/>
                  </a:cxn>
                  <a:cxn ang="0">
                    <a:pos x="26" y="88"/>
                  </a:cxn>
                  <a:cxn ang="0">
                    <a:pos x="34" y="92"/>
                  </a:cxn>
                  <a:cxn ang="0">
                    <a:pos x="34" y="92"/>
                  </a:cxn>
                  <a:cxn ang="0">
                    <a:pos x="46" y="92"/>
                  </a:cxn>
                  <a:cxn ang="0">
                    <a:pos x="46" y="92"/>
                  </a:cxn>
                  <a:cxn ang="0">
                    <a:pos x="54" y="92"/>
                  </a:cxn>
                  <a:cxn ang="0">
                    <a:pos x="62" y="90"/>
                  </a:cxn>
                  <a:cxn ang="0">
                    <a:pos x="74" y="84"/>
                  </a:cxn>
                  <a:cxn ang="0">
                    <a:pos x="80" y="78"/>
                  </a:cxn>
                  <a:cxn ang="0">
                    <a:pos x="84" y="72"/>
                  </a:cxn>
                  <a:cxn ang="0">
                    <a:pos x="88" y="66"/>
                  </a:cxn>
                  <a:cxn ang="0">
                    <a:pos x="92" y="58"/>
                  </a:cxn>
                  <a:cxn ang="0">
                    <a:pos x="92" y="58"/>
                  </a:cxn>
                  <a:cxn ang="0">
                    <a:pos x="92" y="50"/>
                  </a:cxn>
                  <a:cxn ang="0">
                    <a:pos x="92" y="40"/>
                  </a:cxn>
                  <a:cxn ang="0">
                    <a:pos x="90" y="32"/>
                  </a:cxn>
                  <a:cxn ang="0">
                    <a:pos x="86" y="24"/>
                  </a:cxn>
                  <a:cxn ang="0">
                    <a:pos x="82" y="16"/>
                  </a:cxn>
                  <a:cxn ang="0">
                    <a:pos x="76" y="10"/>
                  </a:cxn>
                  <a:cxn ang="0">
                    <a:pos x="68" y="6"/>
                  </a:cxn>
                  <a:cxn ang="0">
                    <a:pos x="58" y="2"/>
                  </a:cxn>
                  <a:cxn ang="0">
                    <a:pos x="58" y="2"/>
                  </a:cxn>
                  <a:cxn ang="0">
                    <a:pos x="46" y="0"/>
                  </a:cxn>
                </a:cxnLst>
                <a:rect l="0" t="0" r="r" b="b"/>
                <a:pathLst>
                  <a:path w="92" h="92">
                    <a:moveTo>
                      <a:pt x="46" y="0"/>
                    </a:moveTo>
                    <a:lnTo>
                      <a:pt x="46" y="0"/>
                    </a:lnTo>
                    <a:lnTo>
                      <a:pt x="38" y="0"/>
                    </a:lnTo>
                    <a:lnTo>
                      <a:pt x="32" y="2"/>
                    </a:lnTo>
                    <a:lnTo>
                      <a:pt x="18" y="10"/>
                    </a:lnTo>
                    <a:lnTo>
                      <a:pt x="12" y="14"/>
                    </a:lnTo>
                    <a:lnTo>
                      <a:pt x="8" y="20"/>
                    </a:lnTo>
                    <a:lnTo>
                      <a:pt x="4" y="28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0" y="44"/>
                    </a:lnTo>
                    <a:lnTo>
                      <a:pt x="0" y="52"/>
                    </a:lnTo>
                    <a:lnTo>
                      <a:pt x="2" y="62"/>
                    </a:lnTo>
                    <a:lnTo>
                      <a:pt x="6" y="70"/>
                    </a:lnTo>
                    <a:lnTo>
                      <a:pt x="12" y="78"/>
                    </a:lnTo>
                    <a:lnTo>
                      <a:pt x="18" y="84"/>
                    </a:lnTo>
                    <a:lnTo>
                      <a:pt x="26" y="88"/>
                    </a:lnTo>
                    <a:lnTo>
                      <a:pt x="34" y="92"/>
                    </a:lnTo>
                    <a:lnTo>
                      <a:pt x="34" y="92"/>
                    </a:lnTo>
                    <a:lnTo>
                      <a:pt x="46" y="92"/>
                    </a:lnTo>
                    <a:lnTo>
                      <a:pt x="46" y="92"/>
                    </a:lnTo>
                    <a:lnTo>
                      <a:pt x="54" y="92"/>
                    </a:lnTo>
                    <a:lnTo>
                      <a:pt x="62" y="90"/>
                    </a:lnTo>
                    <a:lnTo>
                      <a:pt x="74" y="84"/>
                    </a:lnTo>
                    <a:lnTo>
                      <a:pt x="80" y="78"/>
                    </a:lnTo>
                    <a:lnTo>
                      <a:pt x="84" y="72"/>
                    </a:lnTo>
                    <a:lnTo>
                      <a:pt x="88" y="66"/>
                    </a:lnTo>
                    <a:lnTo>
                      <a:pt x="92" y="58"/>
                    </a:lnTo>
                    <a:lnTo>
                      <a:pt x="92" y="58"/>
                    </a:lnTo>
                    <a:lnTo>
                      <a:pt x="92" y="50"/>
                    </a:lnTo>
                    <a:lnTo>
                      <a:pt x="92" y="40"/>
                    </a:lnTo>
                    <a:lnTo>
                      <a:pt x="90" y="32"/>
                    </a:lnTo>
                    <a:lnTo>
                      <a:pt x="86" y="24"/>
                    </a:lnTo>
                    <a:lnTo>
                      <a:pt x="82" y="16"/>
                    </a:lnTo>
                    <a:lnTo>
                      <a:pt x="76" y="10"/>
                    </a:lnTo>
                    <a:lnTo>
                      <a:pt x="68" y="6"/>
                    </a:lnTo>
                    <a:lnTo>
                      <a:pt x="58" y="2"/>
                    </a:lnTo>
                    <a:lnTo>
                      <a:pt x="58" y="2"/>
                    </a:lnTo>
                    <a:lnTo>
                      <a:pt x="4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12" name="Freeform 48"/>
              <p:cNvSpPr>
                <a:spLocks/>
              </p:cNvSpPr>
              <p:nvPr userDrawn="1"/>
            </p:nvSpPr>
            <p:spPr bwMode="auto">
              <a:xfrm>
                <a:off x="6683375" y="3105150"/>
                <a:ext cx="146050" cy="146050"/>
              </a:xfrm>
              <a:custGeom>
                <a:avLst/>
                <a:gdLst/>
                <a:ahLst/>
                <a:cxnLst>
                  <a:cxn ang="0">
                    <a:pos x="46" y="0"/>
                  </a:cxn>
                  <a:cxn ang="0">
                    <a:pos x="46" y="0"/>
                  </a:cxn>
                  <a:cxn ang="0">
                    <a:pos x="38" y="0"/>
                  </a:cxn>
                  <a:cxn ang="0">
                    <a:pos x="32" y="2"/>
                  </a:cxn>
                  <a:cxn ang="0">
                    <a:pos x="18" y="10"/>
                  </a:cxn>
                  <a:cxn ang="0">
                    <a:pos x="12" y="14"/>
                  </a:cxn>
                  <a:cxn ang="0">
                    <a:pos x="8" y="20"/>
                  </a:cxn>
                  <a:cxn ang="0">
                    <a:pos x="4" y="28"/>
                  </a:cxn>
                  <a:cxn ang="0">
                    <a:pos x="2" y="34"/>
                  </a:cxn>
                  <a:cxn ang="0">
                    <a:pos x="2" y="34"/>
                  </a:cxn>
                  <a:cxn ang="0">
                    <a:pos x="0" y="44"/>
                  </a:cxn>
                  <a:cxn ang="0">
                    <a:pos x="0" y="52"/>
                  </a:cxn>
                  <a:cxn ang="0">
                    <a:pos x="2" y="62"/>
                  </a:cxn>
                  <a:cxn ang="0">
                    <a:pos x="6" y="70"/>
                  </a:cxn>
                  <a:cxn ang="0">
                    <a:pos x="12" y="78"/>
                  </a:cxn>
                  <a:cxn ang="0">
                    <a:pos x="18" y="84"/>
                  </a:cxn>
                  <a:cxn ang="0">
                    <a:pos x="26" y="88"/>
                  </a:cxn>
                  <a:cxn ang="0">
                    <a:pos x="34" y="92"/>
                  </a:cxn>
                  <a:cxn ang="0">
                    <a:pos x="34" y="92"/>
                  </a:cxn>
                  <a:cxn ang="0">
                    <a:pos x="46" y="92"/>
                  </a:cxn>
                  <a:cxn ang="0">
                    <a:pos x="46" y="92"/>
                  </a:cxn>
                  <a:cxn ang="0">
                    <a:pos x="54" y="92"/>
                  </a:cxn>
                  <a:cxn ang="0">
                    <a:pos x="62" y="90"/>
                  </a:cxn>
                  <a:cxn ang="0">
                    <a:pos x="74" y="84"/>
                  </a:cxn>
                  <a:cxn ang="0">
                    <a:pos x="80" y="78"/>
                  </a:cxn>
                  <a:cxn ang="0">
                    <a:pos x="84" y="72"/>
                  </a:cxn>
                  <a:cxn ang="0">
                    <a:pos x="88" y="66"/>
                  </a:cxn>
                  <a:cxn ang="0">
                    <a:pos x="92" y="58"/>
                  </a:cxn>
                  <a:cxn ang="0">
                    <a:pos x="92" y="58"/>
                  </a:cxn>
                  <a:cxn ang="0">
                    <a:pos x="92" y="50"/>
                  </a:cxn>
                  <a:cxn ang="0">
                    <a:pos x="92" y="40"/>
                  </a:cxn>
                  <a:cxn ang="0">
                    <a:pos x="90" y="32"/>
                  </a:cxn>
                  <a:cxn ang="0">
                    <a:pos x="86" y="24"/>
                  </a:cxn>
                  <a:cxn ang="0">
                    <a:pos x="82" y="16"/>
                  </a:cxn>
                  <a:cxn ang="0">
                    <a:pos x="76" y="10"/>
                  </a:cxn>
                  <a:cxn ang="0">
                    <a:pos x="68" y="6"/>
                  </a:cxn>
                  <a:cxn ang="0">
                    <a:pos x="58" y="2"/>
                  </a:cxn>
                  <a:cxn ang="0">
                    <a:pos x="58" y="2"/>
                  </a:cxn>
                  <a:cxn ang="0">
                    <a:pos x="46" y="0"/>
                  </a:cxn>
                </a:cxnLst>
                <a:rect l="0" t="0" r="r" b="b"/>
                <a:pathLst>
                  <a:path w="92" h="92">
                    <a:moveTo>
                      <a:pt x="46" y="0"/>
                    </a:moveTo>
                    <a:lnTo>
                      <a:pt x="46" y="0"/>
                    </a:lnTo>
                    <a:lnTo>
                      <a:pt x="38" y="0"/>
                    </a:lnTo>
                    <a:lnTo>
                      <a:pt x="32" y="2"/>
                    </a:lnTo>
                    <a:lnTo>
                      <a:pt x="18" y="10"/>
                    </a:lnTo>
                    <a:lnTo>
                      <a:pt x="12" y="14"/>
                    </a:lnTo>
                    <a:lnTo>
                      <a:pt x="8" y="20"/>
                    </a:lnTo>
                    <a:lnTo>
                      <a:pt x="4" y="28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0" y="44"/>
                    </a:lnTo>
                    <a:lnTo>
                      <a:pt x="0" y="52"/>
                    </a:lnTo>
                    <a:lnTo>
                      <a:pt x="2" y="62"/>
                    </a:lnTo>
                    <a:lnTo>
                      <a:pt x="6" y="70"/>
                    </a:lnTo>
                    <a:lnTo>
                      <a:pt x="12" y="78"/>
                    </a:lnTo>
                    <a:lnTo>
                      <a:pt x="18" y="84"/>
                    </a:lnTo>
                    <a:lnTo>
                      <a:pt x="26" y="88"/>
                    </a:lnTo>
                    <a:lnTo>
                      <a:pt x="34" y="92"/>
                    </a:lnTo>
                    <a:lnTo>
                      <a:pt x="34" y="92"/>
                    </a:lnTo>
                    <a:lnTo>
                      <a:pt x="46" y="92"/>
                    </a:lnTo>
                    <a:lnTo>
                      <a:pt x="46" y="92"/>
                    </a:lnTo>
                    <a:lnTo>
                      <a:pt x="54" y="92"/>
                    </a:lnTo>
                    <a:lnTo>
                      <a:pt x="62" y="90"/>
                    </a:lnTo>
                    <a:lnTo>
                      <a:pt x="74" y="84"/>
                    </a:lnTo>
                    <a:lnTo>
                      <a:pt x="80" y="78"/>
                    </a:lnTo>
                    <a:lnTo>
                      <a:pt x="84" y="72"/>
                    </a:lnTo>
                    <a:lnTo>
                      <a:pt x="88" y="66"/>
                    </a:lnTo>
                    <a:lnTo>
                      <a:pt x="92" y="58"/>
                    </a:lnTo>
                    <a:lnTo>
                      <a:pt x="92" y="58"/>
                    </a:lnTo>
                    <a:lnTo>
                      <a:pt x="92" y="50"/>
                    </a:lnTo>
                    <a:lnTo>
                      <a:pt x="92" y="40"/>
                    </a:lnTo>
                    <a:lnTo>
                      <a:pt x="90" y="32"/>
                    </a:lnTo>
                    <a:lnTo>
                      <a:pt x="86" y="24"/>
                    </a:lnTo>
                    <a:lnTo>
                      <a:pt x="82" y="16"/>
                    </a:lnTo>
                    <a:lnTo>
                      <a:pt x="76" y="10"/>
                    </a:lnTo>
                    <a:lnTo>
                      <a:pt x="68" y="6"/>
                    </a:lnTo>
                    <a:lnTo>
                      <a:pt x="58" y="2"/>
                    </a:lnTo>
                    <a:lnTo>
                      <a:pt x="58" y="2"/>
                    </a:lnTo>
                    <a:lnTo>
                      <a:pt x="4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13" name="Freeform 49"/>
              <p:cNvSpPr>
                <a:spLocks/>
              </p:cNvSpPr>
              <p:nvPr userDrawn="1"/>
            </p:nvSpPr>
            <p:spPr bwMode="auto">
              <a:xfrm>
                <a:off x="6943725" y="3289300"/>
                <a:ext cx="130175" cy="133350"/>
              </a:xfrm>
              <a:custGeom>
                <a:avLst/>
                <a:gdLst/>
                <a:ahLst/>
                <a:cxnLst>
                  <a:cxn ang="0">
                    <a:pos x="40" y="0"/>
                  </a:cxn>
                  <a:cxn ang="0">
                    <a:pos x="40" y="0"/>
                  </a:cxn>
                  <a:cxn ang="0">
                    <a:pos x="28" y="2"/>
                  </a:cxn>
                  <a:cxn ang="0">
                    <a:pos x="16" y="8"/>
                  </a:cxn>
                  <a:cxn ang="0">
                    <a:pos x="6" y="18"/>
                  </a:cxn>
                  <a:cxn ang="0">
                    <a:pos x="4" y="24"/>
                  </a:cxn>
                  <a:cxn ang="0">
                    <a:pos x="0" y="30"/>
                  </a:cxn>
                  <a:cxn ang="0">
                    <a:pos x="0" y="30"/>
                  </a:cxn>
                  <a:cxn ang="0">
                    <a:pos x="0" y="40"/>
                  </a:cxn>
                  <a:cxn ang="0">
                    <a:pos x="0" y="48"/>
                  </a:cxn>
                  <a:cxn ang="0">
                    <a:pos x="2" y="56"/>
                  </a:cxn>
                  <a:cxn ang="0">
                    <a:pos x="4" y="62"/>
                  </a:cxn>
                  <a:cxn ang="0">
                    <a:pos x="10" y="68"/>
                  </a:cxn>
                  <a:cxn ang="0">
                    <a:pos x="16" y="74"/>
                  </a:cxn>
                  <a:cxn ang="0">
                    <a:pos x="22" y="78"/>
                  </a:cxn>
                  <a:cxn ang="0">
                    <a:pos x="30" y="82"/>
                  </a:cxn>
                  <a:cxn ang="0">
                    <a:pos x="30" y="82"/>
                  </a:cxn>
                  <a:cxn ang="0">
                    <a:pos x="40" y="84"/>
                  </a:cxn>
                  <a:cxn ang="0">
                    <a:pos x="40" y="84"/>
                  </a:cxn>
                  <a:cxn ang="0">
                    <a:pos x="54" y="82"/>
                  </a:cxn>
                  <a:cxn ang="0">
                    <a:pos x="66" y="74"/>
                  </a:cxn>
                  <a:cxn ang="0">
                    <a:pos x="76" y="66"/>
                  </a:cxn>
                  <a:cxn ang="0">
                    <a:pos x="78" y="58"/>
                  </a:cxn>
                  <a:cxn ang="0">
                    <a:pos x="82" y="52"/>
                  </a:cxn>
                  <a:cxn ang="0">
                    <a:pos x="82" y="52"/>
                  </a:cxn>
                  <a:cxn ang="0">
                    <a:pos x="82" y="44"/>
                  </a:cxn>
                  <a:cxn ang="0">
                    <a:pos x="82" y="36"/>
                  </a:cxn>
                  <a:cxn ang="0">
                    <a:pos x="80" y="28"/>
                  </a:cxn>
                  <a:cxn ang="0">
                    <a:pos x="78" y="20"/>
                  </a:cxn>
                  <a:cxn ang="0">
                    <a:pos x="72" y="14"/>
                  </a:cxn>
                  <a:cxn ang="0">
                    <a:pos x="66" y="8"/>
                  </a:cxn>
                  <a:cxn ang="0">
                    <a:pos x="60" y="4"/>
                  </a:cxn>
                  <a:cxn ang="0">
                    <a:pos x="52" y="2"/>
                  </a:cxn>
                  <a:cxn ang="0">
                    <a:pos x="52" y="2"/>
                  </a:cxn>
                  <a:cxn ang="0">
                    <a:pos x="40" y="0"/>
                  </a:cxn>
                </a:cxnLst>
                <a:rect l="0" t="0" r="r" b="b"/>
                <a:pathLst>
                  <a:path w="82" h="84">
                    <a:moveTo>
                      <a:pt x="40" y="0"/>
                    </a:moveTo>
                    <a:lnTo>
                      <a:pt x="40" y="0"/>
                    </a:lnTo>
                    <a:lnTo>
                      <a:pt x="28" y="2"/>
                    </a:lnTo>
                    <a:lnTo>
                      <a:pt x="16" y="8"/>
                    </a:lnTo>
                    <a:lnTo>
                      <a:pt x="6" y="18"/>
                    </a:lnTo>
                    <a:lnTo>
                      <a:pt x="4" y="2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2" y="56"/>
                    </a:lnTo>
                    <a:lnTo>
                      <a:pt x="4" y="62"/>
                    </a:lnTo>
                    <a:lnTo>
                      <a:pt x="10" y="68"/>
                    </a:lnTo>
                    <a:lnTo>
                      <a:pt x="16" y="74"/>
                    </a:lnTo>
                    <a:lnTo>
                      <a:pt x="22" y="78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40" y="84"/>
                    </a:lnTo>
                    <a:lnTo>
                      <a:pt x="40" y="84"/>
                    </a:lnTo>
                    <a:lnTo>
                      <a:pt x="54" y="82"/>
                    </a:lnTo>
                    <a:lnTo>
                      <a:pt x="66" y="74"/>
                    </a:lnTo>
                    <a:lnTo>
                      <a:pt x="76" y="66"/>
                    </a:lnTo>
                    <a:lnTo>
                      <a:pt x="78" y="58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2" y="44"/>
                    </a:lnTo>
                    <a:lnTo>
                      <a:pt x="82" y="36"/>
                    </a:lnTo>
                    <a:lnTo>
                      <a:pt x="80" y="28"/>
                    </a:lnTo>
                    <a:lnTo>
                      <a:pt x="78" y="20"/>
                    </a:lnTo>
                    <a:lnTo>
                      <a:pt x="72" y="14"/>
                    </a:lnTo>
                    <a:lnTo>
                      <a:pt x="66" y="8"/>
                    </a:lnTo>
                    <a:lnTo>
                      <a:pt x="60" y="4"/>
                    </a:lnTo>
                    <a:lnTo>
                      <a:pt x="52" y="2"/>
                    </a:lnTo>
                    <a:lnTo>
                      <a:pt x="52" y="2"/>
                    </a:lnTo>
                    <a:lnTo>
                      <a:pt x="4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14" name="Freeform 50"/>
              <p:cNvSpPr>
                <a:spLocks/>
              </p:cNvSpPr>
              <p:nvPr userDrawn="1"/>
            </p:nvSpPr>
            <p:spPr bwMode="auto">
              <a:xfrm>
                <a:off x="6943725" y="3289300"/>
                <a:ext cx="130175" cy="133350"/>
              </a:xfrm>
              <a:custGeom>
                <a:avLst/>
                <a:gdLst/>
                <a:ahLst/>
                <a:cxnLst>
                  <a:cxn ang="0">
                    <a:pos x="40" y="0"/>
                  </a:cxn>
                  <a:cxn ang="0">
                    <a:pos x="40" y="0"/>
                  </a:cxn>
                  <a:cxn ang="0">
                    <a:pos x="28" y="2"/>
                  </a:cxn>
                  <a:cxn ang="0">
                    <a:pos x="16" y="8"/>
                  </a:cxn>
                  <a:cxn ang="0">
                    <a:pos x="6" y="18"/>
                  </a:cxn>
                  <a:cxn ang="0">
                    <a:pos x="4" y="24"/>
                  </a:cxn>
                  <a:cxn ang="0">
                    <a:pos x="0" y="30"/>
                  </a:cxn>
                  <a:cxn ang="0">
                    <a:pos x="0" y="30"/>
                  </a:cxn>
                  <a:cxn ang="0">
                    <a:pos x="0" y="40"/>
                  </a:cxn>
                  <a:cxn ang="0">
                    <a:pos x="0" y="48"/>
                  </a:cxn>
                  <a:cxn ang="0">
                    <a:pos x="2" y="56"/>
                  </a:cxn>
                  <a:cxn ang="0">
                    <a:pos x="4" y="62"/>
                  </a:cxn>
                  <a:cxn ang="0">
                    <a:pos x="10" y="68"/>
                  </a:cxn>
                  <a:cxn ang="0">
                    <a:pos x="16" y="74"/>
                  </a:cxn>
                  <a:cxn ang="0">
                    <a:pos x="22" y="78"/>
                  </a:cxn>
                  <a:cxn ang="0">
                    <a:pos x="30" y="82"/>
                  </a:cxn>
                  <a:cxn ang="0">
                    <a:pos x="30" y="82"/>
                  </a:cxn>
                  <a:cxn ang="0">
                    <a:pos x="40" y="84"/>
                  </a:cxn>
                  <a:cxn ang="0">
                    <a:pos x="40" y="84"/>
                  </a:cxn>
                  <a:cxn ang="0">
                    <a:pos x="54" y="82"/>
                  </a:cxn>
                  <a:cxn ang="0">
                    <a:pos x="66" y="74"/>
                  </a:cxn>
                  <a:cxn ang="0">
                    <a:pos x="76" y="66"/>
                  </a:cxn>
                  <a:cxn ang="0">
                    <a:pos x="78" y="58"/>
                  </a:cxn>
                  <a:cxn ang="0">
                    <a:pos x="82" y="52"/>
                  </a:cxn>
                  <a:cxn ang="0">
                    <a:pos x="82" y="52"/>
                  </a:cxn>
                  <a:cxn ang="0">
                    <a:pos x="82" y="44"/>
                  </a:cxn>
                  <a:cxn ang="0">
                    <a:pos x="82" y="36"/>
                  </a:cxn>
                  <a:cxn ang="0">
                    <a:pos x="80" y="28"/>
                  </a:cxn>
                  <a:cxn ang="0">
                    <a:pos x="78" y="20"/>
                  </a:cxn>
                  <a:cxn ang="0">
                    <a:pos x="72" y="14"/>
                  </a:cxn>
                  <a:cxn ang="0">
                    <a:pos x="66" y="8"/>
                  </a:cxn>
                  <a:cxn ang="0">
                    <a:pos x="60" y="4"/>
                  </a:cxn>
                  <a:cxn ang="0">
                    <a:pos x="52" y="2"/>
                  </a:cxn>
                  <a:cxn ang="0">
                    <a:pos x="52" y="2"/>
                  </a:cxn>
                  <a:cxn ang="0">
                    <a:pos x="40" y="0"/>
                  </a:cxn>
                </a:cxnLst>
                <a:rect l="0" t="0" r="r" b="b"/>
                <a:pathLst>
                  <a:path w="82" h="84">
                    <a:moveTo>
                      <a:pt x="40" y="0"/>
                    </a:moveTo>
                    <a:lnTo>
                      <a:pt x="40" y="0"/>
                    </a:lnTo>
                    <a:lnTo>
                      <a:pt x="28" y="2"/>
                    </a:lnTo>
                    <a:lnTo>
                      <a:pt x="16" y="8"/>
                    </a:lnTo>
                    <a:lnTo>
                      <a:pt x="6" y="18"/>
                    </a:lnTo>
                    <a:lnTo>
                      <a:pt x="4" y="2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2" y="56"/>
                    </a:lnTo>
                    <a:lnTo>
                      <a:pt x="4" y="62"/>
                    </a:lnTo>
                    <a:lnTo>
                      <a:pt x="10" y="68"/>
                    </a:lnTo>
                    <a:lnTo>
                      <a:pt x="16" y="74"/>
                    </a:lnTo>
                    <a:lnTo>
                      <a:pt x="22" y="78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40" y="84"/>
                    </a:lnTo>
                    <a:lnTo>
                      <a:pt x="40" y="84"/>
                    </a:lnTo>
                    <a:lnTo>
                      <a:pt x="54" y="82"/>
                    </a:lnTo>
                    <a:lnTo>
                      <a:pt x="66" y="74"/>
                    </a:lnTo>
                    <a:lnTo>
                      <a:pt x="76" y="66"/>
                    </a:lnTo>
                    <a:lnTo>
                      <a:pt x="78" y="58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2" y="44"/>
                    </a:lnTo>
                    <a:lnTo>
                      <a:pt x="82" y="36"/>
                    </a:lnTo>
                    <a:lnTo>
                      <a:pt x="80" y="28"/>
                    </a:lnTo>
                    <a:lnTo>
                      <a:pt x="78" y="20"/>
                    </a:lnTo>
                    <a:lnTo>
                      <a:pt x="72" y="14"/>
                    </a:lnTo>
                    <a:lnTo>
                      <a:pt x="66" y="8"/>
                    </a:lnTo>
                    <a:lnTo>
                      <a:pt x="60" y="4"/>
                    </a:lnTo>
                    <a:lnTo>
                      <a:pt x="52" y="2"/>
                    </a:lnTo>
                    <a:lnTo>
                      <a:pt x="52" y="2"/>
                    </a:lnTo>
                    <a:lnTo>
                      <a:pt x="4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15" name="Freeform 51"/>
              <p:cNvSpPr>
                <a:spLocks/>
              </p:cNvSpPr>
              <p:nvPr userDrawn="1"/>
            </p:nvSpPr>
            <p:spPr bwMode="auto">
              <a:xfrm>
                <a:off x="7165975" y="3511550"/>
                <a:ext cx="120650" cy="120650"/>
              </a:xfrm>
              <a:custGeom>
                <a:avLst/>
                <a:gdLst/>
                <a:ahLst/>
                <a:cxnLst>
                  <a:cxn ang="0">
                    <a:pos x="38" y="0"/>
                  </a:cxn>
                  <a:cxn ang="0">
                    <a:pos x="38" y="0"/>
                  </a:cxn>
                  <a:cxn ang="0">
                    <a:pos x="26" y="2"/>
                  </a:cxn>
                  <a:cxn ang="0">
                    <a:pos x="14" y="8"/>
                  </a:cxn>
                  <a:cxn ang="0">
                    <a:pos x="6" y="18"/>
                  </a:cxn>
                  <a:cxn ang="0">
                    <a:pos x="2" y="28"/>
                  </a:cxn>
                  <a:cxn ang="0">
                    <a:pos x="2" y="28"/>
                  </a:cxn>
                  <a:cxn ang="0">
                    <a:pos x="0" y="36"/>
                  </a:cxn>
                  <a:cxn ang="0">
                    <a:pos x="0" y="44"/>
                  </a:cxn>
                  <a:cxn ang="0">
                    <a:pos x="2" y="50"/>
                  </a:cxn>
                  <a:cxn ang="0">
                    <a:pos x="6" y="56"/>
                  </a:cxn>
                  <a:cxn ang="0">
                    <a:pos x="10" y="62"/>
                  </a:cxn>
                  <a:cxn ang="0">
                    <a:pos x="14" y="68"/>
                  </a:cxn>
                  <a:cxn ang="0">
                    <a:pos x="20" y="72"/>
                  </a:cxn>
                  <a:cxn ang="0">
                    <a:pos x="28" y="74"/>
                  </a:cxn>
                  <a:cxn ang="0">
                    <a:pos x="28" y="74"/>
                  </a:cxn>
                  <a:cxn ang="0">
                    <a:pos x="38" y="76"/>
                  </a:cxn>
                  <a:cxn ang="0">
                    <a:pos x="38" y="76"/>
                  </a:cxn>
                  <a:cxn ang="0">
                    <a:pos x="50" y="74"/>
                  </a:cxn>
                  <a:cxn ang="0">
                    <a:pos x="60" y="68"/>
                  </a:cxn>
                  <a:cxn ang="0">
                    <a:pos x="68" y="60"/>
                  </a:cxn>
                  <a:cxn ang="0">
                    <a:pos x="74" y="48"/>
                  </a:cxn>
                  <a:cxn ang="0">
                    <a:pos x="74" y="48"/>
                  </a:cxn>
                  <a:cxn ang="0">
                    <a:pos x="76" y="40"/>
                  </a:cxn>
                  <a:cxn ang="0">
                    <a:pos x="74" y="34"/>
                  </a:cxn>
                  <a:cxn ang="0">
                    <a:pos x="74" y="26"/>
                  </a:cxn>
                  <a:cxn ang="0">
                    <a:pos x="70" y="20"/>
                  </a:cxn>
                  <a:cxn ang="0">
                    <a:pos x="66" y="14"/>
                  </a:cxn>
                  <a:cxn ang="0">
                    <a:pos x="60" y="8"/>
                  </a:cxn>
                  <a:cxn ang="0">
                    <a:pos x="54" y="4"/>
                  </a:cxn>
                  <a:cxn ang="0">
                    <a:pos x="48" y="2"/>
                  </a:cxn>
                  <a:cxn ang="0">
                    <a:pos x="48" y="2"/>
                  </a:cxn>
                  <a:cxn ang="0">
                    <a:pos x="38" y="0"/>
                  </a:cxn>
                </a:cxnLst>
                <a:rect l="0" t="0" r="r" b="b"/>
                <a:pathLst>
                  <a:path w="76" h="76">
                    <a:moveTo>
                      <a:pt x="38" y="0"/>
                    </a:moveTo>
                    <a:lnTo>
                      <a:pt x="38" y="0"/>
                    </a:lnTo>
                    <a:lnTo>
                      <a:pt x="26" y="2"/>
                    </a:lnTo>
                    <a:lnTo>
                      <a:pt x="14" y="8"/>
                    </a:lnTo>
                    <a:lnTo>
                      <a:pt x="6" y="18"/>
                    </a:lnTo>
                    <a:lnTo>
                      <a:pt x="2" y="28"/>
                    </a:lnTo>
                    <a:lnTo>
                      <a:pt x="2" y="28"/>
                    </a:lnTo>
                    <a:lnTo>
                      <a:pt x="0" y="36"/>
                    </a:lnTo>
                    <a:lnTo>
                      <a:pt x="0" y="44"/>
                    </a:lnTo>
                    <a:lnTo>
                      <a:pt x="2" y="50"/>
                    </a:lnTo>
                    <a:lnTo>
                      <a:pt x="6" y="56"/>
                    </a:lnTo>
                    <a:lnTo>
                      <a:pt x="10" y="62"/>
                    </a:lnTo>
                    <a:lnTo>
                      <a:pt x="14" y="68"/>
                    </a:lnTo>
                    <a:lnTo>
                      <a:pt x="20" y="72"/>
                    </a:lnTo>
                    <a:lnTo>
                      <a:pt x="28" y="74"/>
                    </a:lnTo>
                    <a:lnTo>
                      <a:pt x="28" y="74"/>
                    </a:lnTo>
                    <a:lnTo>
                      <a:pt x="38" y="76"/>
                    </a:lnTo>
                    <a:lnTo>
                      <a:pt x="38" y="76"/>
                    </a:lnTo>
                    <a:lnTo>
                      <a:pt x="50" y="74"/>
                    </a:lnTo>
                    <a:lnTo>
                      <a:pt x="60" y="68"/>
                    </a:lnTo>
                    <a:lnTo>
                      <a:pt x="68" y="60"/>
                    </a:lnTo>
                    <a:lnTo>
                      <a:pt x="74" y="48"/>
                    </a:lnTo>
                    <a:lnTo>
                      <a:pt x="74" y="48"/>
                    </a:lnTo>
                    <a:lnTo>
                      <a:pt x="76" y="40"/>
                    </a:lnTo>
                    <a:lnTo>
                      <a:pt x="74" y="34"/>
                    </a:lnTo>
                    <a:lnTo>
                      <a:pt x="74" y="26"/>
                    </a:lnTo>
                    <a:lnTo>
                      <a:pt x="70" y="20"/>
                    </a:lnTo>
                    <a:lnTo>
                      <a:pt x="66" y="14"/>
                    </a:lnTo>
                    <a:lnTo>
                      <a:pt x="60" y="8"/>
                    </a:lnTo>
                    <a:lnTo>
                      <a:pt x="54" y="4"/>
                    </a:lnTo>
                    <a:lnTo>
                      <a:pt x="48" y="2"/>
                    </a:lnTo>
                    <a:lnTo>
                      <a:pt x="48" y="2"/>
                    </a:lnTo>
                    <a:lnTo>
                      <a:pt x="3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16" name="Freeform 52"/>
              <p:cNvSpPr>
                <a:spLocks/>
              </p:cNvSpPr>
              <p:nvPr userDrawn="1"/>
            </p:nvSpPr>
            <p:spPr bwMode="auto">
              <a:xfrm>
                <a:off x="7165975" y="3511550"/>
                <a:ext cx="120650" cy="120650"/>
              </a:xfrm>
              <a:custGeom>
                <a:avLst/>
                <a:gdLst/>
                <a:ahLst/>
                <a:cxnLst>
                  <a:cxn ang="0">
                    <a:pos x="38" y="0"/>
                  </a:cxn>
                  <a:cxn ang="0">
                    <a:pos x="38" y="0"/>
                  </a:cxn>
                  <a:cxn ang="0">
                    <a:pos x="26" y="2"/>
                  </a:cxn>
                  <a:cxn ang="0">
                    <a:pos x="14" y="8"/>
                  </a:cxn>
                  <a:cxn ang="0">
                    <a:pos x="6" y="18"/>
                  </a:cxn>
                  <a:cxn ang="0">
                    <a:pos x="2" y="28"/>
                  </a:cxn>
                  <a:cxn ang="0">
                    <a:pos x="2" y="28"/>
                  </a:cxn>
                  <a:cxn ang="0">
                    <a:pos x="0" y="36"/>
                  </a:cxn>
                  <a:cxn ang="0">
                    <a:pos x="0" y="44"/>
                  </a:cxn>
                  <a:cxn ang="0">
                    <a:pos x="2" y="50"/>
                  </a:cxn>
                  <a:cxn ang="0">
                    <a:pos x="6" y="56"/>
                  </a:cxn>
                  <a:cxn ang="0">
                    <a:pos x="10" y="62"/>
                  </a:cxn>
                  <a:cxn ang="0">
                    <a:pos x="14" y="68"/>
                  </a:cxn>
                  <a:cxn ang="0">
                    <a:pos x="20" y="72"/>
                  </a:cxn>
                  <a:cxn ang="0">
                    <a:pos x="28" y="74"/>
                  </a:cxn>
                  <a:cxn ang="0">
                    <a:pos x="28" y="74"/>
                  </a:cxn>
                  <a:cxn ang="0">
                    <a:pos x="38" y="76"/>
                  </a:cxn>
                  <a:cxn ang="0">
                    <a:pos x="38" y="76"/>
                  </a:cxn>
                  <a:cxn ang="0">
                    <a:pos x="50" y="74"/>
                  </a:cxn>
                  <a:cxn ang="0">
                    <a:pos x="60" y="68"/>
                  </a:cxn>
                  <a:cxn ang="0">
                    <a:pos x="68" y="60"/>
                  </a:cxn>
                  <a:cxn ang="0">
                    <a:pos x="74" y="48"/>
                  </a:cxn>
                  <a:cxn ang="0">
                    <a:pos x="74" y="48"/>
                  </a:cxn>
                  <a:cxn ang="0">
                    <a:pos x="76" y="40"/>
                  </a:cxn>
                  <a:cxn ang="0">
                    <a:pos x="74" y="34"/>
                  </a:cxn>
                  <a:cxn ang="0">
                    <a:pos x="74" y="26"/>
                  </a:cxn>
                  <a:cxn ang="0">
                    <a:pos x="70" y="20"/>
                  </a:cxn>
                  <a:cxn ang="0">
                    <a:pos x="66" y="14"/>
                  </a:cxn>
                  <a:cxn ang="0">
                    <a:pos x="60" y="8"/>
                  </a:cxn>
                  <a:cxn ang="0">
                    <a:pos x="54" y="4"/>
                  </a:cxn>
                  <a:cxn ang="0">
                    <a:pos x="48" y="2"/>
                  </a:cxn>
                  <a:cxn ang="0">
                    <a:pos x="48" y="2"/>
                  </a:cxn>
                  <a:cxn ang="0">
                    <a:pos x="38" y="0"/>
                  </a:cxn>
                </a:cxnLst>
                <a:rect l="0" t="0" r="r" b="b"/>
                <a:pathLst>
                  <a:path w="76" h="76">
                    <a:moveTo>
                      <a:pt x="38" y="0"/>
                    </a:moveTo>
                    <a:lnTo>
                      <a:pt x="38" y="0"/>
                    </a:lnTo>
                    <a:lnTo>
                      <a:pt x="26" y="2"/>
                    </a:lnTo>
                    <a:lnTo>
                      <a:pt x="14" y="8"/>
                    </a:lnTo>
                    <a:lnTo>
                      <a:pt x="6" y="18"/>
                    </a:lnTo>
                    <a:lnTo>
                      <a:pt x="2" y="28"/>
                    </a:lnTo>
                    <a:lnTo>
                      <a:pt x="2" y="28"/>
                    </a:lnTo>
                    <a:lnTo>
                      <a:pt x="0" y="36"/>
                    </a:lnTo>
                    <a:lnTo>
                      <a:pt x="0" y="44"/>
                    </a:lnTo>
                    <a:lnTo>
                      <a:pt x="2" y="50"/>
                    </a:lnTo>
                    <a:lnTo>
                      <a:pt x="6" y="56"/>
                    </a:lnTo>
                    <a:lnTo>
                      <a:pt x="10" y="62"/>
                    </a:lnTo>
                    <a:lnTo>
                      <a:pt x="14" y="68"/>
                    </a:lnTo>
                    <a:lnTo>
                      <a:pt x="20" y="72"/>
                    </a:lnTo>
                    <a:lnTo>
                      <a:pt x="28" y="74"/>
                    </a:lnTo>
                    <a:lnTo>
                      <a:pt x="28" y="74"/>
                    </a:lnTo>
                    <a:lnTo>
                      <a:pt x="38" y="76"/>
                    </a:lnTo>
                    <a:lnTo>
                      <a:pt x="38" y="76"/>
                    </a:lnTo>
                    <a:lnTo>
                      <a:pt x="50" y="74"/>
                    </a:lnTo>
                    <a:lnTo>
                      <a:pt x="60" y="68"/>
                    </a:lnTo>
                    <a:lnTo>
                      <a:pt x="68" y="60"/>
                    </a:lnTo>
                    <a:lnTo>
                      <a:pt x="74" y="48"/>
                    </a:lnTo>
                    <a:lnTo>
                      <a:pt x="74" y="48"/>
                    </a:lnTo>
                    <a:lnTo>
                      <a:pt x="76" y="40"/>
                    </a:lnTo>
                    <a:lnTo>
                      <a:pt x="74" y="34"/>
                    </a:lnTo>
                    <a:lnTo>
                      <a:pt x="74" y="26"/>
                    </a:lnTo>
                    <a:lnTo>
                      <a:pt x="70" y="20"/>
                    </a:lnTo>
                    <a:lnTo>
                      <a:pt x="66" y="14"/>
                    </a:lnTo>
                    <a:lnTo>
                      <a:pt x="60" y="8"/>
                    </a:lnTo>
                    <a:lnTo>
                      <a:pt x="54" y="4"/>
                    </a:lnTo>
                    <a:lnTo>
                      <a:pt x="48" y="2"/>
                    </a:lnTo>
                    <a:lnTo>
                      <a:pt x="48" y="2"/>
                    </a:lnTo>
                    <a:lnTo>
                      <a:pt x="3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17" name="Freeform 53"/>
              <p:cNvSpPr>
                <a:spLocks/>
              </p:cNvSpPr>
              <p:nvPr userDrawn="1"/>
            </p:nvSpPr>
            <p:spPr bwMode="auto">
              <a:xfrm>
                <a:off x="7346950" y="3768725"/>
                <a:ext cx="107950" cy="107950"/>
              </a:xfrm>
              <a:custGeom>
                <a:avLst/>
                <a:gdLst/>
                <a:ahLst/>
                <a:cxnLst>
                  <a:cxn ang="0">
                    <a:pos x="34" y="0"/>
                  </a:cxn>
                  <a:cxn ang="0">
                    <a:pos x="34" y="0"/>
                  </a:cxn>
                  <a:cxn ang="0">
                    <a:pos x="24" y="2"/>
                  </a:cxn>
                  <a:cxn ang="0">
                    <a:pos x="14" y="8"/>
                  </a:cxn>
                  <a:cxn ang="0">
                    <a:pos x="6" y="16"/>
                  </a:cxn>
                  <a:cxn ang="0">
                    <a:pos x="2" y="26"/>
                  </a:cxn>
                  <a:cxn ang="0">
                    <a:pos x="2" y="26"/>
                  </a:cxn>
                  <a:cxn ang="0">
                    <a:pos x="0" y="32"/>
                  </a:cxn>
                  <a:cxn ang="0">
                    <a:pos x="2" y="40"/>
                  </a:cxn>
                  <a:cxn ang="0">
                    <a:pos x="2" y="46"/>
                  </a:cxn>
                  <a:cxn ang="0">
                    <a:pos x="6" y="52"/>
                  </a:cxn>
                  <a:cxn ang="0">
                    <a:pos x="10" y="56"/>
                  </a:cxn>
                  <a:cxn ang="0">
                    <a:pos x="14" y="62"/>
                  </a:cxn>
                  <a:cxn ang="0">
                    <a:pos x="20" y="64"/>
                  </a:cxn>
                  <a:cxn ang="0">
                    <a:pos x="26" y="68"/>
                  </a:cxn>
                  <a:cxn ang="0">
                    <a:pos x="26" y="68"/>
                  </a:cxn>
                  <a:cxn ang="0">
                    <a:pos x="34" y="68"/>
                  </a:cxn>
                  <a:cxn ang="0">
                    <a:pos x="34" y="68"/>
                  </a:cxn>
                  <a:cxn ang="0">
                    <a:pos x="46" y="66"/>
                  </a:cxn>
                  <a:cxn ang="0">
                    <a:pos x="54" y="62"/>
                  </a:cxn>
                  <a:cxn ang="0">
                    <a:pos x="62" y="54"/>
                  </a:cxn>
                  <a:cxn ang="0">
                    <a:pos x="68" y="44"/>
                  </a:cxn>
                  <a:cxn ang="0">
                    <a:pos x="68" y="44"/>
                  </a:cxn>
                  <a:cxn ang="0">
                    <a:pos x="68" y="36"/>
                  </a:cxn>
                  <a:cxn ang="0">
                    <a:pos x="68" y="30"/>
                  </a:cxn>
                  <a:cxn ang="0">
                    <a:pos x="66" y="24"/>
                  </a:cxn>
                  <a:cxn ang="0">
                    <a:pos x="64" y="18"/>
                  </a:cxn>
                  <a:cxn ang="0">
                    <a:pos x="60" y="12"/>
                  </a:cxn>
                  <a:cxn ang="0">
                    <a:pos x="56" y="8"/>
                  </a:cxn>
                  <a:cxn ang="0">
                    <a:pos x="50" y="4"/>
                  </a:cxn>
                  <a:cxn ang="0">
                    <a:pos x="44" y="2"/>
                  </a:cxn>
                  <a:cxn ang="0">
                    <a:pos x="44" y="2"/>
                  </a:cxn>
                  <a:cxn ang="0">
                    <a:pos x="34" y="0"/>
                  </a:cxn>
                </a:cxnLst>
                <a:rect l="0" t="0" r="r" b="b"/>
                <a:pathLst>
                  <a:path w="68" h="68">
                    <a:moveTo>
                      <a:pt x="34" y="0"/>
                    </a:moveTo>
                    <a:lnTo>
                      <a:pt x="34" y="0"/>
                    </a:lnTo>
                    <a:lnTo>
                      <a:pt x="24" y="2"/>
                    </a:lnTo>
                    <a:lnTo>
                      <a:pt x="14" y="8"/>
                    </a:lnTo>
                    <a:lnTo>
                      <a:pt x="6" y="16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0" y="32"/>
                    </a:lnTo>
                    <a:lnTo>
                      <a:pt x="2" y="40"/>
                    </a:lnTo>
                    <a:lnTo>
                      <a:pt x="2" y="46"/>
                    </a:lnTo>
                    <a:lnTo>
                      <a:pt x="6" y="52"/>
                    </a:lnTo>
                    <a:lnTo>
                      <a:pt x="10" y="56"/>
                    </a:lnTo>
                    <a:lnTo>
                      <a:pt x="14" y="62"/>
                    </a:lnTo>
                    <a:lnTo>
                      <a:pt x="20" y="64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34" y="68"/>
                    </a:lnTo>
                    <a:lnTo>
                      <a:pt x="34" y="68"/>
                    </a:lnTo>
                    <a:lnTo>
                      <a:pt x="46" y="66"/>
                    </a:lnTo>
                    <a:lnTo>
                      <a:pt x="54" y="62"/>
                    </a:lnTo>
                    <a:lnTo>
                      <a:pt x="62" y="54"/>
                    </a:lnTo>
                    <a:lnTo>
                      <a:pt x="68" y="44"/>
                    </a:lnTo>
                    <a:lnTo>
                      <a:pt x="68" y="44"/>
                    </a:lnTo>
                    <a:lnTo>
                      <a:pt x="68" y="36"/>
                    </a:lnTo>
                    <a:lnTo>
                      <a:pt x="68" y="30"/>
                    </a:lnTo>
                    <a:lnTo>
                      <a:pt x="66" y="24"/>
                    </a:lnTo>
                    <a:lnTo>
                      <a:pt x="64" y="18"/>
                    </a:lnTo>
                    <a:lnTo>
                      <a:pt x="60" y="12"/>
                    </a:lnTo>
                    <a:lnTo>
                      <a:pt x="56" y="8"/>
                    </a:lnTo>
                    <a:lnTo>
                      <a:pt x="50" y="4"/>
                    </a:lnTo>
                    <a:lnTo>
                      <a:pt x="44" y="2"/>
                    </a:lnTo>
                    <a:lnTo>
                      <a:pt x="44" y="2"/>
                    </a:lnTo>
                    <a:lnTo>
                      <a:pt x="3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18" name="Freeform 54"/>
              <p:cNvSpPr>
                <a:spLocks/>
              </p:cNvSpPr>
              <p:nvPr userDrawn="1"/>
            </p:nvSpPr>
            <p:spPr bwMode="auto">
              <a:xfrm>
                <a:off x="7346950" y="3768725"/>
                <a:ext cx="107950" cy="107950"/>
              </a:xfrm>
              <a:custGeom>
                <a:avLst/>
                <a:gdLst/>
                <a:ahLst/>
                <a:cxnLst>
                  <a:cxn ang="0">
                    <a:pos x="34" y="0"/>
                  </a:cxn>
                  <a:cxn ang="0">
                    <a:pos x="34" y="0"/>
                  </a:cxn>
                  <a:cxn ang="0">
                    <a:pos x="24" y="2"/>
                  </a:cxn>
                  <a:cxn ang="0">
                    <a:pos x="14" y="8"/>
                  </a:cxn>
                  <a:cxn ang="0">
                    <a:pos x="6" y="16"/>
                  </a:cxn>
                  <a:cxn ang="0">
                    <a:pos x="2" y="26"/>
                  </a:cxn>
                  <a:cxn ang="0">
                    <a:pos x="2" y="26"/>
                  </a:cxn>
                  <a:cxn ang="0">
                    <a:pos x="0" y="32"/>
                  </a:cxn>
                  <a:cxn ang="0">
                    <a:pos x="2" y="40"/>
                  </a:cxn>
                  <a:cxn ang="0">
                    <a:pos x="2" y="46"/>
                  </a:cxn>
                  <a:cxn ang="0">
                    <a:pos x="6" y="52"/>
                  </a:cxn>
                  <a:cxn ang="0">
                    <a:pos x="10" y="56"/>
                  </a:cxn>
                  <a:cxn ang="0">
                    <a:pos x="14" y="62"/>
                  </a:cxn>
                  <a:cxn ang="0">
                    <a:pos x="20" y="64"/>
                  </a:cxn>
                  <a:cxn ang="0">
                    <a:pos x="26" y="68"/>
                  </a:cxn>
                  <a:cxn ang="0">
                    <a:pos x="26" y="68"/>
                  </a:cxn>
                  <a:cxn ang="0">
                    <a:pos x="34" y="68"/>
                  </a:cxn>
                  <a:cxn ang="0">
                    <a:pos x="34" y="68"/>
                  </a:cxn>
                  <a:cxn ang="0">
                    <a:pos x="46" y="66"/>
                  </a:cxn>
                  <a:cxn ang="0">
                    <a:pos x="54" y="62"/>
                  </a:cxn>
                  <a:cxn ang="0">
                    <a:pos x="62" y="54"/>
                  </a:cxn>
                  <a:cxn ang="0">
                    <a:pos x="68" y="44"/>
                  </a:cxn>
                  <a:cxn ang="0">
                    <a:pos x="68" y="44"/>
                  </a:cxn>
                  <a:cxn ang="0">
                    <a:pos x="68" y="36"/>
                  </a:cxn>
                  <a:cxn ang="0">
                    <a:pos x="68" y="30"/>
                  </a:cxn>
                  <a:cxn ang="0">
                    <a:pos x="66" y="24"/>
                  </a:cxn>
                  <a:cxn ang="0">
                    <a:pos x="64" y="18"/>
                  </a:cxn>
                  <a:cxn ang="0">
                    <a:pos x="60" y="12"/>
                  </a:cxn>
                  <a:cxn ang="0">
                    <a:pos x="56" y="8"/>
                  </a:cxn>
                  <a:cxn ang="0">
                    <a:pos x="50" y="4"/>
                  </a:cxn>
                  <a:cxn ang="0">
                    <a:pos x="44" y="2"/>
                  </a:cxn>
                  <a:cxn ang="0">
                    <a:pos x="44" y="2"/>
                  </a:cxn>
                  <a:cxn ang="0">
                    <a:pos x="34" y="0"/>
                  </a:cxn>
                </a:cxnLst>
                <a:rect l="0" t="0" r="r" b="b"/>
                <a:pathLst>
                  <a:path w="68" h="68">
                    <a:moveTo>
                      <a:pt x="34" y="0"/>
                    </a:moveTo>
                    <a:lnTo>
                      <a:pt x="34" y="0"/>
                    </a:lnTo>
                    <a:lnTo>
                      <a:pt x="24" y="2"/>
                    </a:lnTo>
                    <a:lnTo>
                      <a:pt x="14" y="8"/>
                    </a:lnTo>
                    <a:lnTo>
                      <a:pt x="6" y="16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0" y="32"/>
                    </a:lnTo>
                    <a:lnTo>
                      <a:pt x="2" y="40"/>
                    </a:lnTo>
                    <a:lnTo>
                      <a:pt x="2" y="46"/>
                    </a:lnTo>
                    <a:lnTo>
                      <a:pt x="6" y="52"/>
                    </a:lnTo>
                    <a:lnTo>
                      <a:pt x="10" y="56"/>
                    </a:lnTo>
                    <a:lnTo>
                      <a:pt x="14" y="62"/>
                    </a:lnTo>
                    <a:lnTo>
                      <a:pt x="20" y="64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34" y="68"/>
                    </a:lnTo>
                    <a:lnTo>
                      <a:pt x="34" y="68"/>
                    </a:lnTo>
                    <a:lnTo>
                      <a:pt x="46" y="66"/>
                    </a:lnTo>
                    <a:lnTo>
                      <a:pt x="54" y="62"/>
                    </a:lnTo>
                    <a:lnTo>
                      <a:pt x="62" y="54"/>
                    </a:lnTo>
                    <a:lnTo>
                      <a:pt x="68" y="44"/>
                    </a:lnTo>
                    <a:lnTo>
                      <a:pt x="68" y="44"/>
                    </a:lnTo>
                    <a:lnTo>
                      <a:pt x="68" y="36"/>
                    </a:lnTo>
                    <a:lnTo>
                      <a:pt x="68" y="30"/>
                    </a:lnTo>
                    <a:lnTo>
                      <a:pt x="66" y="24"/>
                    </a:lnTo>
                    <a:lnTo>
                      <a:pt x="64" y="18"/>
                    </a:lnTo>
                    <a:lnTo>
                      <a:pt x="60" y="12"/>
                    </a:lnTo>
                    <a:lnTo>
                      <a:pt x="56" y="8"/>
                    </a:lnTo>
                    <a:lnTo>
                      <a:pt x="50" y="4"/>
                    </a:lnTo>
                    <a:lnTo>
                      <a:pt x="44" y="2"/>
                    </a:lnTo>
                    <a:lnTo>
                      <a:pt x="44" y="2"/>
                    </a:lnTo>
                    <a:lnTo>
                      <a:pt x="3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19" name="Freeform 55"/>
              <p:cNvSpPr>
                <a:spLocks/>
              </p:cNvSpPr>
              <p:nvPr userDrawn="1"/>
            </p:nvSpPr>
            <p:spPr bwMode="auto">
              <a:xfrm>
                <a:off x="7483475" y="4054475"/>
                <a:ext cx="95250" cy="95250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0"/>
                  </a:cxn>
                  <a:cxn ang="0">
                    <a:pos x="20" y="0"/>
                  </a:cxn>
                  <a:cxn ang="0">
                    <a:pos x="12" y="6"/>
                  </a:cxn>
                  <a:cxn ang="0">
                    <a:pos x="6" y="12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0" y="28"/>
                  </a:cxn>
                  <a:cxn ang="0">
                    <a:pos x="0" y="34"/>
                  </a:cxn>
                  <a:cxn ang="0">
                    <a:pos x="4" y="46"/>
                  </a:cxn>
                  <a:cxn ang="0">
                    <a:pos x="12" y="54"/>
                  </a:cxn>
                  <a:cxn ang="0">
                    <a:pos x="16" y="58"/>
                  </a:cxn>
                  <a:cxn ang="0">
                    <a:pos x="22" y="60"/>
                  </a:cxn>
                  <a:cxn ang="0">
                    <a:pos x="22" y="60"/>
                  </a:cxn>
                  <a:cxn ang="0">
                    <a:pos x="30" y="60"/>
                  </a:cxn>
                  <a:cxn ang="0">
                    <a:pos x="30" y="60"/>
                  </a:cxn>
                  <a:cxn ang="0">
                    <a:pos x="40" y="58"/>
                  </a:cxn>
                  <a:cxn ang="0">
                    <a:pos x="48" y="54"/>
                  </a:cxn>
                  <a:cxn ang="0">
                    <a:pos x="56" y="46"/>
                  </a:cxn>
                  <a:cxn ang="0">
                    <a:pos x="60" y="38"/>
                  </a:cxn>
                  <a:cxn ang="0">
                    <a:pos x="60" y="38"/>
                  </a:cxn>
                  <a:cxn ang="0">
                    <a:pos x="60" y="32"/>
                  </a:cxn>
                  <a:cxn ang="0">
                    <a:pos x="60" y="26"/>
                  </a:cxn>
                  <a:cxn ang="0">
                    <a:pos x="56" y="14"/>
                  </a:cxn>
                  <a:cxn ang="0">
                    <a:pos x="48" y="6"/>
                  </a:cxn>
                  <a:cxn ang="0">
                    <a:pos x="44" y="2"/>
                  </a:cxn>
                  <a:cxn ang="0">
                    <a:pos x="38" y="0"/>
                  </a:cxn>
                  <a:cxn ang="0">
                    <a:pos x="38" y="0"/>
                  </a:cxn>
                  <a:cxn ang="0">
                    <a:pos x="30" y="0"/>
                  </a:cxn>
                </a:cxnLst>
                <a:rect l="0" t="0" r="r" b="b"/>
                <a:pathLst>
                  <a:path w="60" h="60">
                    <a:moveTo>
                      <a:pt x="30" y="0"/>
                    </a:moveTo>
                    <a:lnTo>
                      <a:pt x="30" y="0"/>
                    </a:lnTo>
                    <a:lnTo>
                      <a:pt x="20" y="0"/>
                    </a:lnTo>
                    <a:lnTo>
                      <a:pt x="12" y="6"/>
                    </a:lnTo>
                    <a:lnTo>
                      <a:pt x="6" y="1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8"/>
                    </a:lnTo>
                    <a:lnTo>
                      <a:pt x="0" y="34"/>
                    </a:lnTo>
                    <a:lnTo>
                      <a:pt x="4" y="46"/>
                    </a:lnTo>
                    <a:lnTo>
                      <a:pt x="12" y="54"/>
                    </a:lnTo>
                    <a:lnTo>
                      <a:pt x="16" y="58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40" y="58"/>
                    </a:lnTo>
                    <a:lnTo>
                      <a:pt x="48" y="54"/>
                    </a:lnTo>
                    <a:lnTo>
                      <a:pt x="56" y="46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2"/>
                    </a:lnTo>
                    <a:lnTo>
                      <a:pt x="60" y="26"/>
                    </a:lnTo>
                    <a:lnTo>
                      <a:pt x="56" y="14"/>
                    </a:lnTo>
                    <a:lnTo>
                      <a:pt x="48" y="6"/>
                    </a:lnTo>
                    <a:lnTo>
                      <a:pt x="44" y="2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20" name="Freeform 56"/>
              <p:cNvSpPr>
                <a:spLocks/>
              </p:cNvSpPr>
              <p:nvPr userDrawn="1"/>
            </p:nvSpPr>
            <p:spPr bwMode="auto">
              <a:xfrm>
                <a:off x="7483475" y="4054475"/>
                <a:ext cx="95250" cy="95250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0"/>
                  </a:cxn>
                  <a:cxn ang="0">
                    <a:pos x="20" y="0"/>
                  </a:cxn>
                  <a:cxn ang="0">
                    <a:pos x="12" y="6"/>
                  </a:cxn>
                  <a:cxn ang="0">
                    <a:pos x="6" y="12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0" y="28"/>
                  </a:cxn>
                  <a:cxn ang="0">
                    <a:pos x="0" y="34"/>
                  </a:cxn>
                  <a:cxn ang="0">
                    <a:pos x="4" y="46"/>
                  </a:cxn>
                  <a:cxn ang="0">
                    <a:pos x="12" y="54"/>
                  </a:cxn>
                  <a:cxn ang="0">
                    <a:pos x="16" y="58"/>
                  </a:cxn>
                  <a:cxn ang="0">
                    <a:pos x="22" y="60"/>
                  </a:cxn>
                  <a:cxn ang="0">
                    <a:pos x="22" y="60"/>
                  </a:cxn>
                  <a:cxn ang="0">
                    <a:pos x="30" y="60"/>
                  </a:cxn>
                  <a:cxn ang="0">
                    <a:pos x="30" y="60"/>
                  </a:cxn>
                  <a:cxn ang="0">
                    <a:pos x="40" y="58"/>
                  </a:cxn>
                  <a:cxn ang="0">
                    <a:pos x="48" y="54"/>
                  </a:cxn>
                  <a:cxn ang="0">
                    <a:pos x="56" y="46"/>
                  </a:cxn>
                  <a:cxn ang="0">
                    <a:pos x="60" y="38"/>
                  </a:cxn>
                  <a:cxn ang="0">
                    <a:pos x="60" y="38"/>
                  </a:cxn>
                  <a:cxn ang="0">
                    <a:pos x="60" y="32"/>
                  </a:cxn>
                  <a:cxn ang="0">
                    <a:pos x="60" y="26"/>
                  </a:cxn>
                  <a:cxn ang="0">
                    <a:pos x="56" y="14"/>
                  </a:cxn>
                  <a:cxn ang="0">
                    <a:pos x="48" y="6"/>
                  </a:cxn>
                  <a:cxn ang="0">
                    <a:pos x="44" y="2"/>
                  </a:cxn>
                  <a:cxn ang="0">
                    <a:pos x="38" y="0"/>
                  </a:cxn>
                  <a:cxn ang="0">
                    <a:pos x="38" y="0"/>
                  </a:cxn>
                  <a:cxn ang="0">
                    <a:pos x="30" y="0"/>
                  </a:cxn>
                </a:cxnLst>
                <a:rect l="0" t="0" r="r" b="b"/>
                <a:pathLst>
                  <a:path w="60" h="60">
                    <a:moveTo>
                      <a:pt x="30" y="0"/>
                    </a:moveTo>
                    <a:lnTo>
                      <a:pt x="30" y="0"/>
                    </a:lnTo>
                    <a:lnTo>
                      <a:pt x="20" y="0"/>
                    </a:lnTo>
                    <a:lnTo>
                      <a:pt x="12" y="6"/>
                    </a:lnTo>
                    <a:lnTo>
                      <a:pt x="6" y="1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8"/>
                    </a:lnTo>
                    <a:lnTo>
                      <a:pt x="0" y="34"/>
                    </a:lnTo>
                    <a:lnTo>
                      <a:pt x="4" y="46"/>
                    </a:lnTo>
                    <a:lnTo>
                      <a:pt x="12" y="54"/>
                    </a:lnTo>
                    <a:lnTo>
                      <a:pt x="16" y="58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40" y="58"/>
                    </a:lnTo>
                    <a:lnTo>
                      <a:pt x="48" y="54"/>
                    </a:lnTo>
                    <a:lnTo>
                      <a:pt x="56" y="46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2"/>
                    </a:lnTo>
                    <a:lnTo>
                      <a:pt x="60" y="26"/>
                    </a:lnTo>
                    <a:lnTo>
                      <a:pt x="56" y="14"/>
                    </a:lnTo>
                    <a:lnTo>
                      <a:pt x="48" y="6"/>
                    </a:lnTo>
                    <a:lnTo>
                      <a:pt x="44" y="2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21" name="Freeform 57"/>
              <p:cNvSpPr>
                <a:spLocks/>
              </p:cNvSpPr>
              <p:nvPr userDrawn="1"/>
            </p:nvSpPr>
            <p:spPr bwMode="auto">
              <a:xfrm>
                <a:off x="7569200" y="4356100"/>
                <a:ext cx="85725" cy="85725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0"/>
                  </a:cxn>
                  <a:cxn ang="0">
                    <a:pos x="10" y="4"/>
                  </a:cxn>
                  <a:cxn ang="0">
                    <a:pos x="4" y="12"/>
                  </a:cxn>
                  <a:cxn ang="0">
                    <a:pos x="0" y="20"/>
                  </a:cxn>
                  <a:cxn ang="0">
                    <a:pos x="0" y="20"/>
                  </a:cxn>
                  <a:cxn ang="0">
                    <a:pos x="0" y="30"/>
                  </a:cxn>
                  <a:cxn ang="0">
                    <a:pos x="2" y="40"/>
                  </a:cxn>
                  <a:cxn ang="0">
                    <a:pos x="10" y="48"/>
                  </a:cxn>
                  <a:cxn ang="0">
                    <a:pos x="20" y="54"/>
                  </a:cxn>
                  <a:cxn ang="0">
                    <a:pos x="20" y="54"/>
                  </a:cxn>
                  <a:cxn ang="0">
                    <a:pos x="26" y="54"/>
                  </a:cxn>
                  <a:cxn ang="0">
                    <a:pos x="26" y="54"/>
                  </a:cxn>
                  <a:cxn ang="0">
                    <a:pos x="36" y="52"/>
                  </a:cxn>
                  <a:cxn ang="0">
                    <a:pos x="42" y="48"/>
                  </a:cxn>
                  <a:cxn ang="0">
                    <a:pos x="48" y="42"/>
                  </a:cxn>
                  <a:cxn ang="0">
                    <a:pos x="52" y="34"/>
                  </a:cxn>
                  <a:cxn ang="0">
                    <a:pos x="52" y="34"/>
                  </a:cxn>
                  <a:cxn ang="0">
                    <a:pos x="54" y="22"/>
                  </a:cxn>
                  <a:cxn ang="0">
                    <a:pos x="50" y="12"/>
                  </a:cxn>
                  <a:cxn ang="0">
                    <a:pos x="44" y="4"/>
                  </a:cxn>
                  <a:cxn ang="0">
                    <a:pos x="34" y="0"/>
                  </a:cxn>
                  <a:cxn ang="0">
                    <a:pos x="34" y="0"/>
                  </a:cxn>
                  <a:cxn ang="0">
                    <a:pos x="26" y="0"/>
                  </a:cxn>
                </a:cxnLst>
                <a:rect l="0" t="0" r="r" b="b"/>
                <a:pathLst>
                  <a:path w="54" h="54">
                    <a:moveTo>
                      <a:pt x="26" y="0"/>
                    </a:moveTo>
                    <a:lnTo>
                      <a:pt x="26" y="0"/>
                    </a:lnTo>
                    <a:lnTo>
                      <a:pt x="18" y="0"/>
                    </a:lnTo>
                    <a:lnTo>
                      <a:pt x="10" y="4"/>
                    </a:lnTo>
                    <a:lnTo>
                      <a:pt x="4" y="12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30"/>
                    </a:lnTo>
                    <a:lnTo>
                      <a:pt x="2" y="40"/>
                    </a:lnTo>
                    <a:lnTo>
                      <a:pt x="10" y="48"/>
                    </a:lnTo>
                    <a:lnTo>
                      <a:pt x="20" y="54"/>
                    </a:lnTo>
                    <a:lnTo>
                      <a:pt x="20" y="54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36" y="52"/>
                    </a:lnTo>
                    <a:lnTo>
                      <a:pt x="42" y="48"/>
                    </a:lnTo>
                    <a:lnTo>
                      <a:pt x="48" y="42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4" y="22"/>
                    </a:lnTo>
                    <a:lnTo>
                      <a:pt x="50" y="12"/>
                    </a:lnTo>
                    <a:lnTo>
                      <a:pt x="44" y="4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22" name="Freeform 58"/>
              <p:cNvSpPr>
                <a:spLocks/>
              </p:cNvSpPr>
              <p:nvPr userDrawn="1"/>
            </p:nvSpPr>
            <p:spPr bwMode="auto">
              <a:xfrm>
                <a:off x="7569200" y="4356100"/>
                <a:ext cx="85725" cy="85725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0"/>
                  </a:cxn>
                  <a:cxn ang="0">
                    <a:pos x="10" y="4"/>
                  </a:cxn>
                  <a:cxn ang="0">
                    <a:pos x="4" y="12"/>
                  </a:cxn>
                  <a:cxn ang="0">
                    <a:pos x="0" y="20"/>
                  </a:cxn>
                  <a:cxn ang="0">
                    <a:pos x="0" y="20"/>
                  </a:cxn>
                  <a:cxn ang="0">
                    <a:pos x="0" y="30"/>
                  </a:cxn>
                  <a:cxn ang="0">
                    <a:pos x="2" y="40"/>
                  </a:cxn>
                  <a:cxn ang="0">
                    <a:pos x="10" y="48"/>
                  </a:cxn>
                  <a:cxn ang="0">
                    <a:pos x="20" y="54"/>
                  </a:cxn>
                  <a:cxn ang="0">
                    <a:pos x="20" y="54"/>
                  </a:cxn>
                  <a:cxn ang="0">
                    <a:pos x="26" y="54"/>
                  </a:cxn>
                  <a:cxn ang="0">
                    <a:pos x="26" y="54"/>
                  </a:cxn>
                  <a:cxn ang="0">
                    <a:pos x="36" y="52"/>
                  </a:cxn>
                  <a:cxn ang="0">
                    <a:pos x="42" y="48"/>
                  </a:cxn>
                  <a:cxn ang="0">
                    <a:pos x="48" y="42"/>
                  </a:cxn>
                  <a:cxn ang="0">
                    <a:pos x="52" y="34"/>
                  </a:cxn>
                  <a:cxn ang="0">
                    <a:pos x="52" y="34"/>
                  </a:cxn>
                  <a:cxn ang="0">
                    <a:pos x="54" y="22"/>
                  </a:cxn>
                  <a:cxn ang="0">
                    <a:pos x="50" y="12"/>
                  </a:cxn>
                  <a:cxn ang="0">
                    <a:pos x="44" y="4"/>
                  </a:cxn>
                  <a:cxn ang="0">
                    <a:pos x="34" y="0"/>
                  </a:cxn>
                  <a:cxn ang="0">
                    <a:pos x="34" y="0"/>
                  </a:cxn>
                  <a:cxn ang="0">
                    <a:pos x="26" y="0"/>
                  </a:cxn>
                </a:cxnLst>
                <a:rect l="0" t="0" r="r" b="b"/>
                <a:pathLst>
                  <a:path w="54" h="54">
                    <a:moveTo>
                      <a:pt x="26" y="0"/>
                    </a:moveTo>
                    <a:lnTo>
                      <a:pt x="26" y="0"/>
                    </a:lnTo>
                    <a:lnTo>
                      <a:pt x="18" y="0"/>
                    </a:lnTo>
                    <a:lnTo>
                      <a:pt x="10" y="4"/>
                    </a:lnTo>
                    <a:lnTo>
                      <a:pt x="4" y="12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30"/>
                    </a:lnTo>
                    <a:lnTo>
                      <a:pt x="2" y="40"/>
                    </a:lnTo>
                    <a:lnTo>
                      <a:pt x="10" y="48"/>
                    </a:lnTo>
                    <a:lnTo>
                      <a:pt x="20" y="54"/>
                    </a:lnTo>
                    <a:lnTo>
                      <a:pt x="20" y="54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36" y="52"/>
                    </a:lnTo>
                    <a:lnTo>
                      <a:pt x="42" y="48"/>
                    </a:lnTo>
                    <a:lnTo>
                      <a:pt x="48" y="42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4" y="22"/>
                    </a:lnTo>
                    <a:lnTo>
                      <a:pt x="50" y="12"/>
                    </a:lnTo>
                    <a:lnTo>
                      <a:pt x="44" y="4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2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23" name="Freeform 59"/>
              <p:cNvSpPr>
                <a:spLocks/>
              </p:cNvSpPr>
              <p:nvPr userDrawn="1"/>
            </p:nvSpPr>
            <p:spPr bwMode="auto">
              <a:xfrm>
                <a:off x="7597775" y="4664075"/>
                <a:ext cx="79375" cy="79375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4" y="12"/>
                  </a:cxn>
                  <a:cxn ang="0">
                    <a:pos x="2" y="18"/>
                  </a:cxn>
                  <a:cxn ang="0">
                    <a:pos x="2" y="18"/>
                  </a:cxn>
                  <a:cxn ang="0">
                    <a:pos x="0" y="28"/>
                  </a:cxn>
                  <a:cxn ang="0">
                    <a:pos x="4" y="38"/>
                  </a:cxn>
                  <a:cxn ang="0">
                    <a:pos x="10" y="44"/>
                  </a:cxn>
                  <a:cxn ang="0">
                    <a:pos x="18" y="50"/>
                  </a:cxn>
                  <a:cxn ang="0">
                    <a:pos x="18" y="50"/>
                  </a:cxn>
                  <a:cxn ang="0">
                    <a:pos x="26" y="50"/>
                  </a:cxn>
                  <a:cxn ang="0">
                    <a:pos x="26" y="50"/>
                  </a:cxn>
                  <a:cxn ang="0">
                    <a:pos x="34" y="48"/>
                  </a:cxn>
                  <a:cxn ang="0">
                    <a:pos x="40" y="44"/>
                  </a:cxn>
                  <a:cxn ang="0">
                    <a:pos x="46" y="40"/>
                  </a:cxn>
                  <a:cxn ang="0">
                    <a:pos x="48" y="32"/>
                  </a:cxn>
                  <a:cxn ang="0">
                    <a:pos x="48" y="32"/>
                  </a:cxn>
                  <a:cxn ang="0">
                    <a:pos x="50" y="22"/>
                  </a:cxn>
                  <a:cxn ang="0">
                    <a:pos x="46" y="12"/>
                  </a:cxn>
                  <a:cxn ang="0">
                    <a:pos x="40" y="6"/>
                  </a:cxn>
                  <a:cxn ang="0">
                    <a:pos x="32" y="2"/>
                  </a:cxn>
                  <a:cxn ang="0">
                    <a:pos x="32" y="2"/>
                  </a:cxn>
                  <a:cxn ang="0">
                    <a:pos x="26" y="0"/>
                  </a:cxn>
                </a:cxnLst>
                <a:rect l="0" t="0" r="r" b="b"/>
                <a:pathLst>
                  <a:path w="50" h="50">
                    <a:moveTo>
                      <a:pt x="26" y="0"/>
                    </a:moveTo>
                    <a:lnTo>
                      <a:pt x="26" y="0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4" y="12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0" y="28"/>
                    </a:lnTo>
                    <a:lnTo>
                      <a:pt x="4" y="38"/>
                    </a:lnTo>
                    <a:lnTo>
                      <a:pt x="10" y="44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34" y="48"/>
                    </a:lnTo>
                    <a:lnTo>
                      <a:pt x="40" y="44"/>
                    </a:lnTo>
                    <a:lnTo>
                      <a:pt x="46" y="40"/>
                    </a:lnTo>
                    <a:lnTo>
                      <a:pt x="48" y="32"/>
                    </a:lnTo>
                    <a:lnTo>
                      <a:pt x="48" y="32"/>
                    </a:lnTo>
                    <a:lnTo>
                      <a:pt x="50" y="22"/>
                    </a:lnTo>
                    <a:lnTo>
                      <a:pt x="46" y="12"/>
                    </a:lnTo>
                    <a:lnTo>
                      <a:pt x="40" y="6"/>
                    </a:lnTo>
                    <a:lnTo>
                      <a:pt x="32" y="2"/>
                    </a:lnTo>
                    <a:lnTo>
                      <a:pt x="32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24" name="Freeform 60"/>
              <p:cNvSpPr>
                <a:spLocks/>
              </p:cNvSpPr>
              <p:nvPr userDrawn="1"/>
            </p:nvSpPr>
            <p:spPr bwMode="auto">
              <a:xfrm>
                <a:off x="7597775" y="4664075"/>
                <a:ext cx="79375" cy="79375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4" y="12"/>
                  </a:cxn>
                  <a:cxn ang="0">
                    <a:pos x="2" y="18"/>
                  </a:cxn>
                  <a:cxn ang="0">
                    <a:pos x="2" y="18"/>
                  </a:cxn>
                  <a:cxn ang="0">
                    <a:pos x="0" y="28"/>
                  </a:cxn>
                  <a:cxn ang="0">
                    <a:pos x="4" y="38"/>
                  </a:cxn>
                  <a:cxn ang="0">
                    <a:pos x="10" y="44"/>
                  </a:cxn>
                  <a:cxn ang="0">
                    <a:pos x="18" y="50"/>
                  </a:cxn>
                  <a:cxn ang="0">
                    <a:pos x="18" y="50"/>
                  </a:cxn>
                  <a:cxn ang="0">
                    <a:pos x="26" y="50"/>
                  </a:cxn>
                  <a:cxn ang="0">
                    <a:pos x="26" y="50"/>
                  </a:cxn>
                  <a:cxn ang="0">
                    <a:pos x="34" y="48"/>
                  </a:cxn>
                  <a:cxn ang="0">
                    <a:pos x="40" y="44"/>
                  </a:cxn>
                  <a:cxn ang="0">
                    <a:pos x="46" y="40"/>
                  </a:cxn>
                  <a:cxn ang="0">
                    <a:pos x="48" y="32"/>
                  </a:cxn>
                  <a:cxn ang="0">
                    <a:pos x="48" y="32"/>
                  </a:cxn>
                  <a:cxn ang="0">
                    <a:pos x="50" y="22"/>
                  </a:cxn>
                  <a:cxn ang="0">
                    <a:pos x="46" y="12"/>
                  </a:cxn>
                  <a:cxn ang="0">
                    <a:pos x="40" y="6"/>
                  </a:cxn>
                  <a:cxn ang="0">
                    <a:pos x="32" y="2"/>
                  </a:cxn>
                  <a:cxn ang="0">
                    <a:pos x="32" y="2"/>
                  </a:cxn>
                  <a:cxn ang="0">
                    <a:pos x="26" y="0"/>
                  </a:cxn>
                </a:cxnLst>
                <a:rect l="0" t="0" r="r" b="b"/>
                <a:pathLst>
                  <a:path w="50" h="50">
                    <a:moveTo>
                      <a:pt x="26" y="0"/>
                    </a:moveTo>
                    <a:lnTo>
                      <a:pt x="26" y="0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4" y="12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0" y="28"/>
                    </a:lnTo>
                    <a:lnTo>
                      <a:pt x="4" y="38"/>
                    </a:lnTo>
                    <a:lnTo>
                      <a:pt x="10" y="44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34" y="48"/>
                    </a:lnTo>
                    <a:lnTo>
                      <a:pt x="40" y="44"/>
                    </a:lnTo>
                    <a:lnTo>
                      <a:pt x="46" y="40"/>
                    </a:lnTo>
                    <a:lnTo>
                      <a:pt x="48" y="32"/>
                    </a:lnTo>
                    <a:lnTo>
                      <a:pt x="48" y="32"/>
                    </a:lnTo>
                    <a:lnTo>
                      <a:pt x="50" y="22"/>
                    </a:lnTo>
                    <a:lnTo>
                      <a:pt x="46" y="12"/>
                    </a:lnTo>
                    <a:lnTo>
                      <a:pt x="40" y="6"/>
                    </a:lnTo>
                    <a:lnTo>
                      <a:pt x="32" y="2"/>
                    </a:lnTo>
                    <a:lnTo>
                      <a:pt x="32" y="2"/>
                    </a:lnTo>
                    <a:lnTo>
                      <a:pt x="2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25" name="Freeform 61"/>
              <p:cNvSpPr>
                <a:spLocks/>
              </p:cNvSpPr>
              <p:nvPr userDrawn="1"/>
            </p:nvSpPr>
            <p:spPr bwMode="auto">
              <a:xfrm>
                <a:off x="7575550" y="4975225"/>
                <a:ext cx="69850" cy="69850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6" y="0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4" y="32"/>
                  </a:cxn>
                  <a:cxn ang="0">
                    <a:pos x="8" y="40"/>
                  </a:cxn>
                  <a:cxn ang="0">
                    <a:pos x="16" y="44"/>
                  </a:cxn>
                  <a:cxn ang="0">
                    <a:pos x="16" y="44"/>
                  </a:cxn>
                  <a:cxn ang="0">
                    <a:pos x="22" y="44"/>
                  </a:cxn>
                  <a:cxn ang="0">
                    <a:pos x="22" y="44"/>
                  </a:cxn>
                  <a:cxn ang="0">
                    <a:pos x="30" y="42"/>
                  </a:cxn>
                  <a:cxn ang="0">
                    <a:pos x="36" y="40"/>
                  </a:cxn>
                  <a:cxn ang="0">
                    <a:pos x="40" y="34"/>
                  </a:cxn>
                  <a:cxn ang="0">
                    <a:pos x="44" y="28"/>
                  </a:cxn>
                  <a:cxn ang="0">
                    <a:pos x="44" y="28"/>
                  </a:cxn>
                  <a:cxn ang="0">
                    <a:pos x="44" y="18"/>
                  </a:cxn>
                  <a:cxn ang="0">
                    <a:pos x="42" y="10"/>
                  </a:cxn>
                  <a:cxn ang="0">
                    <a:pos x="36" y="4"/>
                  </a:cxn>
                  <a:cxn ang="0">
                    <a:pos x="28" y="0"/>
                  </a:cxn>
                  <a:cxn ang="0">
                    <a:pos x="28" y="0"/>
                  </a:cxn>
                  <a:cxn ang="0">
                    <a:pos x="22" y="0"/>
                  </a:cxn>
                </a:cxnLst>
                <a:rect l="0" t="0" r="r" b="b"/>
                <a:pathLst>
                  <a:path w="44" h="44">
                    <a:moveTo>
                      <a:pt x="22" y="0"/>
                    </a:moveTo>
                    <a:lnTo>
                      <a:pt x="22" y="0"/>
                    </a:lnTo>
                    <a:lnTo>
                      <a:pt x="16" y="0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4" y="32"/>
                    </a:lnTo>
                    <a:lnTo>
                      <a:pt x="8" y="40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30" y="42"/>
                    </a:lnTo>
                    <a:lnTo>
                      <a:pt x="36" y="40"/>
                    </a:lnTo>
                    <a:lnTo>
                      <a:pt x="40" y="34"/>
                    </a:lnTo>
                    <a:lnTo>
                      <a:pt x="44" y="28"/>
                    </a:lnTo>
                    <a:lnTo>
                      <a:pt x="44" y="28"/>
                    </a:lnTo>
                    <a:lnTo>
                      <a:pt x="44" y="18"/>
                    </a:lnTo>
                    <a:lnTo>
                      <a:pt x="42" y="10"/>
                    </a:lnTo>
                    <a:lnTo>
                      <a:pt x="36" y="4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26" name="Freeform 62"/>
              <p:cNvSpPr>
                <a:spLocks/>
              </p:cNvSpPr>
              <p:nvPr userDrawn="1"/>
            </p:nvSpPr>
            <p:spPr bwMode="auto">
              <a:xfrm>
                <a:off x="7575550" y="4975225"/>
                <a:ext cx="69850" cy="69850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6" y="0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4" y="32"/>
                  </a:cxn>
                  <a:cxn ang="0">
                    <a:pos x="8" y="40"/>
                  </a:cxn>
                  <a:cxn ang="0">
                    <a:pos x="16" y="44"/>
                  </a:cxn>
                  <a:cxn ang="0">
                    <a:pos x="16" y="44"/>
                  </a:cxn>
                  <a:cxn ang="0">
                    <a:pos x="22" y="44"/>
                  </a:cxn>
                  <a:cxn ang="0">
                    <a:pos x="22" y="44"/>
                  </a:cxn>
                  <a:cxn ang="0">
                    <a:pos x="30" y="42"/>
                  </a:cxn>
                  <a:cxn ang="0">
                    <a:pos x="36" y="40"/>
                  </a:cxn>
                  <a:cxn ang="0">
                    <a:pos x="40" y="34"/>
                  </a:cxn>
                  <a:cxn ang="0">
                    <a:pos x="44" y="28"/>
                  </a:cxn>
                  <a:cxn ang="0">
                    <a:pos x="44" y="28"/>
                  </a:cxn>
                  <a:cxn ang="0">
                    <a:pos x="44" y="18"/>
                  </a:cxn>
                  <a:cxn ang="0">
                    <a:pos x="42" y="10"/>
                  </a:cxn>
                  <a:cxn ang="0">
                    <a:pos x="36" y="4"/>
                  </a:cxn>
                  <a:cxn ang="0">
                    <a:pos x="28" y="0"/>
                  </a:cxn>
                  <a:cxn ang="0">
                    <a:pos x="28" y="0"/>
                  </a:cxn>
                  <a:cxn ang="0">
                    <a:pos x="22" y="0"/>
                  </a:cxn>
                </a:cxnLst>
                <a:rect l="0" t="0" r="r" b="b"/>
                <a:pathLst>
                  <a:path w="44" h="44">
                    <a:moveTo>
                      <a:pt x="22" y="0"/>
                    </a:moveTo>
                    <a:lnTo>
                      <a:pt x="22" y="0"/>
                    </a:lnTo>
                    <a:lnTo>
                      <a:pt x="16" y="0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4" y="32"/>
                    </a:lnTo>
                    <a:lnTo>
                      <a:pt x="8" y="40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30" y="42"/>
                    </a:lnTo>
                    <a:lnTo>
                      <a:pt x="36" y="40"/>
                    </a:lnTo>
                    <a:lnTo>
                      <a:pt x="40" y="34"/>
                    </a:lnTo>
                    <a:lnTo>
                      <a:pt x="44" y="28"/>
                    </a:lnTo>
                    <a:lnTo>
                      <a:pt x="44" y="28"/>
                    </a:lnTo>
                    <a:lnTo>
                      <a:pt x="44" y="18"/>
                    </a:lnTo>
                    <a:lnTo>
                      <a:pt x="42" y="10"/>
                    </a:lnTo>
                    <a:lnTo>
                      <a:pt x="36" y="4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27" name="Freeform 63"/>
              <p:cNvSpPr>
                <a:spLocks/>
              </p:cNvSpPr>
              <p:nvPr userDrawn="1"/>
            </p:nvSpPr>
            <p:spPr bwMode="auto">
              <a:xfrm>
                <a:off x="7499350" y="5273675"/>
                <a:ext cx="63500" cy="63500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2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2" y="30"/>
                  </a:cxn>
                  <a:cxn ang="0">
                    <a:pos x="8" y="36"/>
                  </a:cxn>
                  <a:cxn ang="0">
                    <a:pos x="16" y="40"/>
                  </a:cxn>
                  <a:cxn ang="0">
                    <a:pos x="16" y="40"/>
                  </a:cxn>
                  <a:cxn ang="0">
                    <a:pos x="20" y="40"/>
                  </a:cxn>
                  <a:cxn ang="0">
                    <a:pos x="20" y="40"/>
                  </a:cxn>
                  <a:cxn ang="0">
                    <a:pos x="26" y="40"/>
                  </a:cxn>
                  <a:cxn ang="0">
                    <a:pos x="32" y="36"/>
                  </a:cxn>
                  <a:cxn ang="0">
                    <a:pos x="36" y="32"/>
                  </a:cxn>
                  <a:cxn ang="0">
                    <a:pos x="40" y="26"/>
                  </a:cxn>
                  <a:cxn ang="0">
                    <a:pos x="40" y="26"/>
                  </a:cxn>
                  <a:cxn ang="0">
                    <a:pos x="40" y="18"/>
                  </a:cxn>
                  <a:cxn ang="0">
                    <a:pos x="38" y="10"/>
                  </a:cxn>
                  <a:cxn ang="0">
                    <a:pos x="32" y="4"/>
                  </a:cxn>
                  <a:cxn ang="0">
                    <a:pos x="26" y="2"/>
                  </a:cxn>
                  <a:cxn ang="0">
                    <a:pos x="26" y="2"/>
                  </a:cxn>
                  <a:cxn ang="0">
                    <a:pos x="20" y="0"/>
                  </a:cxn>
                </a:cxnLst>
                <a:rect l="0" t="0" r="r" b="b"/>
                <a:pathLst>
                  <a:path w="40" h="40">
                    <a:moveTo>
                      <a:pt x="20" y="0"/>
                    </a:moveTo>
                    <a:lnTo>
                      <a:pt x="20" y="0"/>
                    </a:lnTo>
                    <a:lnTo>
                      <a:pt x="14" y="2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2" y="30"/>
                    </a:lnTo>
                    <a:lnTo>
                      <a:pt x="8" y="36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6" y="40"/>
                    </a:lnTo>
                    <a:lnTo>
                      <a:pt x="32" y="36"/>
                    </a:lnTo>
                    <a:lnTo>
                      <a:pt x="36" y="32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18"/>
                    </a:lnTo>
                    <a:lnTo>
                      <a:pt x="38" y="10"/>
                    </a:lnTo>
                    <a:lnTo>
                      <a:pt x="32" y="4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28" name="Freeform 64"/>
              <p:cNvSpPr>
                <a:spLocks/>
              </p:cNvSpPr>
              <p:nvPr userDrawn="1"/>
            </p:nvSpPr>
            <p:spPr bwMode="auto">
              <a:xfrm>
                <a:off x="7499350" y="5273675"/>
                <a:ext cx="63500" cy="63500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2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2" y="30"/>
                  </a:cxn>
                  <a:cxn ang="0">
                    <a:pos x="8" y="36"/>
                  </a:cxn>
                  <a:cxn ang="0">
                    <a:pos x="16" y="40"/>
                  </a:cxn>
                  <a:cxn ang="0">
                    <a:pos x="16" y="40"/>
                  </a:cxn>
                  <a:cxn ang="0">
                    <a:pos x="20" y="40"/>
                  </a:cxn>
                  <a:cxn ang="0">
                    <a:pos x="20" y="40"/>
                  </a:cxn>
                  <a:cxn ang="0">
                    <a:pos x="26" y="40"/>
                  </a:cxn>
                  <a:cxn ang="0">
                    <a:pos x="32" y="36"/>
                  </a:cxn>
                  <a:cxn ang="0">
                    <a:pos x="36" y="32"/>
                  </a:cxn>
                  <a:cxn ang="0">
                    <a:pos x="40" y="26"/>
                  </a:cxn>
                  <a:cxn ang="0">
                    <a:pos x="40" y="26"/>
                  </a:cxn>
                  <a:cxn ang="0">
                    <a:pos x="40" y="18"/>
                  </a:cxn>
                  <a:cxn ang="0">
                    <a:pos x="38" y="10"/>
                  </a:cxn>
                  <a:cxn ang="0">
                    <a:pos x="32" y="4"/>
                  </a:cxn>
                  <a:cxn ang="0">
                    <a:pos x="26" y="2"/>
                  </a:cxn>
                  <a:cxn ang="0">
                    <a:pos x="26" y="2"/>
                  </a:cxn>
                  <a:cxn ang="0">
                    <a:pos x="20" y="0"/>
                  </a:cxn>
                </a:cxnLst>
                <a:rect l="0" t="0" r="r" b="b"/>
                <a:pathLst>
                  <a:path w="40" h="40">
                    <a:moveTo>
                      <a:pt x="20" y="0"/>
                    </a:moveTo>
                    <a:lnTo>
                      <a:pt x="20" y="0"/>
                    </a:lnTo>
                    <a:lnTo>
                      <a:pt x="14" y="2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2" y="30"/>
                    </a:lnTo>
                    <a:lnTo>
                      <a:pt x="8" y="36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6" y="40"/>
                    </a:lnTo>
                    <a:lnTo>
                      <a:pt x="32" y="36"/>
                    </a:lnTo>
                    <a:lnTo>
                      <a:pt x="36" y="32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18"/>
                    </a:lnTo>
                    <a:lnTo>
                      <a:pt x="38" y="10"/>
                    </a:lnTo>
                    <a:lnTo>
                      <a:pt x="32" y="4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29" name="Freeform 65"/>
              <p:cNvSpPr>
                <a:spLocks/>
              </p:cNvSpPr>
              <p:nvPr userDrawn="1"/>
            </p:nvSpPr>
            <p:spPr bwMode="auto">
              <a:xfrm>
                <a:off x="6102350" y="2889250"/>
                <a:ext cx="161925" cy="161925"/>
              </a:xfrm>
              <a:custGeom>
                <a:avLst/>
                <a:gdLst/>
                <a:ahLst/>
                <a:cxnLst>
                  <a:cxn ang="0">
                    <a:pos x="50" y="0"/>
                  </a:cxn>
                  <a:cxn ang="0">
                    <a:pos x="50" y="0"/>
                  </a:cxn>
                  <a:cxn ang="0">
                    <a:pos x="42" y="0"/>
                  </a:cxn>
                  <a:cxn ang="0">
                    <a:pos x="34" y="2"/>
                  </a:cxn>
                  <a:cxn ang="0">
                    <a:pos x="26" y="6"/>
                  </a:cxn>
                  <a:cxn ang="0">
                    <a:pos x="20" y="10"/>
                  </a:cxn>
                  <a:cxn ang="0">
                    <a:pos x="14" y="16"/>
                  </a:cxn>
                  <a:cxn ang="0">
                    <a:pos x="8" y="22"/>
                  </a:cxn>
                  <a:cxn ang="0">
                    <a:pos x="4" y="30"/>
                  </a:cxn>
                  <a:cxn ang="0">
                    <a:pos x="0" y="38"/>
                  </a:cxn>
                  <a:cxn ang="0">
                    <a:pos x="0" y="38"/>
                  </a:cxn>
                  <a:cxn ang="0">
                    <a:pos x="0" y="48"/>
                  </a:cxn>
                  <a:cxn ang="0">
                    <a:pos x="0" y="58"/>
                  </a:cxn>
                  <a:cxn ang="0">
                    <a:pos x="2" y="68"/>
                  </a:cxn>
                  <a:cxn ang="0">
                    <a:pos x="6" y="76"/>
                  </a:cxn>
                  <a:cxn ang="0">
                    <a:pos x="12" y="84"/>
                  </a:cxn>
                  <a:cxn ang="0">
                    <a:pos x="18" y="92"/>
                  </a:cxn>
                  <a:cxn ang="0">
                    <a:pos x="28" y="96"/>
                  </a:cxn>
                  <a:cxn ang="0">
                    <a:pos x="38" y="100"/>
                  </a:cxn>
                  <a:cxn ang="0">
                    <a:pos x="38" y="100"/>
                  </a:cxn>
                  <a:cxn ang="0">
                    <a:pos x="50" y="102"/>
                  </a:cxn>
                  <a:cxn ang="0">
                    <a:pos x="50" y="102"/>
                  </a:cxn>
                  <a:cxn ang="0">
                    <a:pos x="60" y="102"/>
                  </a:cxn>
                  <a:cxn ang="0">
                    <a:pos x="68" y="100"/>
                  </a:cxn>
                  <a:cxn ang="0">
                    <a:pos x="74" y="96"/>
                  </a:cxn>
                  <a:cxn ang="0">
                    <a:pos x="82" y="92"/>
                  </a:cxn>
                  <a:cxn ang="0">
                    <a:pos x="88" y="86"/>
                  </a:cxn>
                  <a:cxn ang="0">
                    <a:pos x="94" y="80"/>
                  </a:cxn>
                  <a:cxn ang="0">
                    <a:pos x="98" y="72"/>
                  </a:cxn>
                  <a:cxn ang="0">
                    <a:pos x="100" y="64"/>
                  </a:cxn>
                  <a:cxn ang="0">
                    <a:pos x="100" y="64"/>
                  </a:cxn>
                  <a:cxn ang="0">
                    <a:pos x="102" y="54"/>
                  </a:cxn>
                  <a:cxn ang="0">
                    <a:pos x="102" y="44"/>
                  </a:cxn>
                  <a:cxn ang="0">
                    <a:pos x="100" y="34"/>
                  </a:cxn>
                  <a:cxn ang="0">
                    <a:pos x="96" y="26"/>
                  </a:cxn>
                  <a:cxn ang="0">
                    <a:pos x="90" y="18"/>
                  </a:cxn>
                  <a:cxn ang="0">
                    <a:pos x="82" y="10"/>
                  </a:cxn>
                  <a:cxn ang="0">
                    <a:pos x="74" y="4"/>
                  </a:cxn>
                  <a:cxn ang="0">
                    <a:pos x="64" y="2"/>
                  </a:cxn>
                  <a:cxn ang="0">
                    <a:pos x="64" y="2"/>
                  </a:cxn>
                  <a:cxn ang="0">
                    <a:pos x="50" y="0"/>
                  </a:cxn>
                </a:cxnLst>
                <a:rect l="0" t="0" r="r" b="b"/>
                <a:pathLst>
                  <a:path w="102" h="102">
                    <a:moveTo>
                      <a:pt x="50" y="0"/>
                    </a:moveTo>
                    <a:lnTo>
                      <a:pt x="50" y="0"/>
                    </a:lnTo>
                    <a:lnTo>
                      <a:pt x="42" y="0"/>
                    </a:lnTo>
                    <a:lnTo>
                      <a:pt x="34" y="2"/>
                    </a:lnTo>
                    <a:lnTo>
                      <a:pt x="26" y="6"/>
                    </a:lnTo>
                    <a:lnTo>
                      <a:pt x="20" y="10"/>
                    </a:lnTo>
                    <a:lnTo>
                      <a:pt x="14" y="16"/>
                    </a:lnTo>
                    <a:lnTo>
                      <a:pt x="8" y="22"/>
                    </a:lnTo>
                    <a:lnTo>
                      <a:pt x="4" y="30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48"/>
                    </a:lnTo>
                    <a:lnTo>
                      <a:pt x="0" y="58"/>
                    </a:lnTo>
                    <a:lnTo>
                      <a:pt x="2" y="68"/>
                    </a:lnTo>
                    <a:lnTo>
                      <a:pt x="6" y="76"/>
                    </a:lnTo>
                    <a:lnTo>
                      <a:pt x="12" y="84"/>
                    </a:lnTo>
                    <a:lnTo>
                      <a:pt x="18" y="92"/>
                    </a:lnTo>
                    <a:lnTo>
                      <a:pt x="28" y="96"/>
                    </a:lnTo>
                    <a:lnTo>
                      <a:pt x="38" y="100"/>
                    </a:lnTo>
                    <a:lnTo>
                      <a:pt x="38" y="100"/>
                    </a:lnTo>
                    <a:lnTo>
                      <a:pt x="50" y="102"/>
                    </a:lnTo>
                    <a:lnTo>
                      <a:pt x="50" y="102"/>
                    </a:lnTo>
                    <a:lnTo>
                      <a:pt x="60" y="102"/>
                    </a:lnTo>
                    <a:lnTo>
                      <a:pt x="68" y="100"/>
                    </a:lnTo>
                    <a:lnTo>
                      <a:pt x="74" y="96"/>
                    </a:lnTo>
                    <a:lnTo>
                      <a:pt x="82" y="92"/>
                    </a:lnTo>
                    <a:lnTo>
                      <a:pt x="88" y="86"/>
                    </a:lnTo>
                    <a:lnTo>
                      <a:pt x="94" y="80"/>
                    </a:lnTo>
                    <a:lnTo>
                      <a:pt x="98" y="72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2" y="54"/>
                    </a:lnTo>
                    <a:lnTo>
                      <a:pt x="102" y="44"/>
                    </a:lnTo>
                    <a:lnTo>
                      <a:pt x="100" y="34"/>
                    </a:lnTo>
                    <a:lnTo>
                      <a:pt x="96" y="26"/>
                    </a:lnTo>
                    <a:lnTo>
                      <a:pt x="90" y="18"/>
                    </a:lnTo>
                    <a:lnTo>
                      <a:pt x="82" y="10"/>
                    </a:lnTo>
                    <a:lnTo>
                      <a:pt x="74" y="4"/>
                    </a:lnTo>
                    <a:lnTo>
                      <a:pt x="64" y="2"/>
                    </a:lnTo>
                    <a:lnTo>
                      <a:pt x="64" y="2"/>
                    </a:lnTo>
                    <a:lnTo>
                      <a:pt x="5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30" name="Freeform 66"/>
              <p:cNvSpPr>
                <a:spLocks/>
              </p:cNvSpPr>
              <p:nvPr userDrawn="1"/>
            </p:nvSpPr>
            <p:spPr bwMode="auto">
              <a:xfrm>
                <a:off x="6102350" y="2889250"/>
                <a:ext cx="161925" cy="161925"/>
              </a:xfrm>
              <a:custGeom>
                <a:avLst/>
                <a:gdLst/>
                <a:ahLst/>
                <a:cxnLst>
                  <a:cxn ang="0">
                    <a:pos x="50" y="0"/>
                  </a:cxn>
                  <a:cxn ang="0">
                    <a:pos x="50" y="0"/>
                  </a:cxn>
                  <a:cxn ang="0">
                    <a:pos x="42" y="0"/>
                  </a:cxn>
                  <a:cxn ang="0">
                    <a:pos x="34" y="2"/>
                  </a:cxn>
                  <a:cxn ang="0">
                    <a:pos x="26" y="6"/>
                  </a:cxn>
                  <a:cxn ang="0">
                    <a:pos x="20" y="10"/>
                  </a:cxn>
                  <a:cxn ang="0">
                    <a:pos x="14" y="16"/>
                  </a:cxn>
                  <a:cxn ang="0">
                    <a:pos x="8" y="22"/>
                  </a:cxn>
                  <a:cxn ang="0">
                    <a:pos x="4" y="30"/>
                  </a:cxn>
                  <a:cxn ang="0">
                    <a:pos x="0" y="38"/>
                  </a:cxn>
                  <a:cxn ang="0">
                    <a:pos x="0" y="38"/>
                  </a:cxn>
                  <a:cxn ang="0">
                    <a:pos x="0" y="48"/>
                  </a:cxn>
                  <a:cxn ang="0">
                    <a:pos x="0" y="58"/>
                  </a:cxn>
                  <a:cxn ang="0">
                    <a:pos x="2" y="68"/>
                  </a:cxn>
                  <a:cxn ang="0">
                    <a:pos x="6" y="76"/>
                  </a:cxn>
                  <a:cxn ang="0">
                    <a:pos x="12" y="84"/>
                  </a:cxn>
                  <a:cxn ang="0">
                    <a:pos x="18" y="92"/>
                  </a:cxn>
                  <a:cxn ang="0">
                    <a:pos x="28" y="96"/>
                  </a:cxn>
                  <a:cxn ang="0">
                    <a:pos x="38" y="100"/>
                  </a:cxn>
                  <a:cxn ang="0">
                    <a:pos x="38" y="100"/>
                  </a:cxn>
                  <a:cxn ang="0">
                    <a:pos x="50" y="102"/>
                  </a:cxn>
                  <a:cxn ang="0">
                    <a:pos x="50" y="102"/>
                  </a:cxn>
                  <a:cxn ang="0">
                    <a:pos x="60" y="102"/>
                  </a:cxn>
                  <a:cxn ang="0">
                    <a:pos x="68" y="100"/>
                  </a:cxn>
                  <a:cxn ang="0">
                    <a:pos x="74" y="96"/>
                  </a:cxn>
                  <a:cxn ang="0">
                    <a:pos x="82" y="92"/>
                  </a:cxn>
                  <a:cxn ang="0">
                    <a:pos x="88" y="86"/>
                  </a:cxn>
                  <a:cxn ang="0">
                    <a:pos x="94" y="80"/>
                  </a:cxn>
                  <a:cxn ang="0">
                    <a:pos x="98" y="72"/>
                  </a:cxn>
                  <a:cxn ang="0">
                    <a:pos x="100" y="64"/>
                  </a:cxn>
                  <a:cxn ang="0">
                    <a:pos x="100" y="64"/>
                  </a:cxn>
                  <a:cxn ang="0">
                    <a:pos x="102" y="54"/>
                  </a:cxn>
                  <a:cxn ang="0">
                    <a:pos x="102" y="44"/>
                  </a:cxn>
                  <a:cxn ang="0">
                    <a:pos x="100" y="34"/>
                  </a:cxn>
                  <a:cxn ang="0">
                    <a:pos x="96" y="26"/>
                  </a:cxn>
                  <a:cxn ang="0">
                    <a:pos x="90" y="18"/>
                  </a:cxn>
                  <a:cxn ang="0">
                    <a:pos x="82" y="10"/>
                  </a:cxn>
                  <a:cxn ang="0">
                    <a:pos x="74" y="4"/>
                  </a:cxn>
                  <a:cxn ang="0">
                    <a:pos x="64" y="2"/>
                  </a:cxn>
                  <a:cxn ang="0">
                    <a:pos x="64" y="2"/>
                  </a:cxn>
                  <a:cxn ang="0">
                    <a:pos x="50" y="0"/>
                  </a:cxn>
                </a:cxnLst>
                <a:rect l="0" t="0" r="r" b="b"/>
                <a:pathLst>
                  <a:path w="102" h="102">
                    <a:moveTo>
                      <a:pt x="50" y="0"/>
                    </a:moveTo>
                    <a:lnTo>
                      <a:pt x="50" y="0"/>
                    </a:lnTo>
                    <a:lnTo>
                      <a:pt x="42" y="0"/>
                    </a:lnTo>
                    <a:lnTo>
                      <a:pt x="34" y="2"/>
                    </a:lnTo>
                    <a:lnTo>
                      <a:pt x="26" y="6"/>
                    </a:lnTo>
                    <a:lnTo>
                      <a:pt x="20" y="10"/>
                    </a:lnTo>
                    <a:lnTo>
                      <a:pt x="14" y="16"/>
                    </a:lnTo>
                    <a:lnTo>
                      <a:pt x="8" y="22"/>
                    </a:lnTo>
                    <a:lnTo>
                      <a:pt x="4" y="30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48"/>
                    </a:lnTo>
                    <a:lnTo>
                      <a:pt x="0" y="58"/>
                    </a:lnTo>
                    <a:lnTo>
                      <a:pt x="2" y="68"/>
                    </a:lnTo>
                    <a:lnTo>
                      <a:pt x="6" y="76"/>
                    </a:lnTo>
                    <a:lnTo>
                      <a:pt x="12" y="84"/>
                    </a:lnTo>
                    <a:lnTo>
                      <a:pt x="18" y="92"/>
                    </a:lnTo>
                    <a:lnTo>
                      <a:pt x="28" y="96"/>
                    </a:lnTo>
                    <a:lnTo>
                      <a:pt x="38" y="100"/>
                    </a:lnTo>
                    <a:lnTo>
                      <a:pt x="38" y="100"/>
                    </a:lnTo>
                    <a:lnTo>
                      <a:pt x="50" y="102"/>
                    </a:lnTo>
                    <a:lnTo>
                      <a:pt x="50" y="102"/>
                    </a:lnTo>
                    <a:lnTo>
                      <a:pt x="60" y="102"/>
                    </a:lnTo>
                    <a:lnTo>
                      <a:pt x="68" y="100"/>
                    </a:lnTo>
                    <a:lnTo>
                      <a:pt x="74" y="96"/>
                    </a:lnTo>
                    <a:lnTo>
                      <a:pt x="82" y="92"/>
                    </a:lnTo>
                    <a:lnTo>
                      <a:pt x="88" y="86"/>
                    </a:lnTo>
                    <a:lnTo>
                      <a:pt x="94" y="80"/>
                    </a:lnTo>
                    <a:lnTo>
                      <a:pt x="98" y="72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2" y="54"/>
                    </a:lnTo>
                    <a:lnTo>
                      <a:pt x="102" y="44"/>
                    </a:lnTo>
                    <a:lnTo>
                      <a:pt x="100" y="34"/>
                    </a:lnTo>
                    <a:lnTo>
                      <a:pt x="96" y="26"/>
                    </a:lnTo>
                    <a:lnTo>
                      <a:pt x="90" y="18"/>
                    </a:lnTo>
                    <a:lnTo>
                      <a:pt x="82" y="10"/>
                    </a:lnTo>
                    <a:lnTo>
                      <a:pt x="74" y="4"/>
                    </a:lnTo>
                    <a:lnTo>
                      <a:pt x="64" y="2"/>
                    </a:lnTo>
                    <a:lnTo>
                      <a:pt x="64" y="2"/>
                    </a:lnTo>
                    <a:lnTo>
                      <a:pt x="5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31" name="Freeform 67"/>
              <p:cNvSpPr>
                <a:spLocks/>
              </p:cNvSpPr>
              <p:nvPr userDrawn="1"/>
            </p:nvSpPr>
            <p:spPr bwMode="auto">
              <a:xfrm>
                <a:off x="5803900" y="2870200"/>
                <a:ext cx="146050" cy="146050"/>
              </a:xfrm>
              <a:custGeom>
                <a:avLst/>
                <a:gdLst/>
                <a:ahLst/>
                <a:cxnLst>
                  <a:cxn ang="0">
                    <a:pos x="46" y="0"/>
                  </a:cxn>
                  <a:cxn ang="0">
                    <a:pos x="46" y="0"/>
                  </a:cxn>
                  <a:cxn ang="0">
                    <a:pos x="38" y="0"/>
                  </a:cxn>
                  <a:cxn ang="0">
                    <a:pos x="32" y="2"/>
                  </a:cxn>
                  <a:cxn ang="0">
                    <a:pos x="18" y="10"/>
                  </a:cxn>
                  <a:cxn ang="0">
                    <a:pos x="12" y="14"/>
                  </a:cxn>
                  <a:cxn ang="0">
                    <a:pos x="8" y="20"/>
                  </a:cxn>
                  <a:cxn ang="0">
                    <a:pos x="4" y="26"/>
                  </a:cxn>
                  <a:cxn ang="0">
                    <a:pos x="2" y="34"/>
                  </a:cxn>
                  <a:cxn ang="0">
                    <a:pos x="2" y="34"/>
                  </a:cxn>
                  <a:cxn ang="0">
                    <a:pos x="0" y="44"/>
                  </a:cxn>
                  <a:cxn ang="0">
                    <a:pos x="0" y="52"/>
                  </a:cxn>
                  <a:cxn ang="0">
                    <a:pos x="2" y="62"/>
                  </a:cxn>
                  <a:cxn ang="0">
                    <a:pos x="6" y="70"/>
                  </a:cxn>
                  <a:cxn ang="0">
                    <a:pos x="10" y="76"/>
                  </a:cxn>
                  <a:cxn ang="0">
                    <a:pos x="18" y="82"/>
                  </a:cxn>
                  <a:cxn ang="0">
                    <a:pos x="26" y="88"/>
                  </a:cxn>
                  <a:cxn ang="0">
                    <a:pos x="34" y="90"/>
                  </a:cxn>
                  <a:cxn ang="0">
                    <a:pos x="34" y="90"/>
                  </a:cxn>
                  <a:cxn ang="0">
                    <a:pos x="46" y="92"/>
                  </a:cxn>
                  <a:cxn ang="0">
                    <a:pos x="46" y="92"/>
                  </a:cxn>
                  <a:cxn ang="0">
                    <a:pos x="54" y="92"/>
                  </a:cxn>
                  <a:cxn ang="0">
                    <a:pos x="60" y="90"/>
                  </a:cxn>
                  <a:cxn ang="0">
                    <a:pos x="74" y="82"/>
                  </a:cxn>
                  <a:cxn ang="0">
                    <a:pos x="80" y="78"/>
                  </a:cxn>
                  <a:cxn ang="0">
                    <a:pos x="84" y="72"/>
                  </a:cxn>
                  <a:cxn ang="0">
                    <a:pos x="88" y="66"/>
                  </a:cxn>
                  <a:cxn ang="0">
                    <a:pos x="90" y="58"/>
                  </a:cxn>
                  <a:cxn ang="0">
                    <a:pos x="90" y="58"/>
                  </a:cxn>
                  <a:cxn ang="0">
                    <a:pos x="92" y="48"/>
                  </a:cxn>
                  <a:cxn ang="0">
                    <a:pos x="92" y="40"/>
                  </a:cxn>
                  <a:cxn ang="0">
                    <a:pos x="90" y="30"/>
                  </a:cxn>
                  <a:cxn ang="0">
                    <a:pos x="86" y="22"/>
                  </a:cxn>
                  <a:cxn ang="0">
                    <a:pos x="82" y="16"/>
                  </a:cxn>
                  <a:cxn ang="0">
                    <a:pos x="74" y="10"/>
                  </a:cxn>
                  <a:cxn ang="0">
                    <a:pos x="66" y="4"/>
                  </a:cxn>
                  <a:cxn ang="0">
                    <a:pos x="58" y="2"/>
                  </a:cxn>
                  <a:cxn ang="0">
                    <a:pos x="58" y="2"/>
                  </a:cxn>
                  <a:cxn ang="0">
                    <a:pos x="46" y="0"/>
                  </a:cxn>
                </a:cxnLst>
                <a:rect l="0" t="0" r="r" b="b"/>
                <a:pathLst>
                  <a:path w="92" h="92">
                    <a:moveTo>
                      <a:pt x="46" y="0"/>
                    </a:moveTo>
                    <a:lnTo>
                      <a:pt x="46" y="0"/>
                    </a:lnTo>
                    <a:lnTo>
                      <a:pt x="38" y="0"/>
                    </a:lnTo>
                    <a:lnTo>
                      <a:pt x="32" y="2"/>
                    </a:lnTo>
                    <a:lnTo>
                      <a:pt x="18" y="10"/>
                    </a:lnTo>
                    <a:lnTo>
                      <a:pt x="12" y="14"/>
                    </a:lnTo>
                    <a:lnTo>
                      <a:pt x="8" y="20"/>
                    </a:lnTo>
                    <a:lnTo>
                      <a:pt x="4" y="26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0" y="44"/>
                    </a:lnTo>
                    <a:lnTo>
                      <a:pt x="0" y="52"/>
                    </a:lnTo>
                    <a:lnTo>
                      <a:pt x="2" y="62"/>
                    </a:lnTo>
                    <a:lnTo>
                      <a:pt x="6" y="70"/>
                    </a:lnTo>
                    <a:lnTo>
                      <a:pt x="10" y="76"/>
                    </a:lnTo>
                    <a:lnTo>
                      <a:pt x="18" y="82"/>
                    </a:lnTo>
                    <a:lnTo>
                      <a:pt x="26" y="88"/>
                    </a:lnTo>
                    <a:lnTo>
                      <a:pt x="34" y="90"/>
                    </a:lnTo>
                    <a:lnTo>
                      <a:pt x="34" y="90"/>
                    </a:lnTo>
                    <a:lnTo>
                      <a:pt x="46" y="92"/>
                    </a:lnTo>
                    <a:lnTo>
                      <a:pt x="46" y="92"/>
                    </a:lnTo>
                    <a:lnTo>
                      <a:pt x="54" y="92"/>
                    </a:lnTo>
                    <a:lnTo>
                      <a:pt x="60" y="90"/>
                    </a:lnTo>
                    <a:lnTo>
                      <a:pt x="74" y="82"/>
                    </a:lnTo>
                    <a:lnTo>
                      <a:pt x="80" y="78"/>
                    </a:lnTo>
                    <a:lnTo>
                      <a:pt x="84" y="72"/>
                    </a:lnTo>
                    <a:lnTo>
                      <a:pt x="88" y="66"/>
                    </a:lnTo>
                    <a:lnTo>
                      <a:pt x="90" y="58"/>
                    </a:lnTo>
                    <a:lnTo>
                      <a:pt x="90" y="58"/>
                    </a:lnTo>
                    <a:lnTo>
                      <a:pt x="92" y="48"/>
                    </a:lnTo>
                    <a:lnTo>
                      <a:pt x="92" y="40"/>
                    </a:lnTo>
                    <a:lnTo>
                      <a:pt x="90" y="30"/>
                    </a:lnTo>
                    <a:lnTo>
                      <a:pt x="86" y="22"/>
                    </a:lnTo>
                    <a:lnTo>
                      <a:pt x="82" y="16"/>
                    </a:lnTo>
                    <a:lnTo>
                      <a:pt x="74" y="10"/>
                    </a:lnTo>
                    <a:lnTo>
                      <a:pt x="66" y="4"/>
                    </a:lnTo>
                    <a:lnTo>
                      <a:pt x="58" y="2"/>
                    </a:lnTo>
                    <a:lnTo>
                      <a:pt x="58" y="2"/>
                    </a:lnTo>
                    <a:lnTo>
                      <a:pt x="4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32" name="Freeform 68"/>
              <p:cNvSpPr>
                <a:spLocks/>
              </p:cNvSpPr>
              <p:nvPr userDrawn="1"/>
            </p:nvSpPr>
            <p:spPr bwMode="auto">
              <a:xfrm>
                <a:off x="5803900" y="2870200"/>
                <a:ext cx="146050" cy="146050"/>
              </a:xfrm>
              <a:custGeom>
                <a:avLst/>
                <a:gdLst/>
                <a:ahLst/>
                <a:cxnLst>
                  <a:cxn ang="0">
                    <a:pos x="46" y="0"/>
                  </a:cxn>
                  <a:cxn ang="0">
                    <a:pos x="46" y="0"/>
                  </a:cxn>
                  <a:cxn ang="0">
                    <a:pos x="38" y="0"/>
                  </a:cxn>
                  <a:cxn ang="0">
                    <a:pos x="32" y="2"/>
                  </a:cxn>
                  <a:cxn ang="0">
                    <a:pos x="18" y="10"/>
                  </a:cxn>
                  <a:cxn ang="0">
                    <a:pos x="12" y="14"/>
                  </a:cxn>
                  <a:cxn ang="0">
                    <a:pos x="8" y="20"/>
                  </a:cxn>
                  <a:cxn ang="0">
                    <a:pos x="4" y="26"/>
                  </a:cxn>
                  <a:cxn ang="0">
                    <a:pos x="2" y="34"/>
                  </a:cxn>
                  <a:cxn ang="0">
                    <a:pos x="2" y="34"/>
                  </a:cxn>
                  <a:cxn ang="0">
                    <a:pos x="0" y="44"/>
                  </a:cxn>
                  <a:cxn ang="0">
                    <a:pos x="0" y="52"/>
                  </a:cxn>
                  <a:cxn ang="0">
                    <a:pos x="2" y="62"/>
                  </a:cxn>
                  <a:cxn ang="0">
                    <a:pos x="6" y="70"/>
                  </a:cxn>
                  <a:cxn ang="0">
                    <a:pos x="10" y="76"/>
                  </a:cxn>
                  <a:cxn ang="0">
                    <a:pos x="18" y="82"/>
                  </a:cxn>
                  <a:cxn ang="0">
                    <a:pos x="26" y="88"/>
                  </a:cxn>
                  <a:cxn ang="0">
                    <a:pos x="34" y="90"/>
                  </a:cxn>
                  <a:cxn ang="0">
                    <a:pos x="34" y="90"/>
                  </a:cxn>
                  <a:cxn ang="0">
                    <a:pos x="46" y="92"/>
                  </a:cxn>
                  <a:cxn ang="0">
                    <a:pos x="46" y="92"/>
                  </a:cxn>
                  <a:cxn ang="0">
                    <a:pos x="54" y="92"/>
                  </a:cxn>
                  <a:cxn ang="0">
                    <a:pos x="60" y="90"/>
                  </a:cxn>
                  <a:cxn ang="0">
                    <a:pos x="74" y="82"/>
                  </a:cxn>
                  <a:cxn ang="0">
                    <a:pos x="80" y="78"/>
                  </a:cxn>
                  <a:cxn ang="0">
                    <a:pos x="84" y="72"/>
                  </a:cxn>
                  <a:cxn ang="0">
                    <a:pos x="88" y="66"/>
                  </a:cxn>
                  <a:cxn ang="0">
                    <a:pos x="90" y="58"/>
                  </a:cxn>
                  <a:cxn ang="0">
                    <a:pos x="90" y="58"/>
                  </a:cxn>
                  <a:cxn ang="0">
                    <a:pos x="92" y="48"/>
                  </a:cxn>
                  <a:cxn ang="0">
                    <a:pos x="92" y="40"/>
                  </a:cxn>
                  <a:cxn ang="0">
                    <a:pos x="90" y="30"/>
                  </a:cxn>
                  <a:cxn ang="0">
                    <a:pos x="86" y="22"/>
                  </a:cxn>
                  <a:cxn ang="0">
                    <a:pos x="82" y="16"/>
                  </a:cxn>
                  <a:cxn ang="0">
                    <a:pos x="74" y="10"/>
                  </a:cxn>
                  <a:cxn ang="0">
                    <a:pos x="66" y="4"/>
                  </a:cxn>
                  <a:cxn ang="0">
                    <a:pos x="58" y="2"/>
                  </a:cxn>
                  <a:cxn ang="0">
                    <a:pos x="58" y="2"/>
                  </a:cxn>
                  <a:cxn ang="0">
                    <a:pos x="46" y="0"/>
                  </a:cxn>
                </a:cxnLst>
                <a:rect l="0" t="0" r="r" b="b"/>
                <a:pathLst>
                  <a:path w="92" h="92">
                    <a:moveTo>
                      <a:pt x="46" y="0"/>
                    </a:moveTo>
                    <a:lnTo>
                      <a:pt x="46" y="0"/>
                    </a:lnTo>
                    <a:lnTo>
                      <a:pt x="38" y="0"/>
                    </a:lnTo>
                    <a:lnTo>
                      <a:pt x="32" y="2"/>
                    </a:lnTo>
                    <a:lnTo>
                      <a:pt x="18" y="10"/>
                    </a:lnTo>
                    <a:lnTo>
                      <a:pt x="12" y="14"/>
                    </a:lnTo>
                    <a:lnTo>
                      <a:pt x="8" y="20"/>
                    </a:lnTo>
                    <a:lnTo>
                      <a:pt x="4" y="26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0" y="44"/>
                    </a:lnTo>
                    <a:lnTo>
                      <a:pt x="0" y="52"/>
                    </a:lnTo>
                    <a:lnTo>
                      <a:pt x="2" y="62"/>
                    </a:lnTo>
                    <a:lnTo>
                      <a:pt x="6" y="70"/>
                    </a:lnTo>
                    <a:lnTo>
                      <a:pt x="10" y="76"/>
                    </a:lnTo>
                    <a:lnTo>
                      <a:pt x="18" y="82"/>
                    </a:lnTo>
                    <a:lnTo>
                      <a:pt x="26" y="88"/>
                    </a:lnTo>
                    <a:lnTo>
                      <a:pt x="34" y="90"/>
                    </a:lnTo>
                    <a:lnTo>
                      <a:pt x="34" y="90"/>
                    </a:lnTo>
                    <a:lnTo>
                      <a:pt x="46" y="92"/>
                    </a:lnTo>
                    <a:lnTo>
                      <a:pt x="46" y="92"/>
                    </a:lnTo>
                    <a:lnTo>
                      <a:pt x="54" y="92"/>
                    </a:lnTo>
                    <a:lnTo>
                      <a:pt x="60" y="90"/>
                    </a:lnTo>
                    <a:lnTo>
                      <a:pt x="74" y="82"/>
                    </a:lnTo>
                    <a:lnTo>
                      <a:pt x="80" y="78"/>
                    </a:lnTo>
                    <a:lnTo>
                      <a:pt x="84" y="72"/>
                    </a:lnTo>
                    <a:lnTo>
                      <a:pt x="88" y="66"/>
                    </a:lnTo>
                    <a:lnTo>
                      <a:pt x="90" y="58"/>
                    </a:lnTo>
                    <a:lnTo>
                      <a:pt x="90" y="58"/>
                    </a:lnTo>
                    <a:lnTo>
                      <a:pt x="92" y="48"/>
                    </a:lnTo>
                    <a:lnTo>
                      <a:pt x="92" y="40"/>
                    </a:lnTo>
                    <a:lnTo>
                      <a:pt x="90" y="30"/>
                    </a:lnTo>
                    <a:lnTo>
                      <a:pt x="86" y="22"/>
                    </a:lnTo>
                    <a:lnTo>
                      <a:pt x="82" y="16"/>
                    </a:lnTo>
                    <a:lnTo>
                      <a:pt x="74" y="10"/>
                    </a:lnTo>
                    <a:lnTo>
                      <a:pt x="66" y="4"/>
                    </a:lnTo>
                    <a:lnTo>
                      <a:pt x="58" y="2"/>
                    </a:lnTo>
                    <a:lnTo>
                      <a:pt x="58" y="2"/>
                    </a:lnTo>
                    <a:lnTo>
                      <a:pt x="4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33" name="Freeform 69"/>
              <p:cNvSpPr>
                <a:spLocks/>
              </p:cNvSpPr>
              <p:nvPr userDrawn="1"/>
            </p:nvSpPr>
            <p:spPr bwMode="auto">
              <a:xfrm>
                <a:off x="5505450" y="2905125"/>
                <a:ext cx="133350" cy="130175"/>
              </a:xfrm>
              <a:custGeom>
                <a:avLst/>
                <a:gdLst/>
                <a:ahLst/>
                <a:cxnLst>
                  <a:cxn ang="0">
                    <a:pos x="42" y="0"/>
                  </a:cxn>
                  <a:cxn ang="0">
                    <a:pos x="42" y="0"/>
                  </a:cxn>
                  <a:cxn ang="0">
                    <a:pos x="28" y="2"/>
                  </a:cxn>
                  <a:cxn ang="0">
                    <a:pos x="16" y="8"/>
                  </a:cxn>
                  <a:cxn ang="0">
                    <a:pos x="6" y="18"/>
                  </a:cxn>
                  <a:cxn ang="0">
                    <a:pos x="4" y="24"/>
                  </a:cxn>
                  <a:cxn ang="0">
                    <a:pos x="2" y="30"/>
                  </a:cxn>
                  <a:cxn ang="0">
                    <a:pos x="2" y="30"/>
                  </a:cxn>
                  <a:cxn ang="0">
                    <a:pos x="0" y="38"/>
                  </a:cxn>
                  <a:cxn ang="0">
                    <a:pos x="0" y="46"/>
                  </a:cxn>
                  <a:cxn ang="0">
                    <a:pos x="2" y="54"/>
                  </a:cxn>
                  <a:cxn ang="0">
                    <a:pos x="6" y="62"/>
                  </a:cxn>
                  <a:cxn ang="0">
                    <a:pos x="10" y="68"/>
                  </a:cxn>
                  <a:cxn ang="0">
                    <a:pos x="16" y="74"/>
                  </a:cxn>
                  <a:cxn ang="0">
                    <a:pos x="22" y="78"/>
                  </a:cxn>
                  <a:cxn ang="0">
                    <a:pos x="30" y="82"/>
                  </a:cxn>
                  <a:cxn ang="0">
                    <a:pos x="30" y="82"/>
                  </a:cxn>
                  <a:cxn ang="0">
                    <a:pos x="42" y="82"/>
                  </a:cxn>
                  <a:cxn ang="0">
                    <a:pos x="42" y="82"/>
                  </a:cxn>
                  <a:cxn ang="0">
                    <a:pos x="54" y="80"/>
                  </a:cxn>
                  <a:cxn ang="0">
                    <a:pos x="66" y="74"/>
                  </a:cxn>
                  <a:cxn ang="0">
                    <a:pos x="76" y="64"/>
                  </a:cxn>
                  <a:cxn ang="0">
                    <a:pos x="80" y="58"/>
                  </a:cxn>
                  <a:cxn ang="0">
                    <a:pos x="82" y="52"/>
                  </a:cxn>
                  <a:cxn ang="0">
                    <a:pos x="82" y="52"/>
                  </a:cxn>
                  <a:cxn ang="0">
                    <a:pos x="84" y="44"/>
                  </a:cxn>
                  <a:cxn ang="0">
                    <a:pos x="82" y="36"/>
                  </a:cxn>
                  <a:cxn ang="0">
                    <a:pos x="80" y="28"/>
                  </a:cxn>
                  <a:cxn ang="0">
                    <a:pos x="78" y="20"/>
                  </a:cxn>
                  <a:cxn ang="0">
                    <a:pos x="72" y="14"/>
                  </a:cxn>
                  <a:cxn ang="0">
                    <a:pos x="68" y="8"/>
                  </a:cxn>
                  <a:cxn ang="0">
                    <a:pos x="60" y="4"/>
                  </a:cxn>
                  <a:cxn ang="0">
                    <a:pos x="52" y="0"/>
                  </a:cxn>
                  <a:cxn ang="0">
                    <a:pos x="52" y="0"/>
                  </a:cxn>
                  <a:cxn ang="0">
                    <a:pos x="42" y="0"/>
                  </a:cxn>
                </a:cxnLst>
                <a:rect l="0" t="0" r="r" b="b"/>
                <a:pathLst>
                  <a:path w="84" h="82">
                    <a:moveTo>
                      <a:pt x="42" y="0"/>
                    </a:moveTo>
                    <a:lnTo>
                      <a:pt x="42" y="0"/>
                    </a:lnTo>
                    <a:lnTo>
                      <a:pt x="28" y="2"/>
                    </a:lnTo>
                    <a:lnTo>
                      <a:pt x="16" y="8"/>
                    </a:lnTo>
                    <a:lnTo>
                      <a:pt x="6" y="18"/>
                    </a:lnTo>
                    <a:lnTo>
                      <a:pt x="4" y="24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0" y="38"/>
                    </a:lnTo>
                    <a:lnTo>
                      <a:pt x="0" y="46"/>
                    </a:lnTo>
                    <a:lnTo>
                      <a:pt x="2" y="54"/>
                    </a:lnTo>
                    <a:lnTo>
                      <a:pt x="6" y="62"/>
                    </a:lnTo>
                    <a:lnTo>
                      <a:pt x="10" y="68"/>
                    </a:lnTo>
                    <a:lnTo>
                      <a:pt x="16" y="74"/>
                    </a:lnTo>
                    <a:lnTo>
                      <a:pt x="22" y="78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42" y="82"/>
                    </a:lnTo>
                    <a:lnTo>
                      <a:pt x="42" y="82"/>
                    </a:lnTo>
                    <a:lnTo>
                      <a:pt x="54" y="80"/>
                    </a:lnTo>
                    <a:lnTo>
                      <a:pt x="66" y="74"/>
                    </a:lnTo>
                    <a:lnTo>
                      <a:pt x="76" y="64"/>
                    </a:lnTo>
                    <a:lnTo>
                      <a:pt x="80" y="58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4" y="44"/>
                    </a:lnTo>
                    <a:lnTo>
                      <a:pt x="82" y="36"/>
                    </a:lnTo>
                    <a:lnTo>
                      <a:pt x="80" y="28"/>
                    </a:lnTo>
                    <a:lnTo>
                      <a:pt x="78" y="20"/>
                    </a:lnTo>
                    <a:lnTo>
                      <a:pt x="72" y="14"/>
                    </a:lnTo>
                    <a:lnTo>
                      <a:pt x="68" y="8"/>
                    </a:lnTo>
                    <a:lnTo>
                      <a:pt x="60" y="4"/>
                    </a:lnTo>
                    <a:lnTo>
                      <a:pt x="52" y="0"/>
                    </a:lnTo>
                    <a:lnTo>
                      <a:pt x="52" y="0"/>
                    </a:lnTo>
                    <a:lnTo>
                      <a:pt x="4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34" name="Freeform 70"/>
              <p:cNvSpPr>
                <a:spLocks/>
              </p:cNvSpPr>
              <p:nvPr userDrawn="1"/>
            </p:nvSpPr>
            <p:spPr bwMode="auto">
              <a:xfrm>
                <a:off x="5505450" y="2905125"/>
                <a:ext cx="133350" cy="130175"/>
              </a:xfrm>
              <a:custGeom>
                <a:avLst/>
                <a:gdLst/>
                <a:ahLst/>
                <a:cxnLst>
                  <a:cxn ang="0">
                    <a:pos x="42" y="0"/>
                  </a:cxn>
                  <a:cxn ang="0">
                    <a:pos x="42" y="0"/>
                  </a:cxn>
                  <a:cxn ang="0">
                    <a:pos x="28" y="2"/>
                  </a:cxn>
                  <a:cxn ang="0">
                    <a:pos x="16" y="8"/>
                  </a:cxn>
                  <a:cxn ang="0">
                    <a:pos x="6" y="18"/>
                  </a:cxn>
                  <a:cxn ang="0">
                    <a:pos x="4" y="24"/>
                  </a:cxn>
                  <a:cxn ang="0">
                    <a:pos x="2" y="30"/>
                  </a:cxn>
                  <a:cxn ang="0">
                    <a:pos x="2" y="30"/>
                  </a:cxn>
                  <a:cxn ang="0">
                    <a:pos x="0" y="38"/>
                  </a:cxn>
                  <a:cxn ang="0">
                    <a:pos x="0" y="46"/>
                  </a:cxn>
                  <a:cxn ang="0">
                    <a:pos x="2" y="54"/>
                  </a:cxn>
                  <a:cxn ang="0">
                    <a:pos x="6" y="62"/>
                  </a:cxn>
                  <a:cxn ang="0">
                    <a:pos x="10" y="68"/>
                  </a:cxn>
                  <a:cxn ang="0">
                    <a:pos x="16" y="74"/>
                  </a:cxn>
                  <a:cxn ang="0">
                    <a:pos x="22" y="78"/>
                  </a:cxn>
                  <a:cxn ang="0">
                    <a:pos x="30" y="82"/>
                  </a:cxn>
                  <a:cxn ang="0">
                    <a:pos x="30" y="82"/>
                  </a:cxn>
                  <a:cxn ang="0">
                    <a:pos x="42" y="82"/>
                  </a:cxn>
                  <a:cxn ang="0">
                    <a:pos x="42" y="82"/>
                  </a:cxn>
                  <a:cxn ang="0">
                    <a:pos x="54" y="80"/>
                  </a:cxn>
                  <a:cxn ang="0">
                    <a:pos x="66" y="74"/>
                  </a:cxn>
                  <a:cxn ang="0">
                    <a:pos x="76" y="64"/>
                  </a:cxn>
                  <a:cxn ang="0">
                    <a:pos x="80" y="58"/>
                  </a:cxn>
                  <a:cxn ang="0">
                    <a:pos x="82" y="52"/>
                  </a:cxn>
                  <a:cxn ang="0">
                    <a:pos x="82" y="52"/>
                  </a:cxn>
                  <a:cxn ang="0">
                    <a:pos x="84" y="44"/>
                  </a:cxn>
                  <a:cxn ang="0">
                    <a:pos x="82" y="36"/>
                  </a:cxn>
                  <a:cxn ang="0">
                    <a:pos x="80" y="28"/>
                  </a:cxn>
                  <a:cxn ang="0">
                    <a:pos x="78" y="20"/>
                  </a:cxn>
                  <a:cxn ang="0">
                    <a:pos x="72" y="14"/>
                  </a:cxn>
                  <a:cxn ang="0">
                    <a:pos x="68" y="8"/>
                  </a:cxn>
                  <a:cxn ang="0">
                    <a:pos x="60" y="4"/>
                  </a:cxn>
                  <a:cxn ang="0">
                    <a:pos x="52" y="0"/>
                  </a:cxn>
                  <a:cxn ang="0">
                    <a:pos x="52" y="0"/>
                  </a:cxn>
                  <a:cxn ang="0">
                    <a:pos x="42" y="0"/>
                  </a:cxn>
                </a:cxnLst>
                <a:rect l="0" t="0" r="r" b="b"/>
                <a:pathLst>
                  <a:path w="84" h="82">
                    <a:moveTo>
                      <a:pt x="42" y="0"/>
                    </a:moveTo>
                    <a:lnTo>
                      <a:pt x="42" y="0"/>
                    </a:lnTo>
                    <a:lnTo>
                      <a:pt x="28" y="2"/>
                    </a:lnTo>
                    <a:lnTo>
                      <a:pt x="16" y="8"/>
                    </a:lnTo>
                    <a:lnTo>
                      <a:pt x="6" y="18"/>
                    </a:lnTo>
                    <a:lnTo>
                      <a:pt x="4" y="24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0" y="38"/>
                    </a:lnTo>
                    <a:lnTo>
                      <a:pt x="0" y="46"/>
                    </a:lnTo>
                    <a:lnTo>
                      <a:pt x="2" y="54"/>
                    </a:lnTo>
                    <a:lnTo>
                      <a:pt x="6" y="62"/>
                    </a:lnTo>
                    <a:lnTo>
                      <a:pt x="10" y="68"/>
                    </a:lnTo>
                    <a:lnTo>
                      <a:pt x="16" y="74"/>
                    </a:lnTo>
                    <a:lnTo>
                      <a:pt x="22" y="78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42" y="82"/>
                    </a:lnTo>
                    <a:lnTo>
                      <a:pt x="42" y="82"/>
                    </a:lnTo>
                    <a:lnTo>
                      <a:pt x="54" y="80"/>
                    </a:lnTo>
                    <a:lnTo>
                      <a:pt x="66" y="74"/>
                    </a:lnTo>
                    <a:lnTo>
                      <a:pt x="76" y="64"/>
                    </a:lnTo>
                    <a:lnTo>
                      <a:pt x="80" y="58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4" y="44"/>
                    </a:lnTo>
                    <a:lnTo>
                      <a:pt x="82" y="36"/>
                    </a:lnTo>
                    <a:lnTo>
                      <a:pt x="80" y="28"/>
                    </a:lnTo>
                    <a:lnTo>
                      <a:pt x="78" y="20"/>
                    </a:lnTo>
                    <a:lnTo>
                      <a:pt x="72" y="14"/>
                    </a:lnTo>
                    <a:lnTo>
                      <a:pt x="68" y="8"/>
                    </a:lnTo>
                    <a:lnTo>
                      <a:pt x="60" y="4"/>
                    </a:lnTo>
                    <a:lnTo>
                      <a:pt x="52" y="0"/>
                    </a:lnTo>
                    <a:lnTo>
                      <a:pt x="52" y="0"/>
                    </a:lnTo>
                    <a:lnTo>
                      <a:pt x="4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35" name="Freeform 71"/>
              <p:cNvSpPr>
                <a:spLocks/>
              </p:cNvSpPr>
              <p:nvPr userDrawn="1"/>
            </p:nvSpPr>
            <p:spPr bwMode="auto">
              <a:xfrm>
                <a:off x="5216525" y="2990850"/>
                <a:ext cx="117475" cy="117475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4" y="2"/>
                  </a:cxn>
                  <a:cxn ang="0">
                    <a:pos x="14" y="6"/>
                  </a:cxn>
                  <a:cxn ang="0">
                    <a:pos x="6" y="16"/>
                  </a:cxn>
                  <a:cxn ang="0">
                    <a:pos x="0" y="28"/>
                  </a:cxn>
                  <a:cxn ang="0">
                    <a:pos x="0" y="28"/>
                  </a:cxn>
                  <a:cxn ang="0">
                    <a:pos x="0" y="34"/>
                  </a:cxn>
                  <a:cxn ang="0">
                    <a:pos x="0" y="42"/>
                  </a:cxn>
                  <a:cxn ang="0">
                    <a:pos x="2" y="50"/>
                  </a:cxn>
                  <a:cxn ang="0">
                    <a:pos x="4" y="56"/>
                  </a:cxn>
                  <a:cxn ang="0">
                    <a:pos x="8" y="62"/>
                  </a:cxn>
                  <a:cxn ang="0">
                    <a:pos x="14" y="66"/>
                  </a:cxn>
                  <a:cxn ang="0">
                    <a:pos x="20" y="70"/>
                  </a:cxn>
                  <a:cxn ang="0">
                    <a:pos x="26" y="74"/>
                  </a:cxn>
                  <a:cxn ang="0">
                    <a:pos x="26" y="74"/>
                  </a:cxn>
                  <a:cxn ang="0">
                    <a:pos x="36" y="74"/>
                  </a:cxn>
                  <a:cxn ang="0">
                    <a:pos x="36" y="74"/>
                  </a:cxn>
                  <a:cxn ang="0">
                    <a:pos x="48" y="72"/>
                  </a:cxn>
                  <a:cxn ang="0">
                    <a:pos x="60" y="66"/>
                  </a:cxn>
                  <a:cxn ang="0">
                    <a:pos x="68" y="58"/>
                  </a:cxn>
                  <a:cxn ang="0">
                    <a:pos x="72" y="46"/>
                  </a:cxn>
                  <a:cxn ang="0">
                    <a:pos x="72" y="46"/>
                  </a:cxn>
                  <a:cxn ang="0">
                    <a:pos x="74" y="40"/>
                  </a:cxn>
                  <a:cxn ang="0">
                    <a:pos x="74" y="32"/>
                  </a:cxn>
                  <a:cxn ang="0">
                    <a:pos x="72" y="24"/>
                  </a:cxn>
                  <a:cxn ang="0">
                    <a:pos x="70" y="18"/>
                  </a:cxn>
                  <a:cxn ang="0">
                    <a:pos x="64" y="12"/>
                  </a:cxn>
                  <a:cxn ang="0">
                    <a:pos x="60" y="8"/>
                  </a:cxn>
                  <a:cxn ang="0">
                    <a:pos x="54" y="4"/>
                  </a:cxn>
                  <a:cxn ang="0">
                    <a:pos x="46" y="0"/>
                  </a:cxn>
                  <a:cxn ang="0">
                    <a:pos x="46" y="0"/>
                  </a:cxn>
                  <a:cxn ang="0">
                    <a:pos x="36" y="0"/>
                  </a:cxn>
                </a:cxnLst>
                <a:rect l="0" t="0" r="r" b="b"/>
                <a:pathLst>
                  <a:path w="74" h="74">
                    <a:moveTo>
                      <a:pt x="36" y="0"/>
                    </a:moveTo>
                    <a:lnTo>
                      <a:pt x="36" y="0"/>
                    </a:lnTo>
                    <a:lnTo>
                      <a:pt x="24" y="2"/>
                    </a:lnTo>
                    <a:lnTo>
                      <a:pt x="14" y="6"/>
                    </a:lnTo>
                    <a:lnTo>
                      <a:pt x="6" y="16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0" y="34"/>
                    </a:lnTo>
                    <a:lnTo>
                      <a:pt x="0" y="42"/>
                    </a:lnTo>
                    <a:lnTo>
                      <a:pt x="2" y="50"/>
                    </a:lnTo>
                    <a:lnTo>
                      <a:pt x="4" y="56"/>
                    </a:lnTo>
                    <a:lnTo>
                      <a:pt x="8" y="62"/>
                    </a:lnTo>
                    <a:lnTo>
                      <a:pt x="14" y="66"/>
                    </a:lnTo>
                    <a:lnTo>
                      <a:pt x="20" y="70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36" y="74"/>
                    </a:lnTo>
                    <a:lnTo>
                      <a:pt x="36" y="74"/>
                    </a:lnTo>
                    <a:lnTo>
                      <a:pt x="48" y="72"/>
                    </a:lnTo>
                    <a:lnTo>
                      <a:pt x="60" y="66"/>
                    </a:lnTo>
                    <a:lnTo>
                      <a:pt x="68" y="58"/>
                    </a:lnTo>
                    <a:lnTo>
                      <a:pt x="72" y="46"/>
                    </a:lnTo>
                    <a:lnTo>
                      <a:pt x="72" y="46"/>
                    </a:lnTo>
                    <a:lnTo>
                      <a:pt x="74" y="40"/>
                    </a:lnTo>
                    <a:lnTo>
                      <a:pt x="74" y="32"/>
                    </a:lnTo>
                    <a:lnTo>
                      <a:pt x="72" y="24"/>
                    </a:lnTo>
                    <a:lnTo>
                      <a:pt x="70" y="18"/>
                    </a:lnTo>
                    <a:lnTo>
                      <a:pt x="64" y="12"/>
                    </a:lnTo>
                    <a:lnTo>
                      <a:pt x="60" y="8"/>
                    </a:lnTo>
                    <a:lnTo>
                      <a:pt x="54" y="4"/>
                    </a:lnTo>
                    <a:lnTo>
                      <a:pt x="46" y="0"/>
                    </a:lnTo>
                    <a:lnTo>
                      <a:pt x="46" y="0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36" name="Freeform 72"/>
              <p:cNvSpPr>
                <a:spLocks/>
              </p:cNvSpPr>
              <p:nvPr userDrawn="1"/>
            </p:nvSpPr>
            <p:spPr bwMode="auto">
              <a:xfrm>
                <a:off x="5216525" y="2990850"/>
                <a:ext cx="117475" cy="117475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4" y="2"/>
                  </a:cxn>
                  <a:cxn ang="0">
                    <a:pos x="14" y="6"/>
                  </a:cxn>
                  <a:cxn ang="0">
                    <a:pos x="6" y="16"/>
                  </a:cxn>
                  <a:cxn ang="0">
                    <a:pos x="0" y="28"/>
                  </a:cxn>
                  <a:cxn ang="0">
                    <a:pos x="0" y="28"/>
                  </a:cxn>
                  <a:cxn ang="0">
                    <a:pos x="0" y="34"/>
                  </a:cxn>
                  <a:cxn ang="0">
                    <a:pos x="0" y="42"/>
                  </a:cxn>
                  <a:cxn ang="0">
                    <a:pos x="2" y="50"/>
                  </a:cxn>
                  <a:cxn ang="0">
                    <a:pos x="4" y="56"/>
                  </a:cxn>
                  <a:cxn ang="0">
                    <a:pos x="8" y="62"/>
                  </a:cxn>
                  <a:cxn ang="0">
                    <a:pos x="14" y="66"/>
                  </a:cxn>
                  <a:cxn ang="0">
                    <a:pos x="20" y="70"/>
                  </a:cxn>
                  <a:cxn ang="0">
                    <a:pos x="26" y="74"/>
                  </a:cxn>
                  <a:cxn ang="0">
                    <a:pos x="26" y="74"/>
                  </a:cxn>
                  <a:cxn ang="0">
                    <a:pos x="36" y="74"/>
                  </a:cxn>
                  <a:cxn ang="0">
                    <a:pos x="36" y="74"/>
                  </a:cxn>
                  <a:cxn ang="0">
                    <a:pos x="48" y="72"/>
                  </a:cxn>
                  <a:cxn ang="0">
                    <a:pos x="60" y="66"/>
                  </a:cxn>
                  <a:cxn ang="0">
                    <a:pos x="68" y="58"/>
                  </a:cxn>
                  <a:cxn ang="0">
                    <a:pos x="72" y="46"/>
                  </a:cxn>
                  <a:cxn ang="0">
                    <a:pos x="72" y="46"/>
                  </a:cxn>
                  <a:cxn ang="0">
                    <a:pos x="74" y="40"/>
                  </a:cxn>
                  <a:cxn ang="0">
                    <a:pos x="74" y="32"/>
                  </a:cxn>
                  <a:cxn ang="0">
                    <a:pos x="72" y="24"/>
                  </a:cxn>
                  <a:cxn ang="0">
                    <a:pos x="70" y="18"/>
                  </a:cxn>
                  <a:cxn ang="0">
                    <a:pos x="64" y="12"/>
                  </a:cxn>
                  <a:cxn ang="0">
                    <a:pos x="60" y="8"/>
                  </a:cxn>
                  <a:cxn ang="0">
                    <a:pos x="54" y="4"/>
                  </a:cxn>
                  <a:cxn ang="0">
                    <a:pos x="46" y="0"/>
                  </a:cxn>
                  <a:cxn ang="0">
                    <a:pos x="46" y="0"/>
                  </a:cxn>
                  <a:cxn ang="0">
                    <a:pos x="36" y="0"/>
                  </a:cxn>
                </a:cxnLst>
                <a:rect l="0" t="0" r="r" b="b"/>
                <a:pathLst>
                  <a:path w="74" h="74">
                    <a:moveTo>
                      <a:pt x="36" y="0"/>
                    </a:moveTo>
                    <a:lnTo>
                      <a:pt x="36" y="0"/>
                    </a:lnTo>
                    <a:lnTo>
                      <a:pt x="24" y="2"/>
                    </a:lnTo>
                    <a:lnTo>
                      <a:pt x="14" y="6"/>
                    </a:lnTo>
                    <a:lnTo>
                      <a:pt x="6" y="16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0" y="34"/>
                    </a:lnTo>
                    <a:lnTo>
                      <a:pt x="0" y="42"/>
                    </a:lnTo>
                    <a:lnTo>
                      <a:pt x="2" y="50"/>
                    </a:lnTo>
                    <a:lnTo>
                      <a:pt x="4" y="56"/>
                    </a:lnTo>
                    <a:lnTo>
                      <a:pt x="8" y="62"/>
                    </a:lnTo>
                    <a:lnTo>
                      <a:pt x="14" y="66"/>
                    </a:lnTo>
                    <a:lnTo>
                      <a:pt x="20" y="70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36" y="74"/>
                    </a:lnTo>
                    <a:lnTo>
                      <a:pt x="36" y="74"/>
                    </a:lnTo>
                    <a:lnTo>
                      <a:pt x="48" y="72"/>
                    </a:lnTo>
                    <a:lnTo>
                      <a:pt x="60" y="66"/>
                    </a:lnTo>
                    <a:lnTo>
                      <a:pt x="68" y="58"/>
                    </a:lnTo>
                    <a:lnTo>
                      <a:pt x="72" y="46"/>
                    </a:lnTo>
                    <a:lnTo>
                      <a:pt x="72" y="46"/>
                    </a:lnTo>
                    <a:lnTo>
                      <a:pt x="74" y="40"/>
                    </a:lnTo>
                    <a:lnTo>
                      <a:pt x="74" y="32"/>
                    </a:lnTo>
                    <a:lnTo>
                      <a:pt x="72" y="24"/>
                    </a:lnTo>
                    <a:lnTo>
                      <a:pt x="70" y="18"/>
                    </a:lnTo>
                    <a:lnTo>
                      <a:pt x="64" y="12"/>
                    </a:lnTo>
                    <a:lnTo>
                      <a:pt x="60" y="8"/>
                    </a:lnTo>
                    <a:lnTo>
                      <a:pt x="54" y="4"/>
                    </a:lnTo>
                    <a:lnTo>
                      <a:pt x="46" y="0"/>
                    </a:lnTo>
                    <a:lnTo>
                      <a:pt x="46" y="0"/>
                    </a:lnTo>
                    <a:lnTo>
                      <a:pt x="3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37" name="Freeform 73"/>
              <p:cNvSpPr>
                <a:spLocks/>
              </p:cNvSpPr>
              <p:nvPr userDrawn="1"/>
            </p:nvSpPr>
            <p:spPr bwMode="auto">
              <a:xfrm>
                <a:off x="4943475" y="3124200"/>
                <a:ext cx="107950" cy="107950"/>
              </a:xfrm>
              <a:custGeom>
                <a:avLst/>
                <a:gdLst/>
                <a:ahLst/>
                <a:cxnLst>
                  <a:cxn ang="0">
                    <a:pos x="34" y="0"/>
                  </a:cxn>
                  <a:cxn ang="0">
                    <a:pos x="34" y="0"/>
                  </a:cxn>
                  <a:cxn ang="0">
                    <a:pos x="22" y="2"/>
                  </a:cxn>
                  <a:cxn ang="0">
                    <a:pos x="12" y="8"/>
                  </a:cxn>
                  <a:cxn ang="0">
                    <a:pos x="6" y="16"/>
                  </a:cxn>
                  <a:cxn ang="0">
                    <a:pos x="0" y="26"/>
                  </a:cxn>
                  <a:cxn ang="0">
                    <a:pos x="0" y="26"/>
                  </a:cxn>
                  <a:cxn ang="0">
                    <a:pos x="0" y="32"/>
                  </a:cxn>
                  <a:cxn ang="0">
                    <a:pos x="0" y="40"/>
                  </a:cxn>
                  <a:cxn ang="0">
                    <a:pos x="2" y="46"/>
                  </a:cxn>
                  <a:cxn ang="0">
                    <a:pos x="4" y="52"/>
                  </a:cxn>
                  <a:cxn ang="0">
                    <a:pos x="8" y="56"/>
                  </a:cxn>
                  <a:cxn ang="0">
                    <a:pos x="12" y="62"/>
                  </a:cxn>
                  <a:cxn ang="0">
                    <a:pos x="18" y="64"/>
                  </a:cxn>
                  <a:cxn ang="0">
                    <a:pos x="24" y="68"/>
                  </a:cxn>
                  <a:cxn ang="0">
                    <a:pos x="24" y="68"/>
                  </a:cxn>
                  <a:cxn ang="0">
                    <a:pos x="34" y="68"/>
                  </a:cxn>
                  <a:cxn ang="0">
                    <a:pos x="34" y="68"/>
                  </a:cxn>
                  <a:cxn ang="0">
                    <a:pos x="44" y="66"/>
                  </a:cxn>
                  <a:cxn ang="0">
                    <a:pos x="54" y="62"/>
                  </a:cxn>
                  <a:cxn ang="0">
                    <a:pos x="62" y="54"/>
                  </a:cxn>
                  <a:cxn ang="0">
                    <a:pos x="66" y="44"/>
                  </a:cxn>
                  <a:cxn ang="0">
                    <a:pos x="66" y="44"/>
                  </a:cxn>
                  <a:cxn ang="0">
                    <a:pos x="68" y="36"/>
                  </a:cxn>
                  <a:cxn ang="0">
                    <a:pos x="66" y="30"/>
                  </a:cxn>
                  <a:cxn ang="0">
                    <a:pos x="66" y="24"/>
                  </a:cxn>
                  <a:cxn ang="0">
                    <a:pos x="62" y="18"/>
                  </a:cxn>
                  <a:cxn ang="0">
                    <a:pos x="58" y="12"/>
                  </a:cxn>
                  <a:cxn ang="0">
                    <a:pos x="54" y="8"/>
                  </a:cxn>
                  <a:cxn ang="0">
                    <a:pos x="48" y="4"/>
                  </a:cxn>
                  <a:cxn ang="0">
                    <a:pos x="42" y="2"/>
                  </a:cxn>
                  <a:cxn ang="0">
                    <a:pos x="42" y="2"/>
                  </a:cxn>
                  <a:cxn ang="0">
                    <a:pos x="34" y="0"/>
                  </a:cxn>
                </a:cxnLst>
                <a:rect l="0" t="0" r="r" b="b"/>
                <a:pathLst>
                  <a:path w="68" h="68">
                    <a:moveTo>
                      <a:pt x="34" y="0"/>
                    </a:moveTo>
                    <a:lnTo>
                      <a:pt x="34" y="0"/>
                    </a:lnTo>
                    <a:lnTo>
                      <a:pt x="22" y="2"/>
                    </a:lnTo>
                    <a:lnTo>
                      <a:pt x="12" y="8"/>
                    </a:lnTo>
                    <a:lnTo>
                      <a:pt x="6" y="1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32"/>
                    </a:lnTo>
                    <a:lnTo>
                      <a:pt x="0" y="40"/>
                    </a:lnTo>
                    <a:lnTo>
                      <a:pt x="2" y="46"/>
                    </a:lnTo>
                    <a:lnTo>
                      <a:pt x="4" y="52"/>
                    </a:lnTo>
                    <a:lnTo>
                      <a:pt x="8" y="56"/>
                    </a:lnTo>
                    <a:lnTo>
                      <a:pt x="12" y="62"/>
                    </a:lnTo>
                    <a:lnTo>
                      <a:pt x="18" y="64"/>
                    </a:lnTo>
                    <a:lnTo>
                      <a:pt x="24" y="68"/>
                    </a:lnTo>
                    <a:lnTo>
                      <a:pt x="24" y="68"/>
                    </a:lnTo>
                    <a:lnTo>
                      <a:pt x="34" y="68"/>
                    </a:lnTo>
                    <a:lnTo>
                      <a:pt x="34" y="68"/>
                    </a:lnTo>
                    <a:lnTo>
                      <a:pt x="44" y="66"/>
                    </a:lnTo>
                    <a:lnTo>
                      <a:pt x="54" y="62"/>
                    </a:lnTo>
                    <a:lnTo>
                      <a:pt x="62" y="54"/>
                    </a:lnTo>
                    <a:lnTo>
                      <a:pt x="66" y="44"/>
                    </a:lnTo>
                    <a:lnTo>
                      <a:pt x="66" y="44"/>
                    </a:lnTo>
                    <a:lnTo>
                      <a:pt x="68" y="36"/>
                    </a:lnTo>
                    <a:lnTo>
                      <a:pt x="66" y="30"/>
                    </a:lnTo>
                    <a:lnTo>
                      <a:pt x="66" y="24"/>
                    </a:lnTo>
                    <a:lnTo>
                      <a:pt x="62" y="18"/>
                    </a:lnTo>
                    <a:lnTo>
                      <a:pt x="58" y="12"/>
                    </a:lnTo>
                    <a:lnTo>
                      <a:pt x="54" y="8"/>
                    </a:lnTo>
                    <a:lnTo>
                      <a:pt x="48" y="4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3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38" name="Freeform 74"/>
              <p:cNvSpPr>
                <a:spLocks/>
              </p:cNvSpPr>
              <p:nvPr userDrawn="1"/>
            </p:nvSpPr>
            <p:spPr bwMode="auto">
              <a:xfrm>
                <a:off x="4943475" y="3124200"/>
                <a:ext cx="107950" cy="107950"/>
              </a:xfrm>
              <a:custGeom>
                <a:avLst/>
                <a:gdLst/>
                <a:ahLst/>
                <a:cxnLst>
                  <a:cxn ang="0">
                    <a:pos x="34" y="0"/>
                  </a:cxn>
                  <a:cxn ang="0">
                    <a:pos x="34" y="0"/>
                  </a:cxn>
                  <a:cxn ang="0">
                    <a:pos x="22" y="2"/>
                  </a:cxn>
                  <a:cxn ang="0">
                    <a:pos x="12" y="8"/>
                  </a:cxn>
                  <a:cxn ang="0">
                    <a:pos x="6" y="16"/>
                  </a:cxn>
                  <a:cxn ang="0">
                    <a:pos x="0" y="26"/>
                  </a:cxn>
                  <a:cxn ang="0">
                    <a:pos x="0" y="26"/>
                  </a:cxn>
                  <a:cxn ang="0">
                    <a:pos x="0" y="32"/>
                  </a:cxn>
                  <a:cxn ang="0">
                    <a:pos x="0" y="40"/>
                  </a:cxn>
                  <a:cxn ang="0">
                    <a:pos x="2" y="46"/>
                  </a:cxn>
                  <a:cxn ang="0">
                    <a:pos x="4" y="52"/>
                  </a:cxn>
                  <a:cxn ang="0">
                    <a:pos x="8" y="56"/>
                  </a:cxn>
                  <a:cxn ang="0">
                    <a:pos x="12" y="62"/>
                  </a:cxn>
                  <a:cxn ang="0">
                    <a:pos x="18" y="64"/>
                  </a:cxn>
                  <a:cxn ang="0">
                    <a:pos x="24" y="68"/>
                  </a:cxn>
                  <a:cxn ang="0">
                    <a:pos x="24" y="68"/>
                  </a:cxn>
                  <a:cxn ang="0">
                    <a:pos x="34" y="68"/>
                  </a:cxn>
                  <a:cxn ang="0">
                    <a:pos x="34" y="68"/>
                  </a:cxn>
                  <a:cxn ang="0">
                    <a:pos x="44" y="66"/>
                  </a:cxn>
                  <a:cxn ang="0">
                    <a:pos x="54" y="62"/>
                  </a:cxn>
                  <a:cxn ang="0">
                    <a:pos x="62" y="54"/>
                  </a:cxn>
                  <a:cxn ang="0">
                    <a:pos x="66" y="44"/>
                  </a:cxn>
                  <a:cxn ang="0">
                    <a:pos x="66" y="44"/>
                  </a:cxn>
                  <a:cxn ang="0">
                    <a:pos x="68" y="36"/>
                  </a:cxn>
                  <a:cxn ang="0">
                    <a:pos x="66" y="30"/>
                  </a:cxn>
                  <a:cxn ang="0">
                    <a:pos x="66" y="24"/>
                  </a:cxn>
                  <a:cxn ang="0">
                    <a:pos x="62" y="18"/>
                  </a:cxn>
                  <a:cxn ang="0">
                    <a:pos x="58" y="12"/>
                  </a:cxn>
                  <a:cxn ang="0">
                    <a:pos x="54" y="8"/>
                  </a:cxn>
                  <a:cxn ang="0">
                    <a:pos x="48" y="4"/>
                  </a:cxn>
                  <a:cxn ang="0">
                    <a:pos x="42" y="2"/>
                  </a:cxn>
                  <a:cxn ang="0">
                    <a:pos x="42" y="2"/>
                  </a:cxn>
                  <a:cxn ang="0">
                    <a:pos x="34" y="0"/>
                  </a:cxn>
                </a:cxnLst>
                <a:rect l="0" t="0" r="r" b="b"/>
                <a:pathLst>
                  <a:path w="68" h="68">
                    <a:moveTo>
                      <a:pt x="34" y="0"/>
                    </a:moveTo>
                    <a:lnTo>
                      <a:pt x="34" y="0"/>
                    </a:lnTo>
                    <a:lnTo>
                      <a:pt x="22" y="2"/>
                    </a:lnTo>
                    <a:lnTo>
                      <a:pt x="12" y="8"/>
                    </a:lnTo>
                    <a:lnTo>
                      <a:pt x="6" y="1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32"/>
                    </a:lnTo>
                    <a:lnTo>
                      <a:pt x="0" y="40"/>
                    </a:lnTo>
                    <a:lnTo>
                      <a:pt x="2" y="46"/>
                    </a:lnTo>
                    <a:lnTo>
                      <a:pt x="4" y="52"/>
                    </a:lnTo>
                    <a:lnTo>
                      <a:pt x="8" y="56"/>
                    </a:lnTo>
                    <a:lnTo>
                      <a:pt x="12" y="62"/>
                    </a:lnTo>
                    <a:lnTo>
                      <a:pt x="18" y="64"/>
                    </a:lnTo>
                    <a:lnTo>
                      <a:pt x="24" y="68"/>
                    </a:lnTo>
                    <a:lnTo>
                      <a:pt x="24" y="68"/>
                    </a:lnTo>
                    <a:lnTo>
                      <a:pt x="34" y="68"/>
                    </a:lnTo>
                    <a:lnTo>
                      <a:pt x="34" y="68"/>
                    </a:lnTo>
                    <a:lnTo>
                      <a:pt x="44" y="66"/>
                    </a:lnTo>
                    <a:lnTo>
                      <a:pt x="54" y="62"/>
                    </a:lnTo>
                    <a:lnTo>
                      <a:pt x="62" y="54"/>
                    </a:lnTo>
                    <a:lnTo>
                      <a:pt x="66" y="44"/>
                    </a:lnTo>
                    <a:lnTo>
                      <a:pt x="66" y="44"/>
                    </a:lnTo>
                    <a:lnTo>
                      <a:pt x="68" y="36"/>
                    </a:lnTo>
                    <a:lnTo>
                      <a:pt x="66" y="30"/>
                    </a:lnTo>
                    <a:lnTo>
                      <a:pt x="66" y="24"/>
                    </a:lnTo>
                    <a:lnTo>
                      <a:pt x="62" y="18"/>
                    </a:lnTo>
                    <a:lnTo>
                      <a:pt x="58" y="12"/>
                    </a:lnTo>
                    <a:lnTo>
                      <a:pt x="54" y="8"/>
                    </a:lnTo>
                    <a:lnTo>
                      <a:pt x="48" y="4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3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39" name="Freeform 75"/>
              <p:cNvSpPr>
                <a:spLocks/>
              </p:cNvSpPr>
              <p:nvPr userDrawn="1"/>
            </p:nvSpPr>
            <p:spPr bwMode="auto">
              <a:xfrm>
                <a:off x="4695825" y="3308350"/>
                <a:ext cx="98425" cy="95250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0"/>
                  </a:cxn>
                  <a:cxn ang="0">
                    <a:pos x="22" y="0"/>
                  </a:cxn>
                  <a:cxn ang="0">
                    <a:pos x="12" y="6"/>
                  </a:cxn>
                  <a:cxn ang="0">
                    <a:pos x="6" y="12"/>
                  </a:cxn>
                  <a:cxn ang="0">
                    <a:pos x="2" y="22"/>
                  </a:cxn>
                  <a:cxn ang="0">
                    <a:pos x="2" y="22"/>
                  </a:cxn>
                  <a:cxn ang="0">
                    <a:pos x="0" y="28"/>
                  </a:cxn>
                  <a:cxn ang="0">
                    <a:pos x="0" y="34"/>
                  </a:cxn>
                  <a:cxn ang="0">
                    <a:pos x="4" y="44"/>
                  </a:cxn>
                  <a:cxn ang="0">
                    <a:pos x="12" y="54"/>
                  </a:cxn>
                  <a:cxn ang="0">
                    <a:pos x="18" y="56"/>
                  </a:cxn>
                  <a:cxn ang="0">
                    <a:pos x="24" y="58"/>
                  </a:cxn>
                  <a:cxn ang="0">
                    <a:pos x="24" y="58"/>
                  </a:cxn>
                  <a:cxn ang="0">
                    <a:pos x="32" y="60"/>
                  </a:cxn>
                  <a:cxn ang="0">
                    <a:pos x="32" y="60"/>
                  </a:cxn>
                  <a:cxn ang="0">
                    <a:pos x="40" y="58"/>
                  </a:cxn>
                  <a:cxn ang="0">
                    <a:pos x="50" y="54"/>
                  </a:cxn>
                  <a:cxn ang="0">
                    <a:pos x="56" y="46"/>
                  </a:cxn>
                  <a:cxn ang="0">
                    <a:pos x="60" y="38"/>
                  </a:cxn>
                  <a:cxn ang="0">
                    <a:pos x="60" y="38"/>
                  </a:cxn>
                  <a:cxn ang="0">
                    <a:pos x="62" y="32"/>
                  </a:cxn>
                  <a:cxn ang="0">
                    <a:pos x="62" y="26"/>
                  </a:cxn>
                  <a:cxn ang="0">
                    <a:pos x="58" y="14"/>
                  </a:cxn>
                  <a:cxn ang="0">
                    <a:pos x="50" y="6"/>
                  </a:cxn>
                  <a:cxn ang="0">
                    <a:pos x="44" y="2"/>
                  </a:cxn>
                  <a:cxn ang="0">
                    <a:pos x="38" y="0"/>
                  </a:cxn>
                  <a:cxn ang="0">
                    <a:pos x="38" y="0"/>
                  </a:cxn>
                  <a:cxn ang="0">
                    <a:pos x="32" y="0"/>
                  </a:cxn>
                </a:cxnLst>
                <a:rect l="0" t="0" r="r" b="b"/>
                <a:pathLst>
                  <a:path w="62" h="60">
                    <a:moveTo>
                      <a:pt x="32" y="0"/>
                    </a:moveTo>
                    <a:lnTo>
                      <a:pt x="32" y="0"/>
                    </a:lnTo>
                    <a:lnTo>
                      <a:pt x="22" y="0"/>
                    </a:lnTo>
                    <a:lnTo>
                      <a:pt x="12" y="6"/>
                    </a:lnTo>
                    <a:lnTo>
                      <a:pt x="6" y="1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0" y="28"/>
                    </a:lnTo>
                    <a:lnTo>
                      <a:pt x="0" y="34"/>
                    </a:lnTo>
                    <a:lnTo>
                      <a:pt x="4" y="44"/>
                    </a:lnTo>
                    <a:lnTo>
                      <a:pt x="12" y="54"/>
                    </a:lnTo>
                    <a:lnTo>
                      <a:pt x="18" y="56"/>
                    </a:lnTo>
                    <a:lnTo>
                      <a:pt x="24" y="58"/>
                    </a:lnTo>
                    <a:lnTo>
                      <a:pt x="24" y="58"/>
                    </a:lnTo>
                    <a:lnTo>
                      <a:pt x="32" y="60"/>
                    </a:lnTo>
                    <a:lnTo>
                      <a:pt x="32" y="60"/>
                    </a:lnTo>
                    <a:lnTo>
                      <a:pt x="40" y="58"/>
                    </a:lnTo>
                    <a:lnTo>
                      <a:pt x="50" y="54"/>
                    </a:lnTo>
                    <a:lnTo>
                      <a:pt x="56" y="46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2" y="32"/>
                    </a:lnTo>
                    <a:lnTo>
                      <a:pt x="62" y="26"/>
                    </a:lnTo>
                    <a:lnTo>
                      <a:pt x="58" y="14"/>
                    </a:lnTo>
                    <a:lnTo>
                      <a:pt x="50" y="6"/>
                    </a:lnTo>
                    <a:lnTo>
                      <a:pt x="44" y="2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40" name="Freeform 76"/>
              <p:cNvSpPr>
                <a:spLocks/>
              </p:cNvSpPr>
              <p:nvPr userDrawn="1"/>
            </p:nvSpPr>
            <p:spPr bwMode="auto">
              <a:xfrm>
                <a:off x="4695825" y="3308350"/>
                <a:ext cx="98425" cy="95250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0"/>
                  </a:cxn>
                  <a:cxn ang="0">
                    <a:pos x="22" y="0"/>
                  </a:cxn>
                  <a:cxn ang="0">
                    <a:pos x="12" y="6"/>
                  </a:cxn>
                  <a:cxn ang="0">
                    <a:pos x="6" y="12"/>
                  </a:cxn>
                  <a:cxn ang="0">
                    <a:pos x="2" y="22"/>
                  </a:cxn>
                  <a:cxn ang="0">
                    <a:pos x="2" y="22"/>
                  </a:cxn>
                  <a:cxn ang="0">
                    <a:pos x="0" y="28"/>
                  </a:cxn>
                  <a:cxn ang="0">
                    <a:pos x="0" y="34"/>
                  </a:cxn>
                  <a:cxn ang="0">
                    <a:pos x="4" y="44"/>
                  </a:cxn>
                  <a:cxn ang="0">
                    <a:pos x="12" y="54"/>
                  </a:cxn>
                  <a:cxn ang="0">
                    <a:pos x="18" y="56"/>
                  </a:cxn>
                  <a:cxn ang="0">
                    <a:pos x="24" y="58"/>
                  </a:cxn>
                  <a:cxn ang="0">
                    <a:pos x="24" y="58"/>
                  </a:cxn>
                  <a:cxn ang="0">
                    <a:pos x="32" y="60"/>
                  </a:cxn>
                  <a:cxn ang="0">
                    <a:pos x="32" y="60"/>
                  </a:cxn>
                  <a:cxn ang="0">
                    <a:pos x="40" y="58"/>
                  </a:cxn>
                  <a:cxn ang="0">
                    <a:pos x="50" y="54"/>
                  </a:cxn>
                  <a:cxn ang="0">
                    <a:pos x="56" y="46"/>
                  </a:cxn>
                  <a:cxn ang="0">
                    <a:pos x="60" y="38"/>
                  </a:cxn>
                  <a:cxn ang="0">
                    <a:pos x="60" y="38"/>
                  </a:cxn>
                  <a:cxn ang="0">
                    <a:pos x="62" y="32"/>
                  </a:cxn>
                  <a:cxn ang="0">
                    <a:pos x="62" y="26"/>
                  </a:cxn>
                  <a:cxn ang="0">
                    <a:pos x="58" y="14"/>
                  </a:cxn>
                  <a:cxn ang="0">
                    <a:pos x="50" y="6"/>
                  </a:cxn>
                  <a:cxn ang="0">
                    <a:pos x="44" y="2"/>
                  </a:cxn>
                  <a:cxn ang="0">
                    <a:pos x="38" y="0"/>
                  </a:cxn>
                  <a:cxn ang="0">
                    <a:pos x="38" y="0"/>
                  </a:cxn>
                  <a:cxn ang="0">
                    <a:pos x="32" y="0"/>
                  </a:cxn>
                </a:cxnLst>
                <a:rect l="0" t="0" r="r" b="b"/>
                <a:pathLst>
                  <a:path w="62" h="60">
                    <a:moveTo>
                      <a:pt x="32" y="0"/>
                    </a:moveTo>
                    <a:lnTo>
                      <a:pt x="32" y="0"/>
                    </a:lnTo>
                    <a:lnTo>
                      <a:pt x="22" y="0"/>
                    </a:lnTo>
                    <a:lnTo>
                      <a:pt x="12" y="6"/>
                    </a:lnTo>
                    <a:lnTo>
                      <a:pt x="6" y="1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0" y="28"/>
                    </a:lnTo>
                    <a:lnTo>
                      <a:pt x="0" y="34"/>
                    </a:lnTo>
                    <a:lnTo>
                      <a:pt x="4" y="44"/>
                    </a:lnTo>
                    <a:lnTo>
                      <a:pt x="12" y="54"/>
                    </a:lnTo>
                    <a:lnTo>
                      <a:pt x="18" y="56"/>
                    </a:lnTo>
                    <a:lnTo>
                      <a:pt x="24" y="58"/>
                    </a:lnTo>
                    <a:lnTo>
                      <a:pt x="24" y="58"/>
                    </a:lnTo>
                    <a:lnTo>
                      <a:pt x="32" y="60"/>
                    </a:lnTo>
                    <a:lnTo>
                      <a:pt x="32" y="60"/>
                    </a:lnTo>
                    <a:lnTo>
                      <a:pt x="40" y="58"/>
                    </a:lnTo>
                    <a:lnTo>
                      <a:pt x="50" y="54"/>
                    </a:lnTo>
                    <a:lnTo>
                      <a:pt x="56" y="46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2" y="32"/>
                    </a:lnTo>
                    <a:lnTo>
                      <a:pt x="62" y="26"/>
                    </a:lnTo>
                    <a:lnTo>
                      <a:pt x="58" y="14"/>
                    </a:lnTo>
                    <a:lnTo>
                      <a:pt x="50" y="6"/>
                    </a:lnTo>
                    <a:lnTo>
                      <a:pt x="44" y="2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41" name="Freeform 77"/>
              <p:cNvSpPr>
                <a:spLocks/>
              </p:cNvSpPr>
              <p:nvPr userDrawn="1"/>
            </p:nvSpPr>
            <p:spPr bwMode="auto">
              <a:xfrm>
                <a:off x="4486275" y="3527425"/>
                <a:ext cx="85725" cy="8890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4" y="12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0" y="32"/>
                  </a:cxn>
                  <a:cxn ang="0">
                    <a:pos x="2" y="42"/>
                  </a:cxn>
                  <a:cxn ang="0">
                    <a:pos x="10" y="50"/>
                  </a:cxn>
                  <a:cxn ang="0">
                    <a:pos x="20" y="54"/>
                  </a:cxn>
                  <a:cxn ang="0">
                    <a:pos x="20" y="54"/>
                  </a:cxn>
                  <a:cxn ang="0">
                    <a:pos x="26" y="56"/>
                  </a:cxn>
                  <a:cxn ang="0">
                    <a:pos x="26" y="56"/>
                  </a:cxn>
                  <a:cxn ang="0">
                    <a:pos x="36" y="54"/>
                  </a:cxn>
                  <a:cxn ang="0">
                    <a:pos x="42" y="50"/>
                  </a:cxn>
                  <a:cxn ang="0">
                    <a:pos x="48" y="44"/>
                  </a:cxn>
                  <a:cxn ang="0">
                    <a:pos x="52" y="36"/>
                  </a:cxn>
                  <a:cxn ang="0">
                    <a:pos x="52" y="36"/>
                  </a:cxn>
                  <a:cxn ang="0">
                    <a:pos x="54" y="24"/>
                  </a:cxn>
                  <a:cxn ang="0">
                    <a:pos x="50" y="14"/>
                  </a:cxn>
                  <a:cxn ang="0">
                    <a:pos x="44" y="6"/>
                  </a:cxn>
                  <a:cxn ang="0">
                    <a:pos x="34" y="2"/>
                  </a:cxn>
                  <a:cxn ang="0">
                    <a:pos x="34" y="2"/>
                  </a:cxn>
                  <a:cxn ang="0">
                    <a:pos x="26" y="0"/>
                  </a:cxn>
                </a:cxnLst>
                <a:rect l="0" t="0" r="r" b="b"/>
                <a:pathLst>
                  <a:path w="54" h="56">
                    <a:moveTo>
                      <a:pt x="26" y="0"/>
                    </a:moveTo>
                    <a:lnTo>
                      <a:pt x="26" y="0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4" y="1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32"/>
                    </a:lnTo>
                    <a:lnTo>
                      <a:pt x="2" y="42"/>
                    </a:lnTo>
                    <a:lnTo>
                      <a:pt x="10" y="50"/>
                    </a:lnTo>
                    <a:lnTo>
                      <a:pt x="20" y="54"/>
                    </a:lnTo>
                    <a:lnTo>
                      <a:pt x="20" y="54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36" y="54"/>
                    </a:lnTo>
                    <a:lnTo>
                      <a:pt x="42" y="50"/>
                    </a:lnTo>
                    <a:lnTo>
                      <a:pt x="48" y="44"/>
                    </a:lnTo>
                    <a:lnTo>
                      <a:pt x="52" y="36"/>
                    </a:lnTo>
                    <a:lnTo>
                      <a:pt x="52" y="36"/>
                    </a:lnTo>
                    <a:lnTo>
                      <a:pt x="54" y="24"/>
                    </a:lnTo>
                    <a:lnTo>
                      <a:pt x="50" y="14"/>
                    </a:lnTo>
                    <a:lnTo>
                      <a:pt x="44" y="6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42" name="Freeform 78"/>
              <p:cNvSpPr>
                <a:spLocks/>
              </p:cNvSpPr>
              <p:nvPr userDrawn="1"/>
            </p:nvSpPr>
            <p:spPr bwMode="auto">
              <a:xfrm>
                <a:off x="4486275" y="3527425"/>
                <a:ext cx="85725" cy="8890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4" y="12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0" y="32"/>
                  </a:cxn>
                  <a:cxn ang="0">
                    <a:pos x="2" y="42"/>
                  </a:cxn>
                  <a:cxn ang="0">
                    <a:pos x="10" y="50"/>
                  </a:cxn>
                  <a:cxn ang="0">
                    <a:pos x="20" y="54"/>
                  </a:cxn>
                  <a:cxn ang="0">
                    <a:pos x="20" y="54"/>
                  </a:cxn>
                  <a:cxn ang="0">
                    <a:pos x="26" y="56"/>
                  </a:cxn>
                  <a:cxn ang="0">
                    <a:pos x="26" y="56"/>
                  </a:cxn>
                  <a:cxn ang="0">
                    <a:pos x="36" y="54"/>
                  </a:cxn>
                  <a:cxn ang="0">
                    <a:pos x="42" y="50"/>
                  </a:cxn>
                  <a:cxn ang="0">
                    <a:pos x="48" y="44"/>
                  </a:cxn>
                  <a:cxn ang="0">
                    <a:pos x="52" y="36"/>
                  </a:cxn>
                  <a:cxn ang="0">
                    <a:pos x="52" y="36"/>
                  </a:cxn>
                  <a:cxn ang="0">
                    <a:pos x="54" y="24"/>
                  </a:cxn>
                  <a:cxn ang="0">
                    <a:pos x="50" y="14"/>
                  </a:cxn>
                  <a:cxn ang="0">
                    <a:pos x="44" y="6"/>
                  </a:cxn>
                  <a:cxn ang="0">
                    <a:pos x="34" y="2"/>
                  </a:cxn>
                  <a:cxn ang="0">
                    <a:pos x="34" y="2"/>
                  </a:cxn>
                  <a:cxn ang="0">
                    <a:pos x="26" y="0"/>
                  </a:cxn>
                </a:cxnLst>
                <a:rect l="0" t="0" r="r" b="b"/>
                <a:pathLst>
                  <a:path w="54" h="56">
                    <a:moveTo>
                      <a:pt x="26" y="0"/>
                    </a:moveTo>
                    <a:lnTo>
                      <a:pt x="26" y="0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4" y="1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32"/>
                    </a:lnTo>
                    <a:lnTo>
                      <a:pt x="2" y="42"/>
                    </a:lnTo>
                    <a:lnTo>
                      <a:pt x="10" y="50"/>
                    </a:lnTo>
                    <a:lnTo>
                      <a:pt x="20" y="54"/>
                    </a:lnTo>
                    <a:lnTo>
                      <a:pt x="20" y="54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36" y="54"/>
                    </a:lnTo>
                    <a:lnTo>
                      <a:pt x="42" y="50"/>
                    </a:lnTo>
                    <a:lnTo>
                      <a:pt x="48" y="44"/>
                    </a:lnTo>
                    <a:lnTo>
                      <a:pt x="52" y="36"/>
                    </a:lnTo>
                    <a:lnTo>
                      <a:pt x="52" y="36"/>
                    </a:lnTo>
                    <a:lnTo>
                      <a:pt x="54" y="24"/>
                    </a:lnTo>
                    <a:lnTo>
                      <a:pt x="50" y="14"/>
                    </a:lnTo>
                    <a:lnTo>
                      <a:pt x="44" y="6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2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43" name="Freeform 79"/>
              <p:cNvSpPr>
                <a:spLocks/>
              </p:cNvSpPr>
              <p:nvPr userDrawn="1"/>
            </p:nvSpPr>
            <p:spPr bwMode="auto">
              <a:xfrm>
                <a:off x="4314825" y="3784600"/>
                <a:ext cx="76200" cy="79375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6" y="2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0" y="28"/>
                  </a:cxn>
                  <a:cxn ang="0">
                    <a:pos x="2" y="36"/>
                  </a:cxn>
                  <a:cxn ang="0">
                    <a:pos x="8" y="44"/>
                  </a:cxn>
                  <a:cxn ang="0">
                    <a:pos x="18" y="48"/>
                  </a:cxn>
                  <a:cxn ang="0">
                    <a:pos x="18" y="48"/>
                  </a:cxn>
                  <a:cxn ang="0">
                    <a:pos x="24" y="50"/>
                  </a:cxn>
                  <a:cxn ang="0">
                    <a:pos x="24" y="50"/>
                  </a:cxn>
                  <a:cxn ang="0">
                    <a:pos x="32" y="48"/>
                  </a:cxn>
                  <a:cxn ang="0">
                    <a:pos x="38" y="44"/>
                  </a:cxn>
                  <a:cxn ang="0">
                    <a:pos x="44" y="38"/>
                  </a:cxn>
                  <a:cxn ang="0">
                    <a:pos x="48" y="30"/>
                  </a:cxn>
                  <a:cxn ang="0">
                    <a:pos x="48" y="30"/>
                  </a:cxn>
                  <a:cxn ang="0">
                    <a:pos x="48" y="22"/>
                  </a:cxn>
                  <a:cxn ang="0">
                    <a:pos x="44" y="12"/>
                  </a:cxn>
                  <a:cxn ang="0">
                    <a:pos x="38" y="6"/>
                  </a:cxn>
                  <a:cxn ang="0">
                    <a:pos x="30" y="0"/>
                  </a:cxn>
                  <a:cxn ang="0">
                    <a:pos x="30" y="0"/>
                  </a:cxn>
                  <a:cxn ang="0">
                    <a:pos x="24" y="0"/>
                  </a:cxn>
                </a:cxnLst>
                <a:rect l="0" t="0" r="r" b="b"/>
                <a:pathLst>
                  <a:path w="48" h="50">
                    <a:moveTo>
                      <a:pt x="24" y="0"/>
                    </a:moveTo>
                    <a:lnTo>
                      <a:pt x="24" y="0"/>
                    </a:lnTo>
                    <a:lnTo>
                      <a:pt x="16" y="2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28"/>
                    </a:lnTo>
                    <a:lnTo>
                      <a:pt x="2" y="36"/>
                    </a:lnTo>
                    <a:lnTo>
                      <a:pt x="8" y="44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32" y="48"/>
                    </a:lnTo>
                    <a:lnTo>
                      <a:pt x="38" y="44"/>
                    </a:lnTo>
                    <a:lnTo>
                      <a:pt x="44" y="38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22"/>
                    </a:lnTo>
                    <a:lnTo>
                      <a:pt x="44" y="12"/>
                    </a:lnTo>
                    <a:lnTo>
                      <a:pt x="38" y="6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44" name="Freeform 80"/>
              <p:cNvSpPr>
                <a:spLocks/>
              </p:cNvSpPr>
              <p:nvPr userDrawn="1"/>
            </p:nvSpPr>
            <p:spPr bwMode="auto">
              <a:xfrm>
                <a:off x="4314825" y="3784600"/>
                <a:ext cx="76200" cy="79375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6" y="2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0" y="28"/>
                  </a:cxn>
                  <a:cxn ang="0">
                    <a:pos x="2" y="36"/>
                  </a:cxn>
                  <a:cxn ang="0">
                    <a:pos x="8" y="44"/>
                  </a:cxn>
                  <a:cxn ang="0">
                    <a:pos x="18" y="48"/>
                  </a:cxn>
                  <a:cxn ang="0">
                    <a:pos x="18" y="48"/>
                  </a:cxn>
                  <a:cxn ang="0">
                    <a:pos x="24" y="50"/>
                  </a:cxn>
                  <a:cxn ang="0">
                    <a:pos x="24" y="50"/>
                  </a:cxn>
                  <a:cxn ang="0">
                    <a:pos x="32" y="48"/>
                  </a:cxn>
                  <a:cxn ang="0">
                    <a:pos x="38" y="44"/>
                  </a:cxn>
                  <a:cxn ang="0">
                    <a:pos x="44" y="38"/>
                  </a:cxn>
                  <a:cxn ang="0">
                    <a:pos x="48" y="30"/>
                  </a:cxn>
                  <a:cxn ang="0">
                    <a:pos x="48" y="30"/>
                  </a:cxn>
                  <a:cxn ang="0">
                    <a:pos x="48" y="22"/>
                  </a:cxn>
                  <a:cxn ang="0">
                    <a:pos x="44" y="12"/>
                  </a:cxn>
                  <a:cxn ang="0">
                    <a:pos x="38" y="6"/>
                  </a:cxn>
                  <a:cxn ang="0">
                    <a:pos x="30" y="0"/>
                  </a:cxn>
                  <a:cxn ang="0">
                    <a:pos x="30" y="0"/>
                  </a:cxn>
                  <a:cxn ang="0">
                    <a:pos x="24" y="0"/>
                  </a:cxn>
                </a:cxnLst>
                <a:rect l="0" t="0" r="r" b="b"/>
                <a:pathLst>
                  <a:path w="48" h="50">
                    <a:moveTo>
                      <a:pt x="24" y="0"/>
                    </a:moveTo>
                    <a:lnTo>
                      <a:pt x="24" y="0"/>
                    </a:lnTo>
                    <a:lnTo>
                      <a:pt x="16" y="2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28"/>
                    </a:lnTo>
                    <a:lnTo>
                      <a:pt x="2" y="36"/>
                    </a:lnTo>
                    <a:lnTo>
                      <a:pt x="8" y="44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32" y="48"/>
                    </a:lnTo>
                    <a:lnTo>
                      <a:pt x="38" y="44"/>
                    </a:lnTo>
                    <a:lnTo>
                      <a:pt x="44" y="38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22"/>
                    </a:lnTo>
                    <a:lnTo>
                      <a:pt x="44" y="12"/>
                    </a:lnTo>
                    <a:lnTo>
                      <a:pt x="38" y="6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2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45" name="Freeform 81"/>
              <p:cNvSpPr>
                <a:spLocks/>
              </p:cNvSpPr>
              <p:nvPr userDrawn="1"/>
            </p:nvSpPr>
            <p:spPr bwMode="auto">
              <a:xfrm>
                <a:off x="4187825" y="4067175"/>
                <a:ext cx="69850" cy="69850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2" y="32"/>
                  </a:cxn>
                  <a:cxn ang="0">
                    <a:pos x="8" y="40"/>
                  </a:cxn>
                  <a:cxn ang="0">
                    <a:pos x="16" y="44"/>
                  </a:cxn>
                  <a:cxn ang="0">
                    <a:pos x="16" y="44"/>
                  </a:cxn>
                  <a:cxn ang="0">
                    <a:pos x="22" y="44"/>
                  </a:cxn>
                  <a:cxn ang="0">
                    <a:pos x="22" y="44"/>
                  </a:cxn>
                  <a:cxn ang="0">
                    <a:pos x="28" y="42"/>
                  </a:cxn>
                  <a:cxn ang="0">
                    <a:pos x="36" y="40"/>
                  </a:cxn>
                  <a:cxn ang="0">
                    <a:pos x="40" y="34"/>
                  </a:cxn>
                  <a:cxn ang="0">
                    <a:pos x="44" y="28"/>
                  </a:cxn>
                  <a:cxn ang="0">
                    <a:pos x="44" y="28"/>
                  </a:cxn>
                  <a:cxn ang="0">
                    <a:pos x="44" y="18"/>
                  </a:cxn>
                  <a:cxn ang="0">
                    <a:pos x="40" y="10"/>
                  </a:cxn>
                  <a:cxn ang="0">
                    <a:pos x="36" y="4"/>
                  </a:cxn>
                  <a:cxn ang="0">
                    <a:pos x="28" y="0"/>
                  </a:cxn>
                  <a:cxn ang="0">
                    <a:pos x="28" y="0"/>
                  </a:cxn>
                  <a:cxn ang="0">
                    <a:pos x="22" y="0"/>
                  </a:cxn>
                </a:cxnLst>
                <a:rect l="0" t="0" r="r" b="b"/>
                <a:pathLst>
                  <a:path w="44" h="44">
                    <a:moveTo>
                      <a:pt x="22" y="0"/>
                    </a:moveTo>
                    <a:lnTo>
                      <a:pt x="22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2" y="32"/>
                    </a:lnTo>
                    <a:lnTo>
                      <a:pt x="8" y="40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8" y="42"/>
                    </a:lnTo>
                    <a:lnTo>
                      <a:pt x="36" y="40"/>
                    </a:lnTo>
                    <a:lnTo>
                      <a:pt x="40" y="34"/>
                    </a:lnTo>
                    <a:lnTo>
                      <a:pt x="44" y="28"/>
                    </a:lnTo>
                    <a:lnTo>
                      <a:pt x="44" y="28"/>
                    </a:lnTo>
                    <a:lnTo>
                      <a:pt x="44" y="18"/>
                    </a:lnTo>
                    <a:lnTo>
                      <a:pt x="40" y="10"/>
                    </a:lnTo>
                    <a:lnTo>
                      <a:pt x="36" y="4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46" name="Freeform 82"/>
              <p:cNvSpPr>
                <a:spLocks/>
              </p:cNvSpPr>
              <p:nvPr userDrawn="1"/>
            </p:nvSpPr>
            <p:spPr bwMode="auto">
              <a:xfrm>
                <a:off x="4187825" y="4067175"/>
                <a:ext cx="69850" cy="69850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2" y="32"/>
                  </a:cxn>
                  <a:cxn ang="0">
                    <a:pos x="8" y="40"/>
                  </a:cxn>
                  <a:cxn ang="0">
                    <a:pos x="16" y="44"/>
                  </a:cxn>
                  <a:cxn ang="0">
                    <a:pos x="16" y="44"/>
                  </a:cxn>
                  <a:cxn ang="0">
                    <a:pos x="22" y="44"/>
                  </a:cxn>
                  <a:cxn ang="0">
                    <a:pos x="22" y="44"/>
                  </a:cxn>
                  <a:cxn ang="0">
                    <a:pos x="28" y="42"/>
                  </a:cxn>
                  <a:cxn ang="0">
                    <a:pos x="36" y="40"/>
                  </a:cxn>
                  <a:cxn ang="0">
                    <a:pos x="40" y="34"/>
                  </a:cxn>
                  <a:cxn ang="0">
                    <a:pos x="44" y="28"/>
                  </a:cxn>
                  <a:cxn ang="0">
                    <a:pos x="44" y="28"/>
                  </a:cxn>
                  <a:cxn ang="0">
                    <a:pos x="44" y="18"/>
                  </a:cxn>
                  <a:cxn ang="0">
                    <a:pos x="40" y="10"/>
                  </a:cxn>
                  <a:cxn ang="0">
                    <a:pos x="36" y="4"/>
                  </a:cxn>
                  <a:cxn ang="0">
                    <a:pos x="28" y="0"/>
                  </a:cxn>
                  <a:cxn ang="0">
                    <a:pos x="28" y="0"/>
                  </a:cxn>
                  <a:cxn ang="0">
                    <a:pos x="22" y="0"/>
                  </a:cxn>
                </a:cxnLst>
                <a:rect l="0" t="0" r="r" b="b"/>
                <a:pathLst>
                  <a:path w="44" h="44">
                    <a:moveTo>
                      <a:pt x="22" y="0"/>
                    </a:moveTo>
                    <a:lnTo>
                      <a:pt x="22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2" y="32"/>
                    </a:lnTo>
                    <a:lnTo>
                      <a:pt x="8" y="40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8" y="42"/>
                    </a:lnTo>
                    <a:lnTo>
                      <a:pt x="36" y="40"/>
                    </a:lnTo>
                    <a:lnTo>
                      <a:pt x="40" y="34"/>
                    </a:lnTo>
                    <a:lnTo>
                      <a:pt x="44" y="28"/>
                    </a:lnTo>
                    <a:lnTo>
                      <a:pt x="44" y="28"/>
                    </a:lnTo>
                    <a:lnTo>
                      <a:pt x="44" y="18"/>
                    </a:lnTo>
                    <a:lnTo>
                      <a:pt x="40" y="10"/>
                    </a:lnTo>
                    <a:lnTo>
                      <a:pt x="36" y="4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47" name="Freeform 83"/>
              <p:cNvSpPr>
                <a:spLocks/>
              </p:cNvSpPr>
              <p:nvPr userDrawn="1"/>
            </p:nvSpPr>
            <p:spPr bwMode="auto">
              <a:xfrm>
                <a:off x="4111625" y="4365625"/>
                <a:ext cx="63500" cy="63500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2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2" y="30"/>
                  </a:cxn>
                  <a:cxn ang="0">
                    <a:pos x="8" y="36"/>
                  </a:cxn>
                  <a:cxn ang="0">
                    <a:pos x="14" y="40"/>
                  </a:cxn>
                  <a:cxn ang="0">
                    <a:pos x="14" y="40"/>
                  </a:cxn>
                  <a:cxn ang="0">
                    <a:pos x="20" y="40"/>
                  </a:cxn>
                  <a:cxn ang="0">
                    <a:pos x="20" y="40"/>
                  </a:cxn>
                  <a:cxn ang="0">
                    <a:pos x="26" y="40"/>
                  </a:cxn>
                  <a:cxn ang="0">
                    <a:pos x="32" y="36"/>
                  </a:cxn>
                  <a:cxn ang="0">
                    <a:pos x="36" y="32"/>
                  </a:cxn>
                  <a:cxn ang="0">
                    <a:pos x="38" y="26"/>
                  </a:cxn>
                  <a:cxn ang="0">
                    <a:pos x="38" y="26"/>
                  </a:cxn>
                  <a:cxn ang="0">
                    <a:pos x="40" y="18"/>
                  </a:cxn>
                  <a:cxn ang="0">
                    <a:pos x="36" y="10"/>
                  </a:cxn>
                  <a:cxn ang="0">
                    <a:pos x="32" y="4"/>
                  </a:cxn>
                  <a:cxn ang="0">
                    <a:pos x="24" y="2"/>
                  </a:cxn>
                  <a:cxn ang="0">
                    <a:pos x="24" y="2"/>
                  </a:cxn>
                  <a:cxn ang="0">
                    <a:pos x="20" y="0"/>
                  </a:cxn>
                </a:cxnLst>
                <a:rect l="0" t="0" r="r" b="b"/>
                <a:pathLst>
                  <a:path w="40" h="40">
                    <a:moveTo>
                      <a:pt x="20" y="0"/>
                    </a:moveTo>
                    <a:lnTo>
                      <a:pt x="20" y="0"/>
                    </a:lnTo>
                    <a:lnTo>
                      <a:pt x="14" y="2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2" y="30"/>
                    </a:lnTo>
                    <a:lnTo>
                      <a:pt x="8" y="36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6" y="40"/>
                    </a:lnTo>
                    <a:lnTo>
                      <a:pt x="32" y="36"/>
                    </a:lnTo>
                    <a:lnTo>
                      <a:pt x="36" y="32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40" y="18"/>
                    </a:lnTo>
                    <a:lnTo>
                      <a:pt x="36" y="10"/>
                    </a:lnTo>
                    <a:lnTo>
                      <a:pt x="32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48" name="Freeform 84"/>
              <p:cNvSpPr>
                <a:spLocks/>
              </p:cNvSpPr>
              <p:nvPr userDrawn="1"/>
            </p:nvSpPr>
            <p:spPr bwMode="auto">
              <a:xfrm>
                <a:off x="4111625" y="4365625"/>
                <a:ext cx="63500" cy="63500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2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2" y="30"/>
                  </a:cxn>
                  <a:cxn ang="0">
                    <a:pos x="8" y="36"/>
                  </a:cxn>
                  <a:cxn ang="0">
                    <a:pos x="14" y="40"/>
                  </a:cxn>
                  <a:cxn ang="0">
                    <a:pos x="14" y="40"/>
                  </a:cxn>
                  <a:cxn ang="0">
                    <a:pos x="20" y="40"/>
                  </a:cxn>
                  <a:cxn ang="0">
                    <a:pos x="20" y="40"/>
                  </a:cxn>
                  <a:cxn ang="0">
                    <a:pos x="26" y="40"/>
                  </a:cxn>
                  <a:cxn ang="0">
                    <a:pos x="32" y="36"/>
                  </a:cxn>
                  <a:cxn ang="0">
                    <a:pos x="36" y="32"/>
                  </a:cxn>
                  <a:cxn ang="0">
                    <a:pos x="38" y="26"/>
                  </a:cxn>
                  <a:cxn ang="0">
                    <a:pos x="38" y="26"/>
                  </a:cxn>
                  <a:cxn ang="0">
                    <a:pos x="40" y="18"/>
                  </a:cxn>
                  <a:cxn ang="0">
                    <a:pos x="36" y="10"/>
                  </a:cxn>
                  <a:cxn ang="0">
                    <a:pos x="32" y="4"/>
                  </a:cxn>
                  <a:cxn ang="0">
                    <a:pos x="24" y="2"/>
                  </a:cxn>
                  <a:cxn ang="0">
                    <a:pos x="24" y="2"/>
                  </a:cxn>
                  <a:cxn ang="0">
                    <a:pos x="20" y="0"/>
                  </a:cxn>
                </a:cxnLst>
                <a:rect l="0" t="0" r="r" b="b"/>
                <a:pathLst>
                  <a:path w="40" h="40">
                    <a:moveTo>
                      <a:pt x="20" y="0"/>
                    </a:moveTo>
                    <a:lnTo>
                      <a:pt x="20" y="0"/>
                    </a:lnTo>
                    <a:lnTo>
                      <a:pt x="14" y="2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2" y="30"/>
                    </a:lnTo>
                    <a:lnTo>
                      <a:pt x="8" y="36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6" y="40"/>
                    </a:lnTo>
                    <a:lnTo>
                      <a:pt x="32" y="36"/>
                    </a:lnTo>
                    <a:lnTo>
                      <a:pt x="36" y="32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40" y="18"/>
                    </a:lnTo>
                    <a:lnTo>
                      <a:pt x="36" y="10"/>
                    </a:lnTo>
                    <a:lnTo>
                      <a:pt x="32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2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49" name="Freeform 85"/>
              <p:cNvSpPr>
                <a:spLocks/>
              </p:cNvSpPr>
              <p:nvPr userDrawn="1"/>
            </p:nvSpPr>
            <p:spPr bwMode="auto">
              <a:xfrm>
                <a:off x="5546725" y="3159125"/>
                <a:ext cx="139700" cy="139700"/>
              </a:xfrm>
              <a:custGeom>
                <a:avLst/>
                <a:gdLst/>
                <a:ahLst/>
                <a:cxnLst>
                  <a:cxn ang="0">
                    <a:pos x="44" y="0"/>
                  </a:cxn>
                  <a:cxn ang="0">
                    <a:pos x="44" y="0"/>
                  </a:cxn>
                  <a:cxn ang="0">
                    <a:pos x="32" y="2"/>
                  </a:cxn>
                  <a:cxn ang="0">
                    <a:pos x="32" y="2"/>
                  </a:cxn>
                  <a:cxn ang="0">
                    <a:pos x="24" y="6"/>
                  </a:cxn>
                  <a:cxn ang="0">
                    <a:pos x="18" y="10"/>
                  </a:cxn>
                  <a:cxn ang="0">
                    <a:pos x="12" y="16"/>
                  </a:cxn>
                  <a:cxn ang="0">
                    <a:pos x="6" y="22"/>
                  </a:cxn>
                  <a:cxn ang="0">
                    <a:pos x="2" y="30"/>
                  </a:cxn>
                  <a:cxn ang="0">
                    <a:pos x="0" y="38"/>
                  </a:cxn>
                  <a:cxn ang="0">
                    <a:pos x="0" y="48"/>
                  </a:cxn>
                  <a:cxn ang="0">
                    <a:pos x="2" y="56"/>
                  </a:cxn>
                  <a:cxn ang="0">
                    <a:pos x="2" y="56"/>
                  </a:cxn>
                  <a:cxn ang="0">
                    <a:pos x="4" y="64"/>
                  </a:cxn>
                  <a:cxn ang="0">
                    <a:pos x="8" y="70"/>
                  </a:cxn>
                  <a:cxn ang="0">
                    <a:pos x="18" y="80"/>
                  </a:cxn>
                  <a:cxn ang="0">
                    <a:pos x="30" y="86"/>
                  </a:cxn>
                  <a:cxn ang="0">
                    <a:pos x="44" y="88"/>
                  </a:cxn>
                  <a:cxn ang="0">
                    <a:pos x="44" y="88"/>
                  </a:cxn>
                  <a:cxn ang="0">
                    <a:pos x="56" y="88"/>
                  </a:cxn>
                  <a:cxn ang="0">
                    <a:pos x="56" y="88"/>
                  </a:cxn>
                  <a:cxn ang="0">
                    <a:pos x="64" y="84"/>
                  </a:cxn>
                  <a:cxn ang="0">
                    <a:pos x="72" y="80"/>
                  </a:cxn>
                  <a:cxn ang="0">
                    <a:pos x="78" y="74"/>
                  </a:cxn>
                  <a:cxn ang="0">
                    <a:pos x="82" y="66"/>
                  </a:cxn>
                  <a:cxn ang="0">
                    <a:pos x="86" y="58"/>
                  </a:cxn>
                  <a:cxn ang="0">
                    <a:pos x="88" y="50"/>
                  </a:cxn>
                  <a:cxn ang="0">
                    <a:pos x="88" y="42"/>
                  </a:cxn>
                  <a:cxn ang="0">
                    <a:pos x="86" y="34"/>
                  </a:cxn>
                  <a:cxn ang="0">
                    <a:pos x="86" y="34"/>
                  </a:cxn>
                  <a:cxn ang="0">
                    <a:pos x="84" y="26"/>
                  </a:cxn>
                  <a:cxn ang="0">
                    <a:pos x="80" y="20"/>
                  </a:cxn>
                  <a:cxn ang="0">
                    <a:pos x="70" y="10"/>
                  </a:cxn>
                  <a:cxn ang="0">
                    <a:pos x="58" y="4"/>
                  </a:cxn>
                  <a:cxn ang="0">
                    <a:pos x="44" y="0"/>
                  </a:cxn>
                </a:cxnLst>
                <a:rect l="0" t="0" r="r" b="b"/>
                <a:pathLst>
                  <a:path w="88" h="88">
                    <a:moveTo>
                      <a:pt x="44" y="0"/>
                    </a:moveTo>
                    <a:lnTo>
                      <a:pt x="44" y="0"/>
                    </a:lnTo>
                    <a:lnTo>
                      <a:pt x="32" y="2"/>
                    </a:lnTo>
                    <a:lnTo>
                      <a:pt x="32" y="2"/>
                    </a:lnTo>
                    <a:lnTo>
                      <a:pt x="24" y="6"/>
                    </a:lnTo>
                    <a:lnTo>
                      <a:pt x="18" y="10"/>
                    </a:lnTo>
                    <a:lnTo>
                      <a:pt x="12" y="16"/>
                    </a:lnTo>
                    <a:lnTo>
                      <a:pt x="6" y="22"/>
                    </a:lnTo>
                    <a:lnTo>
                      <a:pt x="2" y="30"/>
                    </a:lnTo>
                    <a:lnTo>
                      <a:pt x="0" y="38"/>
                    </a:lnTo>
                    <a:lnTo>
                      <a:pt x="0" y="48"/>
                    </a:lnTo>
                    <a:lnTo>
                      <a:pt x="2" y="56"/>
                    </a:lnTo>
                    <a:lnTo>
                      <a:pt x="2" y="56"/>
                    </a:lnTo>
                    <a:lnTo>
                      <a:pt x="4" y="64"/>
                    </a:lnTo>
                    <a:lnTo>
                      <a:pt x="8" y="70"/>
                    </a:lnTo>
                    <a:lnTo>
                      <a:pt x="18" y="80"/>
                    </a:lnTo>
                    <a:lnTo>
                      <a:pt x="30" y="86"/>
                    </a:lnTo>
                    <a:lnTo>
                      <a:pt x="44" y="88"/>
                    </a:lnTo>
                    <a:lnTo>
                      <a:pt x="44" y="88"/>
                    </a:lnTo>
                    <a:lnTo>
                      <a:pt x="56" y="88"/>
                    </a:lnTo>
                    <a:lnTo>
                      <a:pt x="56" y="88"/>
                    </a:lnTo>
                    <a:lnTo>
                      <a:pt x="64" y="84"/>
                    </a:lnTo>
                    <a:lnTo>
                      <a:pt x="72" y="80"/>
                    </a:lnTo>
                    <a:lnTo>
                      <a:pt x="78" y="74"/>
                    </a:lnTo>
                    <a:lnTo>
                      <a:pt x="82" y="66"/>
                    </a:lnTo>
                    <a:lnTo>
                      <a:pt x="86" y="58"/>
                    </a:lnTo>
                    <a:lnTo>
                      <a:pt x="88" y="50"/>
                    </a:lnTo>
                    <a:lnTo>
                      <a:pt x="88" y="42"/>
                    </a:lnTo>
                    <a:lnTo>
                      <a:pt x="86" y="34"/>
                    </a:lnTo>
                    <a:lnTo>
                      <a:pt x="86" y="34"/>
                    </a:lnTo>
                    <a:lnTo>
                      <a:pt x="84" y="26"/>
                    </a:lnTo>
                    <a:lnTo>
                      <a:pt x="80" y="20"/>
                    </a:lnTo>
                    <a:lnTo>
                      <a:pt x="70" y="10"/>
                    </a:lnTo>
                    <a:lnTo>
                      <a:pt x="58" y="4"/>
                    </a:lnTo>
                    <a:lnTo>
                      <a:pt x="4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50" name="Freeform 86"/>
              <p:cNvSpPr>
                <a:spLocks/>
              </p:cNvSpPr>
              <p:nvPr userDrawn="1"/>
            </p:nvSpPr>
            <p:spPr bwMode="auto">
              <a:xfrm>
                <a:off x="5546725" y="3159125"/>
                <a:ext cx="139700" cy="139700"/>
              </a:xfrm>
              <a:custGeom>
                <a:avLst/>
                <a:gdLst/>
                <a:ahLst/>
                <a:cxnLst>
                  <a:cxn ang="0">
                    <a:pos x="44" y="0"/>
                  </a:cxn>
                  <a:cxn ang="0">
                    <a:pos x="44" y="0"/>
                  </a:cxn>
                  <a:cxn ang="0">
                    <a:pos x="32" y="2"/>
                  </a:cxn>
                  <a:cxn ang="0">
                    <a:pos x="32" y="2"/>
                  </a:cxn>
                  <a:cxn ang="0">
                    <a:pos x="24" y="6"/>
                  </a:cxn>
                  <a:cxn ang="0">
                    <a:pos x="18" y="10"/>
                  </a:cxn>
                  <a:cxn ang="0">
                    <a:pos x="12" y="16"/>
                  </a:cxn>
                  <a:cxn ang="0">
                    <a:pos x="6" y="22"/>
                  </a:cxn>
                  <a:cxn ang="0">
                    <a:pos x="2" y="30"/>
                  </a:cxn>
                  <a:cxn ang="0">
                    <a:pos x="0" y="38"/>
                  </a:cxn>
                  <a:cxn ang="0">
                    <a:pos x="0" y="48"/>
                  </a:cxn>
                  <a:cxn ang="0">
                    <a:pos x="2" y="56"/>
                  </a:cxn>
                  <a:cxn ang="0">
                    <a:pos x="2" y="56"/>
                  </a:cxn>
                  <a:cxn ang="0">
                    <a:pos x="4" y="64"/>
                  </a:cxn>
                  <a:cxn ang="0">
                    <a:pos x="8" y="70"/>
                  </a:cxn>
                  <a:cxn ang="0">
                    <a:pos x="18" y="80"/>
                  </a:cxn>
                  <a:cxn ang="0">
                    <a:pos x="30" y="86"/>
                  </a:cxn>
                  <a:cxn ang="0">
                    <a:pos x="44" y="88"/>
                  </a:cxn>
                  <a:cxn ang="0">
                    <a:pos x="44" y="88"/>
                  </a:cxn>
                  <a:cxn ang="0">
                    <a:pos x="56" y="88"/>
                  </a:cxn>
                  <a:cxn ang="0">
                    <a:pos x="56" y="88"/>
                  </a:cxn>
                  <a:cxn ang="0">
                    <a:pos x="64" y="84"/>
                  </a:cxn>
                  <a:cxn ang="0">
                    <a:pos x="72" y="80"/>
                  </a:cxn>
                  <a:cxn ang="0">
                    <a:pos x="78" y="74"/>
                  </a:cxn>
                  <a:cxn ang="0">
                    <a:pos x="82" y="66"/>
                  </a:cxn>
                  <a:cxn ang="0">
                    <a:pos x="86" y="58"/>
                  </a:cxn>
                  <a:cxn ang="0">
                    <a:pos x="88" y="50"/>
                  </a:cxn>
                  <a:cxn ang="0">
                    <a:pos x="88" y="42"/>
                  </a:cxn>
                  <a:cxn ang="0">
                    <a:pos x="86" y="34"/>
                  </a:cxn>
                  <a:cxn ang="0">
                    <a:pos x="86" y="34"/>
                  </a:cxn>
                  <a:cxn ang="0">
                    <a:pos x="84" y="26"/>
                  </a:cxn>
                  <a:cxn ang="0">
                    <a:pos x="80" y="20"/>
                  </a:cxn>
                  <a:cxn ang="0">
                    <a:pos x="70" y="10"/>
                  </a:cxn>
                  <a:cxn ang="0">
                    <a:pos x="58" y="4"/>
                  </a:cxn>
                  <a:cxn ang="0">
                    <a:pos x="44" y="0"/>
                  </a:cxn>
                </a:cxnLst>
                <a:rect l="0" t="0" r="r" b="b"/>
                <a:pathLst>
                  <a:path w="88" h="88">
                    <a:moveTo>
                      <a:pt x="44" y="0"/>
                    </a:moveTo>
                    <a:lnTo>
                      <a:pt x="44" y="0"/>
                    </a:lnTo>
                    <a:lnTo>
                      <a:pt x="32" y="2"/>
                    </a:lnTo>
                    <a:lnTo>
                      <a:pt x="32" y="2"/>
                    </a:lnTo>
                    <a:lnTo>
                      <a:pt x="24" y="6"/>
                    </a:lnTo>
                    <a:lnTo>
                      <a:pt x="18" y="10"/>
                    </a:lnTo>
                    <a:lnTo>
                      <a:pt x="12" y="16"/>
                    </a:lnTo>
                    <a:lnTo>
                      <a:pt x="6" y="22"/>
                    </a:lnTo>
                    <a:lnTo>
                      <a:pt x="2" y="30"/>
                    </a:lnTo>
                    <a:lnTo>
                      <a:pt x="0" y="38"/>
                    </a:lnTo>
                    <a:lnTo>
                      <a:pt x="0" y="48"/>
                    </a:lnTo>
                    <a:lnTo>
                      <a:pt x="2" y="56"/>
                    </a:lnTo>
                    <a:lnTo>
                      <a:pt x="2" y="56"/>
                    </a:lnTo>
                    <a:lnTo>
                      <a:pt x="4" y="64"/>
                    </a:lnTo>
                    <a:lnTo>
                      <a:pt x="8" y="70"/>
                    </a:lnTo>
                    <a:lnTo>
                      <a:pt x="18" y="80"/>
                    </a:lnTo>
                    <a:lnTo>
                      <a:pt x="30" y="86"/>
                    </a:lnTo>
                    <a:lnTo>
                      <a:pt x="44" y="88"/>
                    </a:lnTo>
                    <a:lnTo>
                      <a:pt x="44" y="88"/>
                    </a:lnTo>
                    <a:lnTo>
                      <a:pt x="56" y="88"/>
                    </a:lnTo>
                    <a:lnTo>
                      <a:pt x="56" y="88"/>
                    </a:lnTo>
                    <a:lnTo>
                      <a:pt x="64" y="84"/>
                    </a:lnTo>
                    <a:lnTo>
                      <a:pt x="72" y="80"/>
                    </a:lnTo>
                    <a:lnTo>
                      <a:pt x="78" y="74"/>
                    </a:lnTo>
                    <a:lnTo>
                      <a:pt x="82" y="66"/>
                    </a:lnTo>
                    <a:lnTo>
                      <a:pt x="86" y="58"/>
                    </a:lnTo>
                    <a:lnTo>
                      <a:pt x="88" y="50"/>
                    </a:lnTo>
                    <a:lnTo>
                      <a:pt x="88" y="42"/>
                    </a:lnTo>
                    <a:lnTo>
                      <a:pt x="86" y="34"/>
                    </a:lnTo>
                    <a:lnTo>
                      <a:pt x="86" y="34"/>
                    </a:lnTo>
                    <a:lnTo>
                      <a:pt x="84" y="26"/>
                    </a:lnTo>
                    <a:lnTo>
                      <a:pt x="80" y="20"/>
                    </a:lnTo>
                    <a:lnTo>
                      <a:pt x="70" y="10"/>
                    </a:lnTo>
                    <a:lnTo>
                      <a:pt x="58" y="4"/>
                    </a:lnTo>
                    <a:lnTo>
                      <a:pt x="4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51" name="Freeform 87"/>
              <p:cNvSpPr>
                <a:spLocks/>
              </p:cNvSpPr>
              <p:nvPr userDrawn="1"/>
            </p:nvSpPr>
            <p:spPr bwMode="auto">
              <a:xfrm>
                <a:off x="5813425" y="3143250"/>
                <a:ext cx="127000" cy="127000"/>
              </a:xfrm>
              <a:custGeom>
                <a:avLst/>
                <a:gdLst/>
                <a:ahLst/>
                <a:cxnLst>
                  <a:cxn ang="0">
                    <a:pos x="40" y="0"/>
                  </a:cxn>
                  <a:cxn ang="0">
                    <a:pos x="40" y="0"/>
                  </a:cxn>
                  <a:cxn ang="0">
                    <a:pos x="30" y="2"/>
                  </a:cxn>
                  <a:cxn ang="0">
                    <a:pos x="30" y="2"/>
                  </a:cxn>
                  <a:cxn ang="0">
                    <a:pos x="22" y="6"/>
                  </a:cxn>
                  <a:cxn ang="0">
                    <a:pos x="16" y="10"/>
                  </a:cxn>
                  <a:cxn ang="0">
                    <a:pos x="10" y="14"/>
                  </a:cxn>
                  <a:cxn ang="0">
                    <a:pos x="6" y="20"/>
                  </a:cxn>
                  <a:cxn ang="0">
                    <a:pos x="2" y="28"/>
                  </a:cxn>
                  <a:cxn ang="0">
                    <a:pos x="0" y="34"/>
                  </a:cxn>
                  <a:cxn ang="0">
                    <a:pos x="0" y="42"/>
                  </a:cxn>
                  <a:cxn ang="0">
                    <a:pos x="2" y="50"/>
                  </a:cxn>
                  <a:cxn ang="0">
                    <a:pos x="2" y="50"/>
                  </a:cxn>
                  <a:cxn ang="0">
                    <a:pos x="8" y="62"/>
                  </a:cxn>
                  <a:cxn ang="0">
                    <a:pos x="16" y="72"/>
                  </a:cxn>
                  <a:cxn ang="0">
                    <a:pos x="28" y="78"/>
                  </a:cxn>
                  <a:cxn ang="0">
                    <a:pos x="40" y="80"/>
                  </a:cxn>
                  <a:cxn ang="0">
                    <a:pos x="40" y="80"/>
                  </a:cxn>
                  <a:cxn ang="0">
                    <a:pos x="50" y="78"/>
                  </a:cxn>
                  <a:cxn ang="0">
                    <a:pos x="50" y="78"/>
                  </a:cxn>
                  <a:cxn ang="0">
                    <a:pos x="58" y="76"/>
                  </a:cxn>
                  <a:cxn ang="0">
                    <a:pos x="64" y="72"/>
                  </a:cxn>
                  <a:cxn ang="0">
                    <a:pos x="70" y="66"/>
                  </a:cxn>
                  <a:cxn ang="0">
                    <a:pos x="74" y="60"/>
                  </a:cxn>
                  <a:cxn ang="0">
                    <a:pos x="78" y="54"/>
                  </a:cxn>
                  <a:cxn ang="0">
                    <a:pos x="80" y="46"/>
                  </a:cxn>
                  <a:cxn ang="0">
                    <a:pos x="80" y="38"/>
                  </a:cxn>
                  <a:cxn ang="0">
                    <a:pos x="78" y="30"/>
                  </a:cxn>
                  <a:cxn ang="0">
                    <a:pos x="78" y="30"/>
                  </a:cxn>
                  <a:cxn ang="0">
                    <a:pos x="72" y="18"/>
                  </a:cxn>
                  <a:cxn ang="0">
                    <a:pos x="64" y="8"/>
                  </a:cxn>
                  <a:cxn ang="0">
                    <a:pos x="52" y="4"/>
                  </a:cxn>
                  <a:cxn ang="0">
                    <a:pos x="40" y="0"/>
                  </a:cxn>
                </a:cxnLst>
                <a:rect l="0" t="0" r="r" b="b"/>
                <a:pathLst>
                  <a:path w="80" h="80">
                    <a:moveTo>
                      <a:pt x="40" y="0"/>
                    </a:moveTo>
                    <a:lnTo>
                      <a:pt x="40" y="0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22" y="6"/>
                    </a:lnTo>
                    <a:lnTo>
                      <a:pt x="16" y="10"/>
                    </a:lnTo>
                    <a:lnTo>
                      <a:pt x="10" y="14"/>
                    </a:lnTo>
                    <a:lnTo>
                      <a:pt x="6" y="20"/>
                    </a:lnTo>
                    <a:lnTo>
                      <a:pt x="2" y="28"/>
                    </a:lnTo>
                    <a:lnTo>
                      <a:pt x="0" y="34"/>
                    </a:lnTo>
                    <a:lnTo>
                      <a:pt x="0" y="42"/>
                    </a:lnTo>
                    <a:lnTo>
                      <a:pt x="2" y="50"/>
                    </a:lnTo>
                    <a:lnTo>
                      <a:pt x="2" y="50"/>
                    </a:lnTo>
                    <a:lnTo>
                      <a:pt x="8" y="62"/>
                    </a:lnTo>
                    <a:lnTo>
                      <a:pt x="16" y="72"/>
                    </a:lnTo>
                    <a:lnTo>
                      <a:pt x="28" y="78"/>
                    </a:lnTo>
                    <a:lnTo>
                      <a:pt x="40" y="80"/>
                    </a:lnTo>
                    <a:lnTo>
                      <a:pt x="40" y="80"/>
                    </a:lnTo>
                    <a:lnTo>
                      <a:pt x="50" y="78"/>
                    </a:lnTo>
                    <a:lnTo>
                      <a:pt x="50" y="78"/>
                    </a:lnTo>
                    <a:lnTo>
                      <a:pt x="58" y="76"/>
                    </a:lnTo>
                    <a:lnTo>
                      <a:pt x="64" y="72"/>
                    </a:lnTo>
                    <a:lnTo>
                      <a:pt x="70" y="66"/>
                    </a:lnTo>
                    <a:lnTo>
                      <a:pt x="74" y="60"/>
                    </a:lnTo>
                    <a:lnTo>
                      <a:pt x="78" y="54"/>
                    </a:lnTo>
                    <a:lnTo>
                      <a:pt x="80" y="46"/>
                    </a:lnTo>
                    <a:lnTo>
                      <a:pt x="80" y="38"/>
                    </a:lnTo>
                    <a:lnTo>
                      <a:pt x="78" y="30"/>
                    </a:lnTo>
                    <a:lnTo>
                      <a:pt x="78" y="30"/>
                    </a:lnTo>
                    <a:lnTo>
                      <a:pt x="72" y="18"/>
                    </a:lnTo>
                    <a:lnTo>
                      <a:pt x="64" y="8"/>
                    </a:lnTo>
                    <a:lnTo>
                      <a:pt x="52" y="4"/>
                    </a:lnTo>
                    <a:lnTo>
                      <a:pt x="4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52" name="Freeform 88"/>
              <p:cNvSpPr>
                <a:spLocks/>
              </p:cNvSpPr>
              <p:nvPr userDrawn="1"/>
            </p:nvSpPr>
            <p:spPr bwMode="auto">
              <a:xfrm>
                <a:off x="5813425" y="3143250"/>
                <a:ext cx="127000" cy="127000"/>
              </a:xfrm>
              <a:custGeom>
                <a:avLst/>
                <a:gdLst/>
                <a:ahLst/>
                <a:cxnLst>
                  <a:cxn ang="0">
                    <a:pos x="40" y="0"/>
                  </a:cxn>
                  <a:cxn ang="0">
                    <a:pos x="40" y="0"/>
                  </a:cxn>
                  <a:cxn ang="0">
                    <a:pos x="30" y="2"/>
                  </a:cxn>
                  <a:cxn ang="0">
                    <a:pos x="30" y="2"/>
                  </a:cxn>
                  <a:cxn ang="0">
                    <a:pos x="22" y="6"/>
                  </a:cxn>
                  <a:cxn ang="0">
                    <a:pos x="16" y="10"/>
                  </a:cxn>
                  <a:cxn ang="0">
                    <a:pos x="10" y="14"/>
                  </a:cxn>
                  <a:cxn ang="0">
                    <a:pos x="6" y="20"/>
                  </a:cxn>
                  <a:cxn ang="0">
                    <a:pos x="2" y="28"/>
                  </a:cxn>
                  <a:cxn ang="0">
                    <a:pos x="0" y="34"/>
                  </a:cxn>
                  <a:cxn ang="0">
                    <a:pos x="0" y="42"/>
                  </a:cxn>
                  <a:cxn ang="0">
                    <a:pos x="2" y="50"/>
                  </a:cxn>
                  <a:cxn ang="0">
                    <a:pos x="2" y="50"/>
                  </a:cxn>
                  <a:cxn ang="0">
                    <a:pos x="8" y="62"/>
                  </a:cxn>
                  <a:cxn ang="0">
                    <a:pos x="16" y="72"/>
                  </a:cxn>
                  <a:cxn ang="0">
                    <a:pos x="28" y="78"/>
                  </a:cxn>
                  <a:cxn ang="0">
                    <a:pos x="40" y="80"/>
                  </a:cxn>
                  <a:cxn ang="0">
                    <a:pos x="40" y="80"/>
                  </a:cxn>
                  <a:cxn ang="0">
                    <a:pos x="50" y="78"/>
                  </a:cxn>
                  <a:cxn ang="0">
                    <a:pos x="50" y="78"/>
                  </a:cxn>
                  <a:cxn ang="0">
                    <a:pos x="58" y="76"/>
                  </a:cxn>
                  <a:cxn ang="0">
                    <a:pos x="64" y="72"/>
                  </a:cxn>
                  <a:cxn ang="0">
                    <a:pos x="70" y="66"/>
                  </a:cxn>
                  <a:cxn ang="0">
                    <a:pos x="74" y="60"/>
                  </a:cxn>
                  <a:cxn ang="0">
                    <a:pos x="78" y="54"/>
                  </a:cxn>
                  <a:cxn ang="0">
                    <a:pos x="80" y="46"/>
                  </a:cxn>
                  <a:cxn ang="0">
                    <a:pos x="80" y="38"/>
                  </a:cxn>
                  <a:cxn ang="0">
                    <a:pos x="78" y="30"/>
                  </a:cxn>
                  <a:cxn ang="0">
                    <a:pos x="78" y="30"/>
                  </a:cxn>
                  <a:cxn ang="0">
                    <a:pos x="72" y="18"/>
                  </a:cxn>
                  <a:cxn ang="0">
                    <a:pos x="64" y="8"/>
                  </a:cxn>
                  <a:cxn ang="0">
                    <a:pos x="52" y="4"/>
                  </a:cxn>
                  <a:cxn ang="0">
                    <a:pos x="40" y="0"/>
                  </a:cxn>
                </a:cxnLst>
                <a:rect l="0" t="0" r="r" b="b"/>
                <a:pathLst>
                  <a:path w="80" h="80">
                    <a:moveTo>
                      <a:pt x="40" y="0"/>
                    </a:moveTo>
                    <a:lnTo>
                      <a:pt x="40" y="0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22" y="6"/>
                    </a:lnTo>
                    <a:lnTo>
                      <a:pt x="16" y="10"/>
                    </a:lnTo>
                    <a:lnTo>
                      <a:pt x="10" y="14"/>
                    </a:lnTo>
                    <a:lnTo>
                      <a:pt x="6" y="20"/>
                    </a:lnTo>
                    <a:lnTo>
                      <a:pt x="2" y="28"/>
                    </a:lnTo>
                    <a:lnTo>
                      <a:pt x="0" y="34"/>
                    </a:lnTo>
                    <a:lnTo>
                      <a:pt x="0" y="42"/>
                    </a:lnTo>
                    <a:lnTo>
                      <a:pt x="2" y="50"/>
                    </a:lnTo>
                    <a:lnTo>
                      <a:pt x="2" y="50"/>
                    </a:lnTo>
                    <a:lnTo>
                      <a:pt x="8" y="62"/>
                    </a:lnTo>
                    <a:lnTo>
                      <a:pt x="16" y="72"/>
                    </a:lnTo>
                    <a:lnTo>
                      <a:pt x="28" y="78"/>
                    </a:lnTo>
                    <a:lnTo>
                      <a:pt x="40" y="80"/>
                    </a:lnTo>
                    <a:lnTo>
                      <a:pt x="40" y="80"/>
                    </a:lnTo>
                    <a:lnTo>
                      <a:pt x="50" y="78"/>
                    </a:lnTo>
                    <a:lnTo>
                      <a:pt x="50" y="78"/>
                    </a:lnTo>
                    <a:lnTo>
                      <a:pt x="58" y="76"/>
                    </a:lnTo>
                    <a:lnTo>
                      <a:pt x="64" y="72"/>
                    </a:lnTo>
                    <a:lnTo>
                      <a:pt x="70" y="66"/>
                    </a:lnTo>
                    <a:lnTo>
                      <a:pt x="74" y="60"/>
                    </a:lnTo>
                    <a:lnTo>
                      <a:pt x="78" y="54"/>
                    </a:lnTo>
                    <a:lnTo>
                      <a:pt x="80" y="46"/>
                    </a:lnTo>
                    <a:lnTo>
                      <a:pt x="80" y="38"/>
                    </a:lnTo>
                    <a:lnTo>
                      <a:pt x="78" y="30"/>
                    </a:lnTo>
                    <a:lnTo>
                      <a:pt x="78" y="30"/>
                    </a:lnTo>
                    <a:lnTo>
                      <a:pt x="72" y="18"/>
                    </a:lnTo>
                    <a:lnTo>
                      <a:pt x="64" y="8"/>
                    </a:lnTo>
                    <a:lnTo>
                      <a:pt x="52" y="4"/>
                    </a:lnTo>
                    <a:lnTo>
                      <a:pt x="4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53" name="Freeform 89"/>
              <p:cNvSpPr>
                <a:spLocks/>
              </p:cNvSpPr>
              <p:nvPr userDrawn="1"/>
            </p:nvSpPr>
            <p:spPr bwMode="auto">
              <a:xfrm>
                <a:off x="6080125" y="3175000"/>
                <a:ext cx="114300" cy="111125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6" y="0"/>
                  </a:cxn>
                  <a:cxn ang="0">
                    <a:pos x="26" y="0"/>
                  </a:cxn>
                  <a:cxn ang="0">
                    <a:pos x="20" y="2"/>
                  </a:cxn>
                  <a:cxn ang="0">
                    <a:pos x="14" y="6"/>
                  </a:cxn>
                  <a:cxn ang="0">
                    <a:pos x="8" y="12"/>
                  </a:cxn>
                  <a:cxn ang="0">
                    <a:pos x="4" y="16"/>
                  </a:cxn>
                  <a:cxn ang="0">
                    <a:pos x="2" y="24"/>
                  </a:cxn>
                  <a:cxn ang="0">
                    <a:pos x="0" y="30"/>
                  </a:cxn>
                  <a:cxn ang="0">
                    <a:pos x="0" y="36"/>
                  </a:cxn>
                  <a:cxn ang="0">
                    <a:pos x="2" y="44"/>
                  </a:cxn>
                  <a:cxn ang="0">
                    <a:pos x="2" y="44"/>
                  </a:cxn>
                  <a:cxn ang="0">
                    <a:pos x="6" y="54"/>
                  </a:cxn>
                  <a:cxn ang="0">
                    <a:pos x="14" y="62"/>
                  </a:cxn>
                  <a:cxn ang="0">
                    <a:pos x="24" y="68"/>
                  </a:cxn>
                  <a:cxn ang="0">
                    <a:pos x="36" y="70"/>
                  </a:cxn>
                  <a:cxn ang="0">
                    <a:pos x="36" y="70"/>
                  </a:cxn>
                  <a:cxn ang="0">
                    <a:pos x="44" y="68"/>
                  </a:cxn>
                  <a:cxn ang="0">
                    <a:pos x="44" y="68"/>
                  </a:cxn>
                  <a:cxn ang="0">
                    <a:pos x="52" y="66"/>
                  </a:cxn>
                  <a:cxn ang="0">
                    <a:pos x="58" y="62"/>
                  </a:cxn>
                  <a:cxn ang="0">
                    <a:pos x="62" y="58"/>
                  </a:cxn>
                  <a:cxn ang="0">
                    <a:pos x="66" y="52"/>
                  </a:cxn>
                  <a:cxn ang="0">
                    <a:pos x="70" y="46"/>
                  </a:cxn>
                  <a:cxn ang="0">
                    <a:pos x="70" y="40"/>
                  </a:cxn>
                  <a:cxn ang="0">
                    <a:pos x="72" y="32"/>
                  </a:cxn>
                  <a:cxn ang="0">
                    <a:pos x="70" y="26"/>
                  </a:cxn>
                  <a:cxn ang="0">
                    <a:pos x="70" y="26"/>
                  </a:cxn>
                  <a:cxn ang="0">
                    <a:pos x="66" y="14"/>
                  </a:cxn>
                  <a:cxn ang="0">
                    <a:pos x="58" y="6"/>
                  </a:cxn>
                  <a:cxn ang="0">
                    <a:pos x="48" y="2"/>
                  </a:cxn>
                  <a:cxn ang="0">
                    <a:pos x="36" y="0"/>
                  </a:cxn>
                </a:cxnLst>
                <a:rect l="0" t="0" r="r" b="b"/>
                <a:pathLst>
                  <a:path w="72" h="70">
                    <a:moveTo>
                      <a:pt x="36" y="0"/>
                    </a:moveTo>
                    <a:lnTo>
                      <a:pt x="3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0" y="2"/>
                    </a:lnTo>
                    <a:lnTo>
                      <a:pt x="14" y="6"/>
                    </a:lnTo>
                    <a:lnTo>
                      <a:pt x="8" y="12"/>
                    </a:lnTo>
                    <a:lnTo>
                      <a:pt x="4" y="16"/>
                    </a:lnTo>
                    <a:lnTo>
                      <a:pt x="2" y="24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2" y="44"/>
                    </a:lnTo>
                    <a:lnTo>
                      <a:pt x="2" y="44"/>
                    </a:lnTo>
                    <a:lnTo>
                      <a:pt x="6" y="54"/>
                    </a:lnTo>
                    <a:lnTo>
                      <a:pt x="14" y="62"/>
                    </a:lnTo>
                    <a:lnTo>
                      <a:pt x="24" y="68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44" y="68"/>
                    </a:lnTo>
                    <a:lnTo>
                      <a:pt x="44" y="68"/>
                    </a:lnTo>
                    <a:lnTo>
                      <a:pt x="52" y="66"/>
                    </a:lnTo>
                    <a:lnTo>
                      <a:pt x="58" y="62"/>
                    </a:lnTo>
                    <a:lnTo>
                      <a:pt x="62" y="58"/>
                    </a:lnTo>
                    <a:lnTo>
                      <a:pt x="66" y="52"/>
                    </a:lnTo>
                    <a:lnTo>
                      <a:pt x="70" y="46"/>
                    </a:lnTo>
                    <a:lnTo>
                      <a:pt x="70" y="40"/>
                    </a:lnTo>
                    <a:lnTo>
                      <a:pt x="72" y="32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66" y="14"/>
                    </a:lnTo>
                    <a:lnTo>
                      <a:pt x="58" y="6"/>
                    </a:lnTo>
                    <a:lnTo>
                      <a:pt x="48" y="2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54" name="Freeform 90"/>
              <p:cNvSpPr>
                <a:spLocks/>
              </p:cNvSpPr>
              <p:nvPr userDrawn="1"/>
            </p:nvSpPr>
            <p:spPr bwMode="auto">
              <a:xfrm>
                <a:off x="6080125" y="3175000"/>
                <a:ext cx="114300" cy="111125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6" y="0"/>
                  </a:cxn>
                  <a:cxn ang="0">
                    <a:pos x="26" y="0"/>
                  </a:cxn>
                  <a:cxn ang="0">
                    <a:pos x="20" y="2"/>
                  </a:cxn>
                  <a:cxn ang="0">
                    <a:pos x="14" y="6"/>
                  </a:cxn>
                  <a:cxn ang="0">
                    <a:pos x="8" y="12"/>
                  </a:cxn>
                  <a:cxn ang="0">
                    <a:pos x="4" y="16"/>
                  </a:cxn>
                  <a:cxn ang="0">
                    <a:pos x="2" y="24"/>
                  </a:cxn>
                  <a:cxn ang="0">
                    <a:pos x="0" y="30"/>
                  </a:cxn>
                  <a:cxn ang="0">
                    <a:pos x="0" y="36"/>
                  </a:cxn>
                  <a:cxn ang="0">
                    <a:pos x="2" y="44"/>
                  </a:cxn>
                  <a:cxn ang="0">
                    <a:pos x="2" y="44"/>
                  </a:cxn>
                  <a:cxn ang="0">
                    <a:pos x="6" y="54"/>
                  </a:cxn>
                  <a:cxn ang="0">
                    <a:pos x="14" y="62"/>
                  </a:cxn>
                  <a:cxn ang="0">
                    <a:pos x="24" y="68"/>
                  </a:cxn>
                  <a:cxn ang="0">
                    <a:pos x="36" y="70"/>
                  </a:cxn>
                  <a:cxn ang="0">
                    <a:pos x="36" y="70"/>
                  </a:cxn>
                  <a:cxn ang="0">
                    <a:pos x="44" y="68"/>
                  </a:cxn>
                  <a:cxn ang="0">
                    <a:pos x="44" y="68"/>
                  </a:cxn>
                  <a:cxn ang="0">
                    <a:pos x="52" y="66"/>
                  </a:cxn>
                  <a:cxn ang="0">
                    <a:pos x="58" y="62"/>
                  </a:cxn>
                  <a:cxn ang="0">
                    <a:pos x="62" y="58"/>
                  </a:cxn>
                  <a:cxn ang="0">
                    <a:pos x="66" y="52"/>
                  </a:cxn>
                  <a:cxn ang="0">
                    <a:pos x="70" y="46"/>
                  </a:cxn>
                  <a:cxn ang="0">
                    <a:pos x="70" y="40"/>
                  </a:cxn>
                  <a:cxn ang="0">
                    <a:pos x="72" y="32"/>
                  </a:cxn>
                  <a:cxn ang="0">
                    <a:pos x="70" y="26"/>
                  </a:cxn>
                  <a:cxn ang="0">
                    <a:pos x="70" y="26"/>
                  </a:cxn>
                  <a:cxn ang="0">
                    <a:pos x="66" y="14"/>
                  </a:cxn>
                  <a:cxn ang="0">
                    <a:pos x="58" y="6"/>
                  </a:cxn>
                  <a:cxn ang="0">
                    <a:pos x="48" y="2"/>
                  </a:cxn>
                  <a:cxn ang="0">
                    <a:pos x="36" y="0"/>
                  </a:cxn>
                </a:cxnLst>
                <a:rect l="0" t="0" r="r" b="b"/>
                <a:pathLst>
                  <a:path w="72" h="70">
                    <a:moveTo>
                      <a:pt x="36" y="0"/>
                    </a:moveTo>
                    <a:lnTo>
                      <a:pt x="3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0" y="2"/>
                    </a:lnTo>
                    <a:lnTo>
                      <a:pt x="14" y="6"/>
                    </a:lnTo>
                    <a:lnTo>
                      <a:pt x="8" y="12"/>
                    </a:lnTo>
                    <a:lnTo>
                      <a:pt x="4" y="16"/>
                    </a:lnTo>
                    <a:lnTo>
                      <a:pt x="2" y="24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2" y="44"/>
                    </a:lnTo>
                    <a:lnTo>
                      <a:pt x="2" y="44"/>
                    </a:lnTo>
                    <a:lnTo>
                      <a:pt x="6" y="54"/>
                    </a:lnTo>
                    <a:lnTo>
                      <a:pt x="14" y="62"/>
                    </a:lnTo>
                    <a:lnTo>
                      <a:pt x="24" y="68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44" y="68"/>
                    </a:lnTo>
                    <a:lnTo>
                      <a:pt x="44" y="68"/>
                    </a:lnTo>
                    <a:lnTo>
                      <a:pt x="52" y="66"/>
                    </a:lnTo>
                    <a:lnTo>
                      <a:pt x="58" y="62"/>
                    </a:lnTo>
                    <a:lnTo>
                      <a:pt x="62" y="58"/>
                    </a:lnTo>
                    <a:lnTo>
                      <a:pt x="66" y="52"/>
                    </a:lnTo>
                    <a:lnTo>
                      <a:pt x="70" y="46"/>
                    </a:lnTo>
                    <a:lnTo>
                      <a:pt x="70" y="40"/>
                    </a:lnTo>
                    <a:lnTo>
                      <a:pt x="72" y="32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66" y="14"/>
                    </a:lnTo>
                    <a:lnTo>
                      <a:pt x="58" y="6"/>
                    </a:lnTo>
                    <a:lnTo>
                      <a:pt x="48" y="2"/>
                    </a:lnTo>
                    <a:lnTo>
                      <a:pt x="3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55" name="Freeform 91"/>
              <p:cNvSpPr>
                <a:spLocks/>
              </p:cNvSpPr>
              <p:nvPr userDrawn="1"/>
            </p:nvSpPr>
            <p:spPr bwMode="auto">
              <a:xfrm>
                <a:off x="6337300" y="3248025"/>
                <a:ext cx="101600" cy="101600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0"/>
                  </a:cxn>
                  <a:cxn ang="0">
                    <a:pos x="24" y="0"/>
                  </a:cxn>
                  <a:cxn ang="0">
                    <a:pos x="24" y="0"/>
                  </a:cxn>
                  <a:cxn ang="0">
                    <a:pos x="18" y="2"/>
                  </a:cxn>
                  <a:cxn ang="0">
                    <a:pos x="12" y="6"/>
                  </a:cxn>
                  <a:cxn ang="0">
                    <a:pos x="4" y="16"/>
                  </a:cxn>
                  <a:cxn ang="0">
                    <a:pos x="0" y="26"/>
                  </a:cxn>
                  <a:cxn ang="0">
                    <a:pos x="0" y="34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6" y="50"/>
                  </a:cxn>
                  <a:cxn ang="0">
                    <a:pos x="14" y="56"/>
                  </a:cxn>
                  <a:cxn ang="0">
                    <a:pos x="22" y="62"/>
                  </a:cxn>
                  <a:cxn ang="0">
                    <a:pos x="32" y="64"/>
                  </a:cxn>
                  <a:cxn ang="0">
                    <a:pos x="32" y="64"/>
                  </a:cxn>
                  <a:cxn ang="0">
                    <a:pos x="40" y="62"/>
                  </a:cxn>
                  <a:cxn ang="0">
                    <a:pos x="40" y="62"/>
                  </a:cxn>
                  <a:cxn ang="0">
                    <a:pos x="46" y="60"/>
                  </a:cxn>
                  <a:cxn ang="0">
                    <a:pos x="52" y="56"/>
                  </a:cxn>
                  <a:cxn ang="0">
                    <a:pos x="60" y="48"/>
                  </a:cxn>
                  <a:cxn ang="0">
                    <a:pos x="64" y="36"/>
                  </a:cxn>
                  <a:cxn ang="0">
                    <a:pos x="64" y="30"/>
                  </a:cxn>
                  <a:cxn ang="0">
                    <a:pos x="64" y="22"/>
                  </a:cxn>
                  <a:cxn ang="0">
                    <a:pos x="64" y="22"/>
                  </a:cxn>
                  <a:cxn ang="0">
                    <a:pos x="58" y="14"/>
                  </a:cxn>
                  <a:cxn ang="0">
                    <a:pos x="52" y="6"/>
                  </a:cxn>
                  <a:cxn ang="0">
                    <a:pos x="42" y="0"/>
                  </a:cxn>
                  <a:cxn ang="0">
                    <a:pos x="32" y="0"/>
                  </a:cxn>
                </a:cxnLst>
                <a:rect l="0" t="0" r="r" b="b"/>
                <a:pathLst>
                  <a:path w="64" h="64">
                    <a:moveTo>
                      <a:pt x="32" y="0"/>
                    </a:moveTo>
                    <a:lnTo>
                      <a:pt x="32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8" y="2"/>
                    </a:lnTo>
                    <a:lnTo>
                      <a:pt x="12" y="6"/>
                    </a:lnTo>
                    <a:lnTo>
                      <a:pt x="4" y="16"/>
                    </a:lnTo>
                    <a:lnTo>
                      <a:pt x="0" y="26"/>
                    </a:lnTo>
                    <a:lnTo>
                      <a:pt x="0" y="34"/>
                    </a:lnTo>
                    <a:lnTo>
                      <a:pt x="2" y="40"/>
                    </a:lnTo>
                    <a:lnTo>
                      <a:pt x="2" y="40"/>
                    </a:lnTo>
                    <a:lnTo>
                      <a:pt x="6" y="50"/>
                    </a:lnTo>
                    <a:lnTo>
                      <a:pt x="14" y="56"/>
                    </a:lnTo>
                    <a:lnTo>
                      <a:pt x="22" y="62"/>
                    </a:lnTo>
                    <a:lnTo>
                      <a:pt x="32" y="64"/>
                    </a:lnTo>
                    <a:lnTo>
                      <a:pt x="32" y="64"/>
                    </a:lnTo>
                    <a:lnTo>
                      <a:pt x="40" y="62"/>
                    </a:lnTo>
                    <a:lnTo>
                      <a:pt x="40" y="62"/>
                    </a:lnTo>
                    <a:lnTo>
                      <a:pt x="46" y="60"/>
                    </a:lnTo>
                    <a:lnTo>
                      <a:pt x="52" y="56"/>
                    </a:lnTo>
                    <a:lnTo>
                      <a:pt x="60" y="48"/>
                    </a:lnTo>
                    <a:lnTo>
                      <a:pt x="64" y="36"/>
                    </a:lnTo>
                    <a:lnTo>
                      <a:pt x="64" y="30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58" y="14"/>
                    </a:lnTo>
                    <a:lnTo>
                      <a:pt x="52" y="6"/>
                    </a:lnTo>
                    <a:lnTo>
                      <a:pt x="42" y="0"/>
                    </a:lnTo>
                    <a:lnTo>
                      <a:pt x="3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56" name="Freeform 92"/>
              <p:cNvSpPr>
                <a:spLocks/>
              </p:cNvSpPr>
              <p:nvPr userDrawn="1"/>
            </p:nvSpPr>
            <p:spPr bwMode="auto">
              <a:xfrm>
                <a:off x="6337300" y="3248025"/>
                <a:ext cx="101600" cy="101600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0"/>
                  </a:cxn>
                  <a:cxn ang="0">
                    <a:pos x="24" y="0"/>
                  </a:cxn>
                  <a:cxn ang="0">
                    <a:pos x="24" y="0"/>
                  </a:cxn>
                  <a:cxn ang="0">
                    <a:pos x="18" y="2"/>
                  </a:cxn>
                  <a:cxn ang="0">
                    <a:pos x="12" y="6"/>
                  </a:cxn>
                  <a:cxn ang="0">
                    <a:pos x="4" y="16"/>
                  </a:cxn>
                  <a:cxn ang="0">
                    <a:pos x="0" y="26"/>
                  </a:cxn>
                  <a:cxn ang="0">
                    <a:pos x="0" y="34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6" y="50"/>
                  </a:cxn>
                  <a:cxn ang="0">
                    <a:pos x="14" y="56"/>
                  </a:cxn>
                  <a:cxn ang="0">
                    <a:pos x="22" y="62"/>
                  </a:cxn>
                  <a:cxn ang="0">
                    <a:pos x="32" y="64"/>
                  </a:cxn>
                  <a:cxn ang="0">
                    <a:pos x="32" y="64"/>
                  </a:cxn>
                  <a:cxn ang="0">
                    <a:pos x="40" y="62"/>
                  </a:cxn>
                  <a:cxn ang="0">
                    <a:pos x="40" y="62"/>
                  </a:cxn>
                  <a:cxn ang="0">
                    <a:pos x="46" y="60"/>
                  </a:cxn>
                  <a:cxn ang="0">
                    <a:pos x="52" y="56"/>
                  </a:cxn>
                  <a:cxn ang="0">
                    <a:pos x="60" y="48"/>
                  </a:cxn>
                  <a:cxn ang="0">
                    <a:pos x="64" y="36"/>
                  </a:cxn>
                  <a:cxn ang="0">
                    <a:pos x="64" y="30"/>
                  </a:cxn>
                  <a:cxn ang="0">
                    <a:pos x="64" y="22"/>
                  </a:cxn>
                  <a:cxn ang="0">
                    <a:pos x="64" y="22"/>
                  </a:cxn>
                  <a:cxn ang="0">
                    <a:pos x="58" y="14"/>
                  </a:cxn>
                  <a:cxn ang="0">
                    <a:pos x="52" y="6"/>
                  </a:cxn>
                  <a:cxn ang="0">
                    <a:pos x="42" y="0"/>
                  </a:cxn>
                  <a:cxn ang="0">
                    <a:pos x="32" y="0"/>
                  </a:cxn>
                </a:cxnLst>
                <a:rect l="0" t="0" r="r" b="b"/>
                <a:pathLst>
                  <a:path w="64" h="64">
                    <a:moveTo>
                      <a:pt x="32" y="0"/>
                    </a:moveTo>
                    <a:lnTo>
                      <a:pt x="32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8" y="2"/>
                    </a:lnTo>
                    <a:lnTo>
                      <a:pt x="12" y="6"/>
                    </a:lnTo>
                    <a:lnTo>
                      <a:pt x="4" y="16"/>
                    </a:lnTo>
                    <a:lnTo>
                      <a:pt x="0" y="26"/>
                    </a:lnTo>
                    <a:lnTo>
                      <a:pt x="0" y="34"/>
                    </a:lnTo>
                    <a:lnTo>
                      <a:pt x="2" y="40"/>
                    </a:lnTo>
                    <a:lnTo>
                      <a:pt x="2" y="40"/>
                    </a:lnTo>
                    <a:lnTo>
                      <a:pt x="6" y="50"/>
                    </a:lnTo>
                    <a:lnTo>
                      <a:pt x="14" y="56"/>
                    </a:lnTo>
                    <a:lnTo>
                      <a:pt x="22" y="62"/>
                    </a:lnTo>
                    <a:lnTo>
                      <a:pt x="32" y="64"/>
                    </a:lnTo>
                    <a:lnTo>
                      <a:pt x="32" y="64"/>
                    </a:lnTo>
                    <a:lnTo>
                      <a:pt x="40" y="62"/>
                    </a:lnTo>
                    <a:lnTo>
                      <a:pt x="40" y="62"/>
                    </a:lnTo>
                    <a:lnTo>
                      <a:pt x="46" y="60"/>
                    </a:lnTo>
                    <a:lnTo>
                      <a:pt x="52" y="56"/>
                    </a:lnTo>
                    <a:lnTo>
                      <a:pt x="60" y="48"/>
                    </a:lnTo>
                    <a:lnTo>
                      <a:pt x="64" y="36"/>
                    </a:lnTo>
                    <a:lnTo>
                      <a:pt x="64" y="30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58" y="14"/>
                    </a:lnTo>
                    <a:lnTo>
                      <a:pt x="52" y="6"/>
                    </a:lnTo>
                    <a:lnTo>
                      <a:pt x="42" y="0"/>
                    </a:lnTo>
                    <a:lnTo>
                      <a:pt x="3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57" name="Freeform 93"/>
              <p:cNvSpPr>
                <a:spLocks/>
              </p:cNvSpPr>
              <p:nvPr userDrawn="1"/>
            </p:nvSpPr>
            <p:spPr bwMode="auto">
              <a:xfrm>
                <a:off x="6578600" y="3362325"/>
                <a:ext cx="92075" cy="92075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0"/>
                  </a:cxn>
                  <a:cxn ang="0">
                    <a:pos x="22" y="0"/>
                  </a:cxn>
                  <a:cxn ang="0">
                    <a:pos x="22" y="0"/>
                  </a:cxn>
                  <a:cxn ang="0">
                    <a:pos x="12" y="6"/>
                  </a:cxn>
                  <a:cxn ang="0">
                    <a:pos x="4" y="14"/>
                  </a:cxn>
                  <a:cxn ang="0">
                    <a:pos x="0" y="24"/>
                  </a:cxn>
                  <a:cxn ang="0">
                    <a:pos x="2" y="36"/>
                  </a:cxn>
                  <a:cxn ang="0">
                    <a:pos x="2" y="36"/>
                  </a:cxn>
                  <a:cxn ang="0">
                    <a:pos x="6" y="44"/>
                  </a:cxn>
                  <a:cxn ang="0">
                    <a:pos x="12" y="52"/>
                  </a:cxn>
                  <a:cxn ang="0">
                    <a:pos x="20" y="56"/>
                  </a:cxn>
                  <a:cxn ang="0">
                    <a:pos x="30" y="58"/>
                  </a:cxn>
                  <a:cxn ang="0">
                    <a:pos x="30" y="58"/>
                  </a:cxn>
                  <a:cxn ang="0">
                    <a:pos x="36" y="56"/>
                  </a:cxn>
                  <a:cxn ang="0">
                    <a:pos x="36" y="56"/>
                  </a:cxn>
                  <a:cxn ang="0">
                    <a:pos x="48" y="52"/>
                  </a:cxn>
                  <a:cxn ang="0">
                    <a:pos x="54" y="44"/>
                  </a:cxn>
                  <a:cxn ang="0">
                    <a:pos x="58" y="32"/>
                  </a:cxn>
                  <a:cxn ang="0">
                    <a:pos x="58" y="22"/>
                  </a:cxn>
                  <a:cxn ang="0">
                    <a:pos x="58" y="22"/>
                  </a:cxn>
                  <a:cxn ang="0">
                    <a:pos x="54" y="12"/>
                  </a:cxn>
                  <a:cxn ang="0">
                    <a:pos x="46" y="6"/>
                  </a:cxn>
                  <a:cxn ang="0">
                    <a:pos x="38" y="2"/>
                  </a:cxn>
                  <a:cxn ang="0">
                    <a:pos x="30" y="0"/>
                  </a:cxn>
                </a:cxnLst>
                <a:rect l="0" t="0" r="r" b="b"/>
                <a:pathLst>
                  <a:path w="58" h="58">
                    <a:moveTo>
                      <a:pt x="30" y="0"/>
                    </a:moveTo>
                    <a:lnTo>
                      <a:pt x="30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2" y="6"/>
                    </a:lnTo>
                    <a:lnTo>
                      <a:pt x="4" y="14"/>
                    </a:lnTo>
                    <a:lnTo>
                      <a:pt x="0" y="24"/>
                    </a:lnTo>
                    <a:lnTo>
                      <a:pt x="2" y="36"/>
                    </a:lnTo>
                    <a:lnTo>
                      <a:pt x="2" y="36"/>
                    </a:lnTo>
                    <a:lnTo>
                      <a:pt x="6" y="44"/>
                    </a:lnTo>
                    <a:lnTo>
                      <a:pt x="12" y="52"/>
                    </a:lnTo>
                    <a:lnTo>
                      <a:pt x="20" y="56"/>
                    </a:lnTo>
                    <a:lnTo>
                      <a:pt x="30" y="58"/>
                    </a:lnTo>
                    <a:lnTo>
                      <a:pt x="30" y="58"/>
                    </a:lnTo>
                    <a:lnTo>
                      <a:pt x="36" y="56"/>
                    </a:lnTo>
                    <a:lnTo>
                      <a:pt x="36" y="56"/>
                    </a:lnTo>
                    <a:lnTo>
                      <a:pt x="48" y="52"/>
                    </a:lnTo>
                    <a:lnTo>
                      <a:pt x="54" y="44"/>
                    </a:lnTo>
                    <a:lnTo>
                      <a:pt x="58" y="32"/>
                    </a:lnTo>
                    <a:lnTo>
                      <a:pt x="58" y="22"/>
                    </a:lnTo>
                    <a:lnTo>
                      <a:pt x="58" y="22"/>
                    </a:lnTo>
                    <a:lnTo>
                      <a:pt x="54" y="12"/>
                    </a:lnTo>
                    <a:lnTo>
                      <a:pt x="46" y="6"/>
                    </a:lnTo>
                    <a:lnTo>
                      <a:pt x="38" y="2"/>
                    </a:lnTo>
                    <a:lnTo>
                      <a:pt x="3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58" name="Freeform 94"/>
              <p:cNvSpPr>
                <a:spLocks/>
              </p:cNvSpPr>
              <p:nvPr userDrawn="1"/>
            </p:nvSpPr>
            <p:spPr bwMode="auto">
              <a:xfrm>
                <a:off x="6578600" y="3362325"/>
                <a:ext cx="92075" cy="92075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0"/>
                  </a:cxn>
                  <a:cxn ang="0">
                    <a:pos x="22" y="0"/>
                  </a:cxn>
                  <a:cxn ang="0">
                    <a:pos x="22" y="0"/>
                  </a:cxn>
                  <a:cxn ang="0">
                    <a:pos x="12" y="6"/>
                  </a:cxn>
                  <a:cxn ang="0">
                    <a:pos x="4" y="14"/>
                  </a:cxn>
                  <a:cxn ang="0">
                    <a:pos x="0" y="24"/>
                  </a:cxn>
                  <a:cxn ang="0">
                    <a:pos x="2" y="36"/>
                  </a:cxn>
                  <a:cxn ang="0">
                    <a:pos x="2" y="36"/>
                  </a:cxn>
                  <a:cxn ang="0">
                    <a:pos x="6" y="44"/>
                  </a:cxn>
                  <a:cxn ang="0">
                    <a:pos x="12" y="52"/>
                  </a:cxn>
                  <a:cxn ang="0">
                    <a:pos x="20" y="56"/>
                  </a:cxn>
                  <a:cxn ang="0">
                    <a:pos x="30" y="58"/>
                  </a:cxn>
                  <a:cxn ang="0">
                    <a:pos x="30" y="58"/>
                  </a:cxn>
                  <a:cxn ang="0">
                    <a:pos x="36" y="56"/>
                  </a:cxn>
                  <a:cxn ang="0">
                    <a:pos x="36" y="56"/>
                  </a:cxn>
                  <a:cxn ang="0">
                    <a:pos x="48" y="52"/>
                  </a:cxn>
                  <a:cxn ang="0">
                    <a:pos x="54" y="44"/>
                  </a:cxn>
                  <a:cxn ang="0">
                    <a:pos x="58" y="32"/>
                  </a:cxn>
                  <a:cxn ang="0">
                    <a:pos x="58" y="22"/>
                  </a:cxn>
                  <a:cxn ang="0">
                    <a:pos x="58" y="22"/>
                  </a:cxn>
                  <a:cxn ang="0">
                    <a:pos x="54" y="12"/>
                  </a:cxn>
                  <a:cxn ang="0">
                    <a:pos x="46" y="6"/>
                  </a:cxn>
                  <a:cxn ang="0">
                    <a:pos x="38" y="2"/>
                  </a:cxn>
                  <a:cxn ang="0">
                    <a:pos x="30" y="0"/>
                  </a:cxn>
                </a:cxnLst>
                <a:rect l="0" t="0" r="r" b="b"/>
                <a:pathLst>
                  <a:path w="58" h="58">
                    <a:moveTo>
                      <a:pt x="30" y="0"/>
                    </a:moveTo>
                    <a:lnTo>
                      <a:pt x="30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2" y="6"/>
                    </a:lnTo>
                    <a:lnTo>
                      <a:pt x="4" y="14"/>
                    </a:lnTo>
                    <a:lnTo>
                      <a:pt x="0" y="24"/>
                    </a:lnTo>
                    <a:lnTo>
                      <a:pt x="2" y="36"/>
                    </a:lnTo>
                    <a:lnTo>
                      <a:pt x="2" y="36"/>
                    </a:lnTo>
                    <a:lnTo>
                      <a:pt x="6" y="44"/>
                    </a:lnTo>
                    <a:lnTo>
                      <a:pt x="12" y="52"/>
                    </a:lnTo>
                    <a:lnTo>
                      <a:pt x="20" y="56"/>
                    </a:lnTo>
                    <a:lnTo>
                      <a:pt x="30" y="58"/>
                    </a:lnTo>
                    <a:lnTo>
                      <a:pt x="30" y="58"/>
                    </a:lnTo>
                    <a:lnTo>
                      <a:pt x="36" y="56"/>
                    </a:lnTo>
                    <a:lnTo>
                      <a:pt x="36" y="56"/>
                    </a:lnTo>
                    <a:lnTo>
                      <a:pt x="48" y="52"/>
                    </a:lnTo>
                    <a:lnTo>
                      <a:pt x="54" y="44"/>
                    </a:lnTo>
                    <a:lnTo>
                      <a:pt x="58" y="32"/>
                    </a:lnTo>
                    <a:lnTo>
                      <a:pt x="58" y="22"/>
                    </a:lnTo>
                    <a:lnTo>
                      <a:pt x="58" y="22"/>
                    </a:lnTo>
                    <a:lnTo>
                      <a:pt x="54" y="12"/>
                    </a:lnTo>
                    <a:lnTo>
                      <a:pt x="46" y="6"/>
                    </a:lnTo>
                    <a:lnTo>
                      <a:pt x="38" y="2"/>
                    </a:lnTo>
                    <a:lnTo>
                      <a:pt x="3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59" name="Freeform 95"/>
              <p:cNvSpPr>
                <a:spLocks/>
              </p:cNvSpPr>
              <p:nvPr userDrawn="1"/>
            </p:nvSpPr>
            <p:spPr bwMode="auto">
              <a:xfrm>
                <a:off x="6797675" y="3517900"/>
                <a:ext cx="82550" cy="79375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0" y="4"/>
                  </a:cxn>
                  <a:cxn ang="0">
                    <a:pos x="4" y="12"/>
                  </a:cxn>
                  <a:cxn ang="0">
                    <a:pos x="0" y="22"/>
                  </a:cxn>
                  <a:cxn ang="0">
                    <a:pos x="2" y="32"/>
                  </a:cxn>
                  <a:cxn ang="0">
                    <a:pos x="2" y="32"/>
                  </a:cxn>
                  <a:cxn ang="0">
                    <a:pos x="4" y="40"/>
                  </a:cxn>
                  <a:cxn ang="0">
                    <a:pos x="10" y="46"/>
                  </a:cxn>
                  <a:cxn ang="0">
                    <a:pos x="18" y="50"/>
                  </a:cxn>
                  <a:cxn ang="0">
                    <a:pos x="26" y="50"/>
                  </a:cxn>
                  <a:cxn ang="0">
                    <a:pos x="26" y="50"/>
                  </a:cxn>
                  <a:cxn ang="0">
                    <a:pos x="32" y="50"/>
                  </a:cxn>
                  <a:cxn ang="0">
                    <a:pos x="32" y="50"/>
                  </a:cxn>
                  <a:cxn ang="0">
                    <a:pos x="42" y="46"/>
                  </a:cxn>
                  <a:cxn ang="0">
                    <a:pos x="48" y="38"/>
                  </a:cxn>
                  <a:cxn ang="0">
                    <a:pos x="52" y="28"/>
                  </a:cxn>
                  <a:cxn ang="0">
                    <a:pos x="50" y="18"/>
                  </a:cxn>
                  <a:cxn ang="0">
                    <a:pos x="50" y="18"/>
                  </a:cxn>
                  <a:cxn ang="0">
                    <a:pos x="48" y="10"/>
                  </a:cxn>
                  <a:cxn ang="0">
                    <a:pos x="42" y="4"/>
                  </a:cxn>
                  <a:cxn ang="0">
                    <a:pos x="34" y="0"/>
                  </a:cxn>
                  <a:cxn ang="0">
                    <a:pos x="26" y="0"/>
                  </a:cxn>
                </a:cxnLst>
                <a:rect l="0" t="0" r="r" b="b"/>
                <a:pathLst>
                  <a:path w="52" h="50">
                    <a:moveTo>
                      <a:pt x="26" y="0"/>
                    </a:moveTo>
                    <a:lnTo>
                      <a:pt x="26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0" y="4"/>
                    </a:lnTo>
                    <a:lnTo>
                      <a:pt x="4" y="12"/>
                    </a:lnTo>
                    <a:lnTo>
                      <a:pt x="0" y="22"/>
                    </a:lnTo>
                    <a:lnTo>
                      <a:pt x="2" y="32"/>
                    </a:lnTo>
                    <a:lnTo>
                      <a:pt x="2" y="32"/>
                    </a:lnTo>
                    <a:lnTo>
                      <a:pt x="4" y="40"/>
                    </a:lnTo>
                    <a:lnTo>
                      <a:pt x="10" y="46"/>
                    </a:lnTo>
                    <a:lnTo>
                      <a:pt x="18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32" y="50"/>
                    </a:lnTo>
                    <a:lnTo>
                      <a:pt x="32" y="50"/>
                    </a:lnTo>
                    <a:lnTo>
                      <a:pt x="42" y="46"/>
                    </a:lnTo>
                    <a:lnTo>
                      <a:pt x="48" y="38"/>
                    </a:lnTo>
                    <a:lnTo>
                      <a:pt x="52" y="28"/>
                    </a:lnTo>
                    <a:lnTo>
                      <a:pt x="50" y="18"/>
                    </a:lnTo>
                    <a:lnTo>
                      <a:pt x="50" y="18"/>
                    </a:lnTo>
                    <a:lnTo>
                      <a:pt x="48" y="10"/>
                    </a:lnTo>
                    <a:lnTo>
                      <a:pt x="42" y="4"/>
                    </a:lnTo>
                    <a:lnTo>
                      <a:pt x="34" y="0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60" name="Freeform 96"/>
              <p:cNvSpPr>
                <a:spLocks/>
              </p:cNvSpPr>
              <p:nvPr userDrawn="1"/>
            </p:nvSpPr>
            <p:spPr bwMode="auto">
              <a:xfrm>
                <a:off x="6797675" y="3517900"/>
                <a:ext cx="82550" cy="79375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0" y="4"/>
                  </a:cxn>
                  <a:cxn ang="0">
                    <a:pos x="4" y="12"/>
                  </a:cxn>
                  <a:cxn ang="0">
                    <a:pos x="0" y="22"/>
                  </a:cxn>
                  <a:cxn ang="0">
                    <a:pos x="2" y="32"/>
                  </a:cxn>
                  <a:cxn ang="0">
                    <a:pos x="2" y="32"/>
                  </a:cxn>
                  <a:cxn ang="0">
                    <a:pos x="4" y="40"/>
                  </a:cxn>
                  <a:cxn ang="0">
                    <a:pos x="10" y="46"/>
                  </a:cxn>
                  <a:cxn ang="0">
                    <a:pos x="18" y="50"/>
                  </a:cxn>
                  <a:cxn ang="0">
                    <a:pos x="26" y="50"/>
                  </a:cxn>
                  <a:cxn ang="0">
                    <a:pos x="26" y="50"/>
                  </a:cxn>
                  <a:cxn ang="0">
                    <a:pos x="32" y="50"/>
                  </a:cxn>
                  <a:cxn ang="0">
                    <a:pos x="32" y="50"/>
                  </a:cxn>
                  <a:cxn ang="0">
                    <a:pos x="42" y="46"/>
                  </a:cxn>
                  <a:cxn ang="0">
                    <a:pos x="48" y="38"/>
                  </a:cxn>
                  <a:cxn ang="0">
                    <a:pos x="52" y="28"/>
                  </a:cxn>
                  <a:cxn ang="0">
                    <a:pos x="50" y="18"/>
                  </a:cxn>
                  <a:cxn ang="0">
                    <a:pos x="50" y="18"/>
                  </a:cxn>
                  <a:cxn ang="0">
                    <a:pos x="48" y="10"/>
                  </a:cxn>
                  <a:cxn ang="0">
                    <a:pos x="42" y="4"/>
                  </a:cxn>
                  <a:cxn ang="0">
                    <a:pos x="34" y="0"/>
                  </a:cxn>
                  <a:cxn ang="0">
                    <a:pos x="26" y="0"/>
                  </a:cxn>
                </a:cxnLst>
                <a:rect l="0" t="0" r="r" b="b"/>
                <a:pathLst>
                  <a:path w="52" h="50">
                    <a:moveTo>
                      <a:pt x="26" y="0"/>
                    </a:moveTo>
                    <a:lnTo>
                      <a:pt x="26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0" y="4"/>
                    </a:lnTo>
                    <a:lnTo>
                      <a:pt x="4" y="12"/>
                    </a:lnTo>
                    <a:lnTo>
                      <a:pt x="0" y="22"/>
                    </a:lnTo>
                    <a:lnTo>
                      <a:pt x="2" y="32"/>
                    </a:lnTo>
                    <a:lnTo>
                      <a:pt x="2" y="32"/>
                    </a:lnTo>
                    <a:lnTo>
                      <a:pt x="4" y="40"/>
                    </a:lnTo>
                    <a:lnTo>
                      <a:pt x="10" y="46"/>
                    </a:lnTo>
                    <a:lnTo>
                      <a:pt x="18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32" y="50"/>
                    </a:lnTo>
                    <a:lnTo>
                      <a:pt x="32" y="50"/>
                    </a:lnTo>
                    <a:lnTo>
                      <a:pt x="42" y="46"/>
                    </a:lnTo>
                    <a:lnTo>
                      <a:pt x="48" y="38"/>
                    </a:lnTo>
                    <a:lnTo>
                      <a:pt x="52" y="28"/>
                    </a:lnTo>
                    <a:lnTo>
                      <a:pt x="50" y="18"/>
                    </a:lnTo>
                    <a:lnTo>
                      <a:pt x="50" y="18"/>
                    </a:lnTo>
                    <a:lnTo>
                      <a:pt x="48" y="10"/>
                    </a:lnTo>
                    <a:lnTo>
                      <a:pt x="42" y="4"/>
                    </a:lnTo>
                    <a:lnTo>
                      <a:pt x="34" y="0"/>
                    </a:lnTo>
                    <a:lnTo>
                      <a:pt x="2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61" name="Freeform 97"/>
              <p:cNvSpPr>
                <a:spLocks/>
              </p:cNvSpPr>
              <p:nvPr userDrawn="1"/>
            </p:nvSpPr>
            <p:spPr bwMode="auto">
              <a:xfrm>
                <a:off x="6988175" y="3705225"/>
                <a:ext cx="73025" cy="73025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8" y="4"/>
                  </a:cxn>
                  <a:cxn ang="0">
                    <a:pos x="2" y="12"/>
                  </a:cxn>
                  <a:cxn ang="0">
                    <a:pos x="0" y="20"/>
                  </a:cxn>
                  <a:cxn ang="0">
                    <a:pos x="0" y="30"/>
                  </a:cxn>
                  <a:cxn ang="0">
                    <a:pos x="0" y="30"/>
                  </a:cxn>
                  <a:cxn ang="0">
                    <a:pos x="2" y="36"/>
                  </a:cxn>
                  <a:cxn ang="0">
                    <a:pos x="8" y="42"/>
                  </a:cxn>
                  <a:cxn ang="0">
                    <a:pos x="14" y="46"/>
                  </a:cxn>
                  <a:cxn ang="0">
                    <a:pos x="22" y="46"/>
                  </a:cxn>
                  <a:cxn ang="0">
                    <a:pos x="22" y="46"/>
                  </a:cxn>
                  <a:cxn ang="0">
                    <a:pos x="28" y="46"/>
                  </a:cxn>
                  <a:cxn ang="0">
                    <a:pos x="28" y="46"/>
                  </a:cxn>
                  <a:cxn ang="0">
                    <a:pos x="36" y="42"/>
                  </a:cxn>
                  <a:cxn ang="0">
                    <a:pos x="42" y="34"/>
                  </a:cxn>
                  <a:cxn ang="0">
                    <a:pos x="46" y="26"/>
                  </a:cxn>
                  <a:cxn ang="0">
                    <a:pos x="44" y="18"/>
                  </a:cxn>
                  <a:cxn ang="0">
                    <a:pos x="44" y="18"/>
                  </a:cxn>
                  <a:cxn ang="0">
                    <a:pos x="42" y="10"/>
                  </a:cxn>
                  <a:cxn ang="0">
                    <a:pos x="36" y="4"/>
                  </a:cxn>
                  <a:cxn ang="0">
                    <a:pos x="30" y="2"/>
                  </a:cxn>
                  <a:cxn ang="0">
                    <a:pos x="22" y="0"/>
                  </a:cxn>
                </a:cxnLst>
                <a:rect l="0" t="0" r="r" b="b"/>
                <a:pathLst>
                  <a:path w="46" h="46">
                    <a:moveTo>
                      <a:pt x="22" y="0"/>
                    </a:moveTo>
                    <a:lnTo>
                      <a:pt x="2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8" y="4"/>
                    </a:lnTo>
                    <a:lnTo>
                      <a:pt x="2" y="12"/>
                    </a:lnTo>
                    <a:lnTo>
                      <a:pt x="0" y="2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2" y="36"/>
                    </a:lnTo>
                    <a:lnTo>
                      <a:pt x="8" y="42"/>
                    </a:lnTo>
                    <a:lnTo>
                      <a:pt x="14" y="46"/>
                    </a:lnTo>
                    <a:lnTo>
                      <a:pt x="22" y="46"/>
                    </a:lnTo>
                    <a:lnTo>
                      <a:pt x="22" y="46"/>
                    </a:lnTo>
                    <a:lnTo>
                      <a:pt x="28" y="46"/>
                    </a:lnTo>
                    <a:lnTo>
                      <a:pt x="28" y="46"/>
                    </a:lnTo>
                    <a:lnTo>
                      <a:pt x="36" y="42"/>
                    </a:lnTo>
                    <a:lnTo>
                      <a:pt x="42" y="34"/>
                    </a:lnTo>
                    <a:lnTo>
                      <a:pt x="46" y="26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2" y="10"/>
                    </a:lnTo>
                    <a:lnTo>
                      <a:pt x="36" y="4"/>
                    </a:lnTo>
                    <a:lnTo>
                      <a:pt x="30" y="2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62" name="Freeform 98"/>
              <p:cNvSpPr>
                <a:spLocks/>
              </p:cNvSpPr>
              <p:nvPr userDrawn="1"/>
            </p:nvSpPr>
            <p:spPr bwMode="auto">
              <a:xfrm>
                <a:off x="6988175" y="3705225"/>
                <a:ext cx="73025" cy="73025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8" y="4"/>
                  </a:cxn>
                  <a:cxn ang="0">
                    <a:pos x="2" y="12"/>
                  </a:cxn>
                  <a:cxn ang="0">
                    <a:pos x="0" y="20"/>
                  </a:cxn>
                  <a:cxn ang="0">
                    <a:pos x="0" y="30"/>
                  </a:cxn>
                  <a:cxn ang="0">
                    <a:pos x="0" y="30"/>
                  </a:cxn>
                  <a:cxn ang="0">
                    <a:pos x="2" y="36"/>
                  </a:cxn>
                  <a:cxn ang="0">
                    <a:pos x="8" y="42"/>
                  </a:cxn>
                  <a:cxn ang="0">
                    <a:pos x="14" y="46"/>
                  </a:cxn>
                  <a:cxn ang="0">
                    <a:pos x="22" y="46"/>
                  </a:cxn>
                  <a:cxn ang="0">
                    <a:pos x="22" y="46"/>
                  </a:cxn>
                  <a:cxn ang="0">
                    <a:pos x="28" y="46"/>
                  </a:cxn>
                  <a:cxn ang="0">
                    <a:pos x="28" y="46"/>
                  </a:cxn>
                  <a:cxn ang="0">
                    <a:pos x="36" y="42"/>
                  </a:cxn>
                  <a:cxn ang="0">
                    <a:pos x="42" y="34"/>
                  </a:cxn>
                  <a:cxn ang="0">
                    <a:pos x="46" y="26"/>
                  </a:cxn>
                  <a:cxn ang="0">
                    <a:pos x="44" y="18"/>
                  </a:cxn>
                  <a:cxn ang="0">
                    <a:pos x="44" y="18"/>
                  </a:cxn>
                  <a:cxn ang="0">
                    <a:pos x="42" y="10"/>
                  </a:cxn>
                  <a:cxn ang="0">
                    <a:pos x="36" y="4"/>
                  </a:cxn>
                  <a:cxn ang="0">
                    <a:pos x="30" y="2"/>
                  </a:cxn>
                  <a:cxn ang="0">
                    <a:pos x="22" y="0"/>
                  </a:cxn>
                </a:cxnLst>
                <a:rect l="0" t="0" r="r" b="b"/>
                <a:pathLst>
                  <a:path w="46" h="46">
                    <a:moveTo>
                      <a:pt x="22" y="0"/>
                    </a:moveTo>
                    <a:lnTo>
                      <a:pt x="2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8" y="4"/>
                    </a:lnTo>
                    <a:lnTo>
                      <a:pt x="2" y="12"/>
                    </a:lnTo>
                    <a:lnTo>
                      <a:pt x="0" y="2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2" y="36"/>
                    </a:lnTo>
                    <a:lnTo>
                      <a:pt x="8" y="42"/>
                    </a:lnTo>
                    <a:lnTo>
                      <a:pt x="14" y="46"/>
                    </a:lnTo>
                    <a:lnTo>
                      <a:pt x="22" y="46"/>
                    </a:lnTo>
                    <a:lnTo>
                      <a:pt x="22" y="46"/>
                    </a:lnTo>
                    <a:lnTo>
                      <a:pt x="28" y="46"/>
                    </a:lnTo>
                    <a:lnTo>
                      <a:pt x="28" y="46"/>
                    </a:lnTo>
                    <a:lnTo>
                      <a:pt x="36" y="42"/>
                    </a:lnTo>
                    <a:lnTo>
                      <a:pt x="42" y="34"/>
                    </a:lnTo>
                    <a:lnTo>
                      <a:pt x="46" y="26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2" y="10"/>
                    </a:lnTo>
                    <a:lnTo>
                      <a:pt x="36" y="4"/>
                    </a:lnTo>
                    <a:lnTo>
                      <a:pt x="30" y="2"/>
                    </a:lnTo>
                    <a:lnTo>
                      <a:pt x="2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63" name="Freeform 99"/>
              <p:cNvSpPr>
                <a:spLocks/>
              </p:cNvSpPr>
              <p:nvPr userDrawn="1"/>
            </p:nvSpPr>
            <p:spPr bwMode="auto">
              <a:xfrm>
                <a:off x="7140575" y="3921125"/>
                <a:ext cx="66675" cy="66675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8" y="6"/>
                  </a:cxn>
                  <a:cxn ang="0">
                    <a:pos x="2" y="12"/>
                  </a:cxn>
                  <a:cxn ang="0">
                    <a:pos x="0" y="18"/>
                  </a:cxn>
                  <a:cxn ang="0">
                    <a:pos x="0" y="28"/>
                  </a:cxn>
                  <a:cxn ang="0">
                    <a:pos x="0" y="28"/>
                  </a:cxn>
                  <a:cxn ang="0">
                    <a:pos x="4" y="34"/>
                  </a:cxn>
                  <a:cxn ang="0">
                    <a:pos x="8" y="38"/>
                  </a:cxn>
                  <a:cxn ang="0">
                    <a:pos x="14" y="42"/>
                  </a:cxn>
                  <a:cxn ang="0">
                    <a:pos x="20" y="42"/>
                  </a:cxn>
                  <a:cxn ang="0">
                    <a:pos x="20" y="42"/>
                  </a:cxn>
                  <a:cxn ang="0">
                    <a:pos x="26" y="42"/>
                  </a:cxn>
                  <a:cxn ang="0">
                    <a:pos x="26" y="42"/>
                  </a:cxn>
                  <a:cxn ang="0">
                    <a:pos x="34" y="38"/>
                  </a:cxn>
                  <a:cxn ang="0">
                    <a:pos x="38" y="32"/>
                  </a:cxn>
                  <a:cxn ang="0">
                    <a:pos x="42" y="24"/>
                  </a:cxn>
                  <a:cxn ang="0">
                    <a:pos x="40" y="16"/>
                  </a:cxn>
                  <a:cxn ang="0">
                    <a:pos x="40" y="16"/>
                  </a:cxn>
                  <a:cxn ang="0">
                    <a:pos x="38" y="10"/>
                  </a:cxn>
                  <a:cxn ang="0">
                    <a:pos x="34" y="6"/>
                  </a:cxn>
                  <a:cxn ang="0">
                    <a:pos x="28" y="2"/>
                  </a:cxn>
                  <a:cxn ang="0">
                    <a:pos x="20" y="0"/>
                  </a:cxn>
                </a:cxnLst>
                <a:rect l="0" t="0" r="r" b="b"/>
                <a:pathLst>
                  <a:path w="42" h="42">
                    <a:moveTo>
                      <a:pt x="20" y="0"/>
                    </a:moveTo>
                    <a:lnTo>
                      <a:pt x="20" y="0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8" y="6"/>
                    </a:lnTo>
                    <a:lnTo>
                      <a:pt x="2" y="12"/>
                    </a:lnTo>
                    <a:lnTo>
                      <a:pt x="0" y="18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4" y="34"/>
                    </a:lnTo>
                    <a:lnTo>
                      <a:pt x="8" y="38"/>
                    </a:lnTo>
                    <a:lnTo>
                      <a:pt x="14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34" y="38"/>
                    </a:lnTo>
                    <a:lnTo>
                      <a:pt x="38" y="32"/>
                    </a:lnTo>
                    <a:lnTo>
                      <a:pt x="42" y="24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38" y="10"/>
                    </a:lnTo>
                    <a:lnTo>
                      <a:pt x="34" y="6"/>
                    </a:lnTo>
                    <a:lnTo>
                      <a:pt x="28" y="2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64" name="Freeform 100"/>
              <p:cNvSpPr>
                <a:spLocks/>
              </p:cNvSpPr>
              <p:nvPr userDrawn="1"/>
            </p:nvSpPr>
            <p:spPr bwMode="auto">
              <a:xfrm>
                <a:off x="7140575" y="3921125"/>
                <a:ext cx="66675" cy="66675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8" y="6"/>
                  </a:cxn>
                  <a:cxn ang="0">
                    <a:pos x="2" y="12"/>
                  </a:cxn>
                  <a:cxn ang="0">
                    <a:pos x="0" y="18"/>
                  </a:cxn>
                  <a:cxn ang="0">
                    <a:pos x="0" y="28"/>
                  </a:cxn>
                  <a:cxn ang="0">
                    <a:pos x="0" y="28"/>
                  </a:cxn>
                  <a:cxn ang="0">
                    <a:pos x="4" y="34"/>
                  </a:cxn>
                  <a:cxn ang="0">
                    <a:pos x="8" y="38"/>
                  </a:cxn>
                  <a:cxn ang="0">
                    <a:pos x="14" y="42"/>
                  </a:cxn>
                  <a:cxn ang="0">
                    <a:pos x="20" y="42"/>
                  </a:cxn>
                  <a:cxn ang="0">
                    <a:pos x="20" y="42"/>
                  </a:cxn>
                  <a:cxn ang="0">
                    <a:pos x="26" y="42"/>
                  </a:cxn>
                  <a:cxn ang="0">
                    <a:pos x="26" y="42"/>
                  </a:cxn>
                  <a:cxn ang="0">
                    <a:pos x="34" y="38"/>
                  </a:cxn>
                  <a:cxn ang="0">
                    <a:pos x="38" y="32"/>
                  </a:cxn>
                  <a:cxn ang="0">
                    <a:pos x="42" y="24"/>
                  </a:cxn>
                  <a:cxn ang="0">
                    <a:pos x="40" y="16"/>
                  </a:cxn>
                  <a:cxn ang="0">
                    <a:pos x="40" y="16"/>
                  </a:cxn>
                  <a:cxn ang="0">
                    <a:pos x="38" y="10"/>
                  </a:cxn>
                  <a:cxn ang="0">
                    <a:pos x="34" y="6"/>
                  </a:cxn>
                  <a:cxn ang="0">
                    <a:pos x="28" y="2"/>
                  </a:cxn>
                  <a:cxn ang="0">
                    <a:pos x="20" y="0"/>
                  </a:cxn>
                </a:cxnLst>
                <a:rect l="0" t="0" r="r" b="b"/>
                <a:pathLst>
                  <a:path w="42" h="42">
                    <a:moveTo>
                      <a:pt x="20" y="0"/>
                    </a:moveTo>
                    <a:lnTo>
                      <a:pt x="20" y="0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8" y="6"/>
                    </a:lnTo>
                    <a:lnTo>
                      <a:pt x="2" y="12"/>
                    </a:lnTo>
                    <a:lnTo>
                      <a:pt x="0" y="18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4" y="34"/>
                    </a:lnTo>
                    <a:lnTo>
                      <a:pt x="8" y="38"/>
                    </a:lnTo>
                    <a:lnTo>
                      <a:pt x="14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34" y="38"/>
                    </a:lnTo>
                    <a:lnTo>
                      <a:pt x="38" y="32"/>
                    </a:lnTo>
                    <a:lnTo>
                      <a:pt x="42" y="24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38" y="10"/>
                    </a:lnTo>
                    <a:lnTo>
                      <a:pt x="34" y="6"/>
                    </a:lnTo>
                    <a:lnTo>
                      <a:pt x="28" y="2"/>
                    </a:lnTo>
                    <a:lnTo>
                      <a:pt x="2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65" name="Freeform 101"/>
              <p:cNvSpPr>
                <a:spLocks/>
              </p:cNvSpPr>
              <p:nvPr userDrawn="1"/>
            </p:nvSpPr>
            <p:spPr bwMode="auto">
              <a:xfrm>
                <a:off x="7254875" y="4162425"/>
                <a:ext cx="57150" cy="60325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2" y="30"/>
                  </a:cxn>
                  <a:cxn ang="0">
                    <a:pos x="6" y="34"/>
                  </a:cxn>
                  <a:cxn ang="0">
                    <a:pos x="12" y="36"/>
                  </a:cxn>
                  <a:cxn ang="0">
                    <a:pos x="18" y="38"/>
                  </a:cxn>
                  <a:cxn ang="0">
                    <a:pos x="18" y="38"/>
                  </a:cxn>
                  <a:cxn ang="0">
                    <a:pos x="22" y="36"/>
                  </a:cxn>
                  <a:cxn ang="0">
                    <a:pos x="22" y="36"/>
                  </a:cxn>
                  <a:cxn ang="0">
                    <a:pos x="30" y="34"/>
                  </a:cxn>
                  <a:cxn ang="0">
                    <a:pos x="34" y="28"/>
                  </a:cxn>
                  <a:cxn ang="0">
                    <a:pos x="36" y="22"/>
                  </a:cxn>
                  <a:cxn ang="0">
                    <a:pos x="36" y="14"/>
                  </a:cxn>
                  <a:cxn ang="0">
                    <a:pos x="36" y="14"/>
                  </a:cxn>
                  <a:cxn ang="0">
                    <a:pos x="34" y="8"/>
                  </a:cxn>
                  <a:cxn ang="0">
                    <a:pos x="30" y="4"/>
                  </a:cxn>
                  <a:cxn ang="0">
                    <a:pos x="24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8">
                    <a:moveTo>
                      <a:pt x="18" y="0"/>
                    </a:moveTo>
                    <a:lnTo>
                      <a:pt x="18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30"/>
                    </a:lnTo>
                    <a:lnTo>
                      <a:pt x="6" y="34"/>
                    </a:lnTo>
                    <a:lnTo>
                      <a:pt x="12" y="36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30" y="34"/>
                    </a:lnTo>
                    <a:lnTo>
                      <a:pt x="34" y="28"/>
                    </a:lnTo>
                    <a:lnTo>
                      <a:pt x="36" y="22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4" y="8"/>
                    </a:lnTo>
                    <a:lnTo>
                      <a:pt x="30" y="4"/>
                    </a:lnTo>
                    <a:lnTo>
                      <a:pt x="24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66" name="Freeform 102"/>
              <p:cNvSpPr>
                <a:spLocks/>
              </p:cNvSpPr>
              <p:nvPr userDrawn="1"/>
            </p:nvSpPr>
            <p:spPr bwMode="auto">
              <a:xfrm>
                <a:off x="7254875" y="4162425"/>
                <a:ext cx="57150" cy="60325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2" y="30"/>
                  </a:cxn>
                  <a:cxn ang="0">
                    <a:pos x="6" y="34"/>
                  </a:cxn>
                  <a:cxn ang="0">
                    <a:pos x="12" y="36"/>
                  </a:cxn>
                  <a:cxn ang="0">
                    <a:pos x="18" y="38"/>
                  </a:cxn>
                  <a:cxn ang="0">
                    <a:pos x="18" y="38"/>
                  </a:cxn>
                  <a:cxn ang="0">
                    <a:pos x="22" y="36"/>
                  </a:cxn>
                  <a:cxn ang="0">
                    <a:pos x="22" y="36"/>
                  </a:cxn>
                  <a:cxn ang="0">
                    <a:pos x="30" y="34"/>
                  </a:cxn>
                  <a:cxn ang="0">
                    <a:pos x="34" y="28"/>
                  </a:cxn>
                  <a:cxn ang="0">
                    <a:pos x="36" y="22"/>
                  </a:cxn>
                  <a:cxn ang="0">
                    <a:pos x="36" y="14"/>
                  </a:cxn>
                  <a:cxn ang="0">
                    <a:pos x="36" y="14"/>
                  </a:cxn>
                  <a:cxn ang="0">
                    <a:pos x="34" y="8"/>
                  </a:cxn>
                  <a:cxn ang="0">
                    <a:pos x="30" y="4"/>
                  </a:cxn>
                  <a:cxn ang="0">
                    <a:pos x="24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8">
                    <a:moveTo>
                      <a:pt x="18" y="0"/>
                    </a:moveTo>
                    <a:lnTo>
                      <a:pt x="18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30"/>
                    </a:lnTo>
                    <a:lnTo>
                      <a:pt x="6" y="34"/>
                    </a:lnTo>
                    <a:lnTo>
                      <a:pt x="12" y="36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30" y="34"/>
                    </a:lnTo>
                    <a:lnTo>
                      <a:pt x="34" y="28"/>
                    </a:lnTo>
                    <a:lnTo>
                      <a:pt x="36" y="22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4" y="8"/>
                    </a:lnTo>
                    <a:lnTo>
                      <a:pt x="30" y="4"/>
                    </a:lnTo>
                    <a:lnTo>
                      <a:pt x="24" y="0"/>
                    </a:lnTo>
                    <a:lnTo>
                      <a:pt x="1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67" name="Freeform 103"/>
              <p:cNvSpPr>
                <a:spLocks/>
              </p:cNvSpPr>
              <p:nvPr userDrawn="1"/>
            </p:nvSpPr>
            <p:spPr bwMode="auto">
              <a:xfrm>
                <a:off x="7324725" y="4416425"/>
                <a:ext cx="53975" cy="5397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4"/>
                  </a:cxn>
                  <a:cxn ang="0">
                    <a:pos x="2" y="8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2" y="28"/>
                  </a:cxn>
                  <a:cxn ang="0">
                    <a:pos x="6" y="30"/>
                  </a:cxn>
                  <a:cxn ang="0">
                    <a:pos x="12" y="34"/>
                  </a:cxn>
                  <a:cxn ang="0">
                    <a:pos x="16" y="34"/>
                  </a:cxn>
                  <a:cxn ang="0">
                    <a:pos x="16" y="34"/>
                  </a:cxn>
                  <a:cxn ang="0">
                    <a:pos x="20" y="34"/>
                  </a:cxn>
                  <a:cxn ang="0">
                    <a:pos x="20" y="34"/>
                  </a:cxn>
                  <a:cxn ang="0">
                    <a:pos x="26" y="30"/>
                  </a:cxn>
                  <a:cxn ang="0">
                    <a:pos x="32" y="26"/>
                  </a:cxn>
                  <a:cxn ang="0">
                    <a:pos x="34" y="20"/>
                  </a:cxn>
                  <a:cxn ang="0">
                    <a:pos x="32" y="14"/>
                  </a:cxn>
                  <a:cxn ang="0">
                    <a:pos x="32" y="14"/>
                  </a:cxn>
                  <a:cxn ang="0">
                    <a:pos x="30" y="8"/>
                  </a:cxn>
                  <a:cxn ang="0">
                    <a:pos x="26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4" h="34">
                    <a:moveTo>
                      <a:pt x="16" y="0"/>
                    </a:moveTo>
                    <a:lnTo>
                      <a:pt x="16" y="0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4"/>
                    </a:lnTo>
                    <a:lnTo>
                      <a:pt x="2" y="8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2" y="28"/>
                    </a:lnTo>
                    <a:lnTo>
                      <a:pt x="6" y="30"/>
                    </a:lnTo>
                    <a:lnTo>
                      <a:pt x="12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6" y="30"/>
                    </a:lnTo>
                    <a:lnTo>
                      <a:pt x="32" y="26"/>
                    </a:lnTo>
                    <a:lnTo>
                      <a:pt x="34" y="20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30" y="8"/>
                    </a:lnTo>
                    <a:lnTo>
                      <a:pt x="26" y="4"/>
                    </a:lnTo>
                    <a:lnTo>
                      <a:pt x="22" y="2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68" name="Freeform 104"/>
              <p:cNvSpPr>
                <a:spLocks/>
              </p:cNvSpPr>
              <p:nvPr userDrawn="1"/>
            </p:nvSpPr>
            <p:spPr bwMode="auto">
              <a:xfrm>
                <a:off x="7324725" y="4416425"/>
                <a:ext cx="53975" cy="5397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4"/>
                  </a:cxn>
                  <a:cxn ang="0">
                    <a:pos x="2" y="8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2" y="28"/>
                  </a:cxn>
                  <a:cxn ang="0">
                    <a:pos x="6" y="30"/>
                  </a:cxn>
                  <a:cxn ang="0">
                    <a:pos x="12" y="34"/>
                  </a:cxn>
                  <a:cxn ang="0">
                    <a:pos x="16" y="34"/>
                  </a:cxn>
                  <a:cxn ang="0">
                    <a:pos x="16" y="34"/>
                  </a:cxn>
                  <a:cxn ang="0">
                    <a:pos x="20" y="34"/>
                  </a:cxn>
                  <a:cxn ang="0">
                    <a:pos x="20" y="34"/>
                  </a:cxn>
                  <a:cxn ang="0">
                    <a:pos x="26" y="30"/>
                  </a:cxn>
                  <a:cxn ang="0">
                    <a:pos x="32" y="26"/>
                  </a:cxn>
                  <a:cxn ang="0">
                    <a:pos x="34" y="20"/>
                  </a:cxn>
                  <a:cxn ang="0">
                    <a:pos x="32" y="14"/>
                  </a:cxn>
                  <a:cxn ang="0">
                    <a:pos x="32" y="14"/>
                  </a:cxn>
                  <a:cxn ang="0">
                    <a:pos x="30" y="8"/>
                  </a:cxn>
                  <a:cxn ang="0">
                    <a:pos x="26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4" h="34">
                    <a:moveTo>
                      <a:pt x="16" y="0"/>
                    </a:moveTo>
                    <a:lnTo>
                      <a:pt x="16" y="0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4"/>
                    </a:lnTo>
                    <a:lnTo>
                      <a:pt x="2" y="8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2" y="28"/>
                    </a:lnTo>
                    <a:lnTo>
                      <a:pt x="6" y="30"/>
                    </a:lnTo>
                    <a:lnTo>
                      <a:pt x="12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6" y="30"/>
                    </a:lnTo>
                    <a:lnTo>
                      <a:pt x="32" y="26"/>
                    </a:lnTo>
                    <a:lnTo>
                      <a:pt x="34" y="20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30" y="8"/>
                    </a:lnTo>
                    <a:lnTo>
                      <a:pt x="26" y="4"/>
                    </a:lnTo>
                    <a:lnTo>
                      <a:pt x="22" y="2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69" name="Freeform 105"/>
              <p:cNvSpPr>
                <a:spLocks/>
              </p:cNvSpPr>
              <p:nvPr userDrawn="1"/>
            </p:nvSpPr>
            <p:spPr bwMode="auto">
              <a:xfrm>
                <a:off x="5295900" y="3228975"/>
                <a:ext cx="139700" cy="139700"/>
              </a:xfrm>
              <a:custGeom>
                <a:avLst/>
                <a:gdLst/>
                <a:ahLst/>
                <a:cxnLst>
                  <a:cxn ang="0">
                    <a:pos x="44" y="0"/>
                  </a:cxn>
                  <a:cxn ang="0">
                    <a:pos x="44" y="0"/>
                  </a:cxn>
                  <a:cxn ang="0">
                    <a:pos x="32" y="0"/>
                  </a:cxn>
                  <a:cxn ang="0">
                    <a:pos x="32" y="0"/>
                  </a:cxn>
                  <a:cxn ang="0">
                    <a:pos x="24" y="4"/>
                  </a:cxn>
                  <a:cxn ang="0">
                    <a:pos x="16" y="8"/>
                  </a:cxn>
                  <a:cxn ang="0">
                    <a:pos x="10" y="14"/>
                  </a:cxn>
                  <a:cxn ang="0">
                    <a:pos x="6" y="22"/>
                  </a:cxn>
                  <a:cxn ang="0">
                    <a:pos x="2" y="28"/>
                  </a:cxn>
                  <a:cxn ang="0">
                    <a:pos x="0" y="38"/>
                  </a:cxn>
                  <a:cxn ang="0">
                    <a:pos x="0" y="46"/>
                  </a:cxn>
                  <a:cxn ang="0">
                    <a:pos x="2" y="54"/>
                  </a:cxn>
                  <a:cxn ang="0">
                    <a:pos x="2" y="54"/>
                  </a:cxn>
                  <a:cxn ang="0">
                    <a:pos x="4" y="62"/>
                  </a:cxn>
                  <a:cxn ang="0">
                    <a:pos x="8" y="68"/>
                  </a:cxn>
                  <a:cxn ang="0">
                    <a:pos x="18" y="78"/>
                  </a:cxn>
                  <a:cxn ang="0">
                    <a:pos x="30" y="84"/>
                  </a:cxn>
                  <a:cxn ang="0">
                    <a:pos x="44" y="88"/>
                  </a:cxn>
                  <a:cxn ang="0">
                    <a:pos x="44" y="88"/>
                  </a:cxn>
                  <a:cxn ang="0">
                    <a:pos x="54" y="86"/>
                  </a:cxn>
                  <a:cxn ang="0">
                    <a:pos x="54" y="86"/>
                  </a:cxn>
                  <a:cxn ang="0">
                    <a:pos x="64" y="82"/>
                  </a:cxn>
                  <a:cxn ang="0">
                    <a:pos x="70" y="78"/>
                  </a:cxn>
                  <a:cxn ang="0">
                    <a:pos x="76" y="72"/>
                  </a:cxn>
                  <a:cxn ang="0">
                    <a:pos x="82" y="66"/>
                  </a:cxn>
                  <a:cxn ang="0">
                    <a:pos x="84" y="58"/>
                  </a:cxn>
                  <a:cxn ang="0">
                    <a:pos x="86" y="50"/>
                  </a:cxn>
                  <a:cxn ang="0">
                    <a:pos x="88" y="40"/>
                  </a:cxn>
                  <a:cxn ang="0">
                    <a:pos x="86" y="32"/>
                  </a:cxn>
                  <a:cxn ang="0">
                    <a:pos x="86" y="32"/>
                  </a:cxn>
                  <a:cxn ang="0">
                    <a:pos x="84" y="24"/>
                  </a:cxn>
                  <a:cxn ang="0">
                    <a:pos x="80" y="18"/>
                  </a:cxn>
                  <a:cxn ang="0">
                    <a:pos x="70" y="8"/>
                  </a:cxn>
                  <a:cxn ang="0">
                    <a:pos x="58" y="2"/>
                  </a:cxn>
                  <a:cxn ang="0">
                    <a:pos x="44" y="0"/>
                  </a:cxn>
                </a:cxnLst>
                <a:rect l="0" t="0" r="r" b="b"/>
                <a:pathLst>
                  <a:path w="88" h="88">
                    <a:moveTo>
                      <a:pt x="44" y="0"/>
                    </a:moveTo>
                    <a:lnTo>
                      <a:pt x="44" y="0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24" y="4"/>
                    </a:lnTo>
                    <a:lnTo>
                      <a:pt x="16" y="8"/>
                    </a:lnTo>
                    <a:lnTo>
                      <a:pt x="10" y="14"/>
                    </a:lnTo>
                    <a:lnTo>
                      <a:pt x="6" y="22"/>
                    </a:lnTo>
                    <a:lnTo>
                      <a:pt x="2" y="28"/>
                    </a:lnTo>
                    <a:lnTo>
                      <a:pt x="0" y="38"/>
                    </a:lnTo>
                    <a:lnTo>
                      <a:pt x="0" y="46"/>
                    </a:lnTo>
                    <a:lnTo>
                      <a:pt x="2" y="54"/>
                    </a:lnTo>
                    <a:lnTo>
                      <a:pt x="2" y="54"/>
                    </a:lnTo>
                    <a:lnTo>
                      <a:pt x="4" y="62"/>
                    </a:lnTo>
                    <a:lnTo>
                      <a:pt x="8" y="68"/>
                    </a:lnTo>
                    <a:lnTo>
                      <a:pt x="18" y="78"/>
                    </a:lnTo>
                    <a:lnTo>
                      <a:pt x="30" y="84"/>
                    </a:lnTo>
                    <a:lnTo>
                      <a:pt x="44" y="88"/>
                    </a:lnTo>
                    <a:lnTo>
                      <a:pt x="44" y="88"/>
                    </a:lnTo>
                    <a:lnTo>
                      <a:pt x="54" y="86"/>
                    </a:lnTo>
                    <a:lnTo>
                      <a:pt x="54" y="86"/>
                    </a:lnTo>
                    <a:lnTo>
                      <a:pt x="64" y="82"/>
                    </a:lnTo>
                    <a:lnTo>
                      <a:pt x="70" y="78"/>
                    </a:lnTo>
                    <a:lnTo>
                      <a:pt x="76" y="72"/>
                    </a:lnTo>
                    <a:lnTo>
                      <a:pt x="82" y="66"/>
                    </a:lnTo>
                    <a:lnTo>
                      <a:pt x="84" y="58"/>
                    </a:lnTo>
                    <a:lnTo>
                      <a:pt x="86" y="50"/>
                    </a:lnTo>
                    <a:lnTo>
                      <a:pt x="88" y="40"/>
                    </a:lnTo>
                    <a:lnTo>
                      <a:pt x="86" y="32"/>
                    </a:lnTo>
                    <a:lnTo>
                      <a:pt x="86" y="32"/>
                    </a:lnTo>
                    <a:lnTo>
                      <a:pt x="84" y="24"/>
                    </a:lnTo>
                    <a:lnTo>
                      <a:pt x="80" y="18"/>
                    </a:lnTo>
                    <a:lnTo>
                      <a:pt x="70" y="8"/>
                    </a:lnTo>
                    <a:lnTo>
                      <a:pt x="58" y="2"/>
                    </a:lnTo>
                    <a:lnTo>
                      <a:pt x="4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70" name="Freeform 106"/>
              <p:cNvSpPr>
                <a:spLocks/>
              </p:cNvSpPr>
              <p:nvPr userDrawn="1"/>
            </p:nvSpPr>
            <p:spPr bwMode="auto">
              <a:xfrm>
                <a:off x="5295900" y="3228975"/>
                <a:ext cx="139700" cy="139700"/>
              </a:xfrm>
              <a:custGeom>
                <a:avLst/>
                <a:gdLst/>
                <a:ahLst/>
                <a:cxnLst>
                  <a:cxn ang="0">
                    <a:pos x="44" y="0"/>
                  </a:cxn>
                  <a:cxn ang="0">
                    <a:pos x="44" y="0"/>
                  </a:cxn>
                  <a:cxn ang="0">
                    <a:pos x="32" y="0"/>
                  </a:cxn>
                  <a:cxn ang="0">
                    <a:pos x="32" y="0"/>
                  </a:cxn>
                  <a:cxn ang="0">
                    <a:pos x="24" y="4"/>
                  </a:cxn>
                  <a:cxn ang="0">
                    <a:pos x="16" y="8"/>
                  </a:cxn>
                  <a:cxn ang="0">
                    <a:pos x="10" y="14"/>
                  </a:cxn>
                  <a:cxn ang="0">
                    <a:pos x="6" y="22"/>
                  </a:cxn>
                  <a:cxn ang="0">
                    <a:pos x="2" y="28"/>
                  </a:cxn>
                  <a:cxn ang="0">
                    <a:pos x="0" y="38"/>
                  </a:cxn>
                  <a:cxn ang="0">
                    <a:pos x="0" y="46"/>
                  </a:cxn>
                  <a:cxn ang="0">
                    <a:pos x="2" y="54"/>
                  </a:cxn>
                  <a:cxn ang="0">
                    <a:pos x="2" y="54"/>
                  </a:cxn>
                  <a:cxn ang="0">
                    <a:pos x="4" y="62"/>
                  </a:cxn>
                  <a:cxn ang="0">
                    <a:pos x="8" y="68"/>
                  </a:cxn>
                  <a:cxn ang="0">
                    <a:pos x="18" y="78"/>
                  </a:cxn>
                  <a:cxn ang="0">
                    <a:pos x="30" y="84"/>
                  </a:cxn>
                  <a:cxn ang="0">
                    <a:pos x="44" y="88"/>
                  </a:cxn>
                  <a:cxn ang="0">
                    <a:pos x="44" y="88"/>
                  </a:cxn>
                  <a:cxn ang="0">
                    <a:pos x="54" y="86"/>
                  </a:cxn>
                  <a:cxn ang="0">
                    <a:pos x="54" y="86"/>
                  </a:cxn>
                  <a:cxn ang="0">
                    <a:pos x="64" y="82"/>
                  </a:cxn>
                  <a:cxn ang="0">
                    <a:pos x="70" y="78"/>
                  </a:cxn>
                  <a:cxn ang="0">
                    <a:pos x="76" y="72"/>
                  </a:cxn>
                  <a:cxn ang="0">
                    <a:pos x="82" y="66"/>
                  </a:cxn>
                  <a:cxn ang="0">
                    <a:pos x="84" y="58"/>
                  </a:cxn>
                  <a:cxn ang="0">
                    <a:pos x="86" y="50"/>
                  </a:cxn>
                  <a:cxn ang="0">
                    <a:pos x="88" y="40"/>
                  </a:cxn>
                  <a:cxn ang="0">
                    <a:pos x="86" y="32"/>
                  </a:cxn>
                  <a:cxn ang="0">
                    <a:pos x="86" y="32"/>
                  </a:cxn>
                  <a:cxn ang="0">
                    <a:pos x="84" y="24"/>
                  </a:cxn>
                  <a:cxn ang="0">
                    <a:pos x="80" y="18"/>
                  </a:cxn>
                  <a:cxn ang="0">
                    <a:pos x="70" y="8"/>
                  </a:cxn>
                  <a:cxn ang="0">
                    <a:pos x="58" y="2"/>
                  </a:cxn>
                  <a:cxn ang="0">
                    <a:pos x="44" y="0"/>
                  </a:cxn>
                </a:cxnLst>
                <a:rect l="0" t="0" r="r" b="b"/>
                <a:pathLst>
                  <a:path w="88" h="88">
                    <a:moveTo>
                      <a:pt x="44" y="0"/>
                    </a:moveTo>
                    <a:lnTo>
                      <a:pt x="44" y="0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24" y="4"/>
                    </a:lnTo>
                    <a:lnTo>
                      <a:pt x="16" y="8"/>
                    </a:lnTo>
                    <a:lnTo>
                      <a:pt x="10" y="14"/>
                    </a:lnTo>
                    <a:lnTo>
                      <a:pt x="6" y="22"/>
                    </a:lnTo>
                    <a:lnTo>
                      <a:pt x="2" y="28"/>
                    </a:lnTo>
                    <a:lnTo>
                      <a:pt x="0" y="38"/>
                    </a:lnTo>
                    <a:lnTo>
                      <a:pt x="0" y="46"/>
                    </a:lnTo>
                    <a:lnTo>
                      <a:pt x="2" y="54"/>
                    </a:lnTo>
                    <a:lnTo>
                      <a:pt x="2" y="54"/>
                    </a:lnTo>
                    <a:lnTo>
                      <a:pt x="4" y="62"/>
                    </a:lnTo>
                    <a:lnTo>
                      <a:pt x="8" y="68"/>
                    </a:lnTo>
                    <a:lnTo>
                      <a:pt x="18" y="78"/>
                    </a:lnTo>
                    <a:lnTo>
                      <a:pt x="30" y="84"/>
                    </a:lnTo>
                    <a:lnTo>
                      <a:pt x="44" y="88"/>
                    </a:lnTo>
                    <a:lnTo>
                      <a:pt x="44" y="88"/>
                    </a:lnTo>
                    <a:lnTo>
                      <a:pt x="54" y="86"/>
                    </a:lnTo>
                    <a:lnTo>
                      <a:pt x="54" y="86"/>
                    </a:lnTo>
                    <a:lnTo>
                      <a:pt x="64" y="82"/>
                    </a:lnTo>
                    <a:lnTo>
                      <a:pt x="70" y="78"/>
                    </a:lnTo>
                    <a:lnTo>
                      <a:pt x="76" y="72"/>
                    </a:lnTo>
                    <a:lnTo>
                      <a:pt x="82" y="66"/>
                    </a:lnTo>
                    <a:lnTo>
                      <a:pt x="84" y="58"/>
                    </a:lnTo>
                    <a:lnTo>
                      <a:pt x="86" y="50"/>
                    </a:lnTo>
                    <a:lnTo>
                      <a:pt x="88" y="40"/>
                    </a:lnTo>
                    <a:lnTo>
                      <a:pt x="86" y="32"/>
                    </a:lnTo>
                    <a:lnTo>
                      <a:pt x="86" y="32"/>
                    </a:lnTo>
                    <a:lnTo>
                      <a:pt x="84" y="24"/>
                    </a:lnTo>
                    <a:lnTo>
                      <a:pt x="80" y="18"/>
                    </a:lnTo>
                    <a:lnTo>
                      <a:pt x="70" y="8"/>
                    </a:lnTo>
                    <a:lnTo>
                      <a:pt x="58" y="2"/>
                    </a:lnTo>
                    <a:lnTo>
                      <a:pt x="4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71" name="Freeform 107"/>
              <p:cNvSpPr>
                <a:spLocks/>
              </p:cNvSpPr>
              <p:nvPr userDrawn="1"/>
            </p:nvSpPr>
            <p:spPr bwMode="auto">
              <a:xfrm>
                <a:off x="5067300" y="3346450"/>
                <a:ext cx="123825" cy="123825"/>
              </a:xfrm>
              <a:custGeom>
                <a:avLst/>
                <a:gdLst/>
                <a:ahLst/>
                <a:cxnLst>
                  <a:cxn ang="0">
                    <a:pos x="38" y="0"/>
                  </a:cxn>
                  <a:cxn ang="0">
                    <a:pos x="38" y="0"/>
                  </a:cxn>
                  <a:cxn ang="0">
                    <a:pos x="28" y="0"/>
                  </a:cxn>
                  <a:cxn ang="0">
                    <a:pos x="28" y="0"/>
                  </a:cxn>
                  <a:cxn ang="0">
                    <a:pos x="20" y="4"/>
                  </a:cxn>
                  <a:cxn ang="0">
                    <a:pos x="14" y="8"/>
                  </a:cxn>
                  <a:cxn ang="0">
                    <a:pos x="8" y="12"/>
                  </a:cxn>
                  <a:cxn ang="0">
                    <a:pos x="4" y="18"/>
                  </a:cxn>
                  <a:cxn ang="0">
                    <a:pos x="2" y="26"/>
                  </a:cxn>
                  <a:cxn ang="0">
                    <a:pos x="0" y="34"/>
                  </a:cxn>
                  <a:cxn ang="0">
                    <a:pos x="0" y="42"/>
                  </a:cxn>
                  <a:cxn ang="0">
                    <a:pos x="0" y="48"/>
                  </a:cxn>
                  <a:cxn ang="0">
                    <a:pos x="0" y="48"/>
                  </a:cxn>
                  <a:cxn ang="0">
                    <a:pos x="6" y="60"/>
                  </a:cxn>
                  <a:cxn ang="0">
                    <a:pos x="14" y="70"/>
                  </a:cxn>
                  <a:cxn ang="0">
                    <a:pos x="26" y="76"/>
                  </a:cxn>
                  <a:cxn ang="0">
                    <a:pos x="38" y="78"/>
                  </a:cxn>
                  <a:cxn ang="0">
                    <a:pos x="38" y="78"/>
                  </a:cxn>
                  <a:cxn ang="0">
                    <a:pos x="48" y="76"/>
                  </a:cxn>
                  <a:cxn ang="0">
                    <a:pos x="48" y="76"/>
                  </a:cxn>
                  <a:cxn ang="0">
                    <a:pos x="56" y="74"/>
                  </a:cxn>
                  <a:cxn ang="0">
                    <a:pos x="62" y="70"/>
                  </a:cxn>
                  <a:cxn ang="0">
                    <a:pos x="68" y="64"/>
                  </a:cxn>
                  <a:cxn ang="0">
                    <a:pos x="72" y="58"/>
                  </a:cxn>
                  <a:cxn ang="0">
                    <a:pos x="76" y="52"/>
                  </a:cxn>
                  <a:cxn ang="0">
                    <a:pos x="78" y="44"/>
                  </a:cxn>
                  <a:cxn ang="0">
                    <a:pos x="78" y="36"/>
                  </a:cxn>
                  <a:cxn ang="0">
                    <a:pos x="76" y="28"/>
                  </a:cxn>
                  <a:cxn ang="0">
                    <a:pos x="76" y="28"/>
                  </a:cxn>
                  <a:cxn ang="0">
                    <a:pos x="72" y="16"/>
                  </a:cxn>
                  <a:cxn ang="0">
                    <a:pos x="62" y="8"/>
                  </a:cxn>
                  <a:cxn ang="0">
                    <a:pos x="52" y="2"/>
                  </a:cxn>
                  <a:cxn ang="0">
                    <a:pos x="38" y="0"/>
                  </a:cxn>
                </a:cxnLst>
                <a:rect l="0" t="0" r="r" b="b"/>
                <a:pathLst>
                  <a:path w="78" h="78">
                    <a:moveTo>
                      <a:pt x="38" y="0"/>
                    </a:moveTo>
                    <a:lnTo>
                      <a:pt x="38" y="0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0" y="4"/>
                    </a:lnTo>
                    <a:lnTo>
                      <a:pt x="14" y="8"/>
                    </a:lnTo>
                    <a:lnTo>
                      <a:pt x="8" y="12"/>
                    </a:lnTo>
                    <a:lnTo>
                      <a:pt x="4" y="18"/>
                    </a:lnTo>
                    <a:lnTo>
                      <a:pt x="2" y="26"/>
                    </a:lnTo>
                    <a:lnTo>
                      <a:pt x="0" y="34"/>
                    </a:lnTo>
                    <a:lnTo>
                      <a:pt x="0" y="42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6" y="60"/>
                    </a:lnTo>
                    <a:lnTo>
                      <a:pt x="14" y="70"/>
                    </a:lnTo>
                    <a:lnTo>
                      <a:pt x="26" y="76"/>
                    </a:lnTo>
                    <a:lnTo>
                      <a:pt x="38" y="78"/>
                    </a:lnTo>
                    <a:lnTo>
                      <a:pt x="38" y="78"/>
                    </a:lnTo>
                    <a:lnTo>
                      <a:pt x="48" y="76"/>
                    </a:lnTo>
                    <a:lnTo>
                      <a:pt x="48" y="76"/>
                    </a:lnTo>
                    <a:lnTo>
                      <a:pt x="56" y="74"/>
                    </a:lnTo>
                    <a:lnTo>
                      <a:pt x="62" y="70"/>
                    </a:lnTo>
                    <a:lnTo>
                      <a:pt x="68" y="64"/>
                    </a:lnTo>
                    <a:lnTo>
                      <a:pt x="72" y="58"/>
                    </a:lnTo>
                    <a:lnTo>
                      <a:pt x="76" y="52"/>
                    </a:lnTo>
                    <a:lnTo>
                      <a:pt x="78" y="44"/>
                    </a:lnTo>
                    <a:lnTo>
                      <a:pt x="78" y="36"/>
                    </a:lnTo>
                    <a:lnTo>
                      <a:pt x="76" y="28"/>
                    </a:lnTo>
                    <a:lnTo>
                      <a:pt x="76" y="28"/>
                    </a:lnTo>
                    <a:lnTo>
                      <a:pt x="72" y="16"/>
                    </a:lnTo>
                    <a:lnTo>
                      <a:pt x="62" y="8"/>
                    </a:lnTo>
                    <a:lnTo>
                      <a:pt x="52" y="2"/>
                    </a:lnTo>
                    <a:lnTo>
                      <a:pt x="3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72" name="Freeform 108"/>
              <p:cNvSpPr>
                <a:spLocks/>
              </p:cNvSpPr>
              <p:nvPr userDrawn="1"/>
            </p:nvSpPr>
            <p:spPr bwMode="auto">
              <a:xfrm>
                <a:off x="5067300" y="3346450"/>
                <a:ext cx="123825" cy="123825"/>
              </a:xfrm>
              <a:custGeom>
                <a:avLst/>
                <a:gdLst/>
                <a:ahLst/>
                <a:cxnLst>
                  <a:cxn ang="0">
                    <a:pos x="38" y="0"/>
                  </a:cxn>
                  <a:cxn ang="0">
                    <a:pos x="38" y="0"/>
                  </a:cxn>
                  <a:cxn ang="0">
                    <a:pos x="28" y="0"/>
                  </a:cxn>
                  <a:cxn ang="0">
                    <a:pos x="28" y="0"/>
                  </a:cxn>
                  <a:cxn ang="0">
                    <a:pos x="20" y="4"/>
                  </a:cxn>
                  <a:cxn ang="0">
                    <a:pos x="14" y="8"/>
                  </a:cxn>
                  <a:cxn ang="0">
                    <a:pos x="8" y="12"/>
                  </a:cxn>
                  <a:cxn ang="0">
                    <a:pos x="4" y="18"/>
                  </a:cxn>
                  <a:cxn ang="0">
                    <a:pos x="2" y="26"/>
                  </a:cxn>
                  <a:cxn ang="0">
                    <a:pos x="0" y="34"/>
                  </a:cxn>
                  <a:cxn ang="0">
                    <a:pos x="0" y="42"/>
                  </a:cxn>
                  <a:cxn ang="0">
                    <a:pos x="0" y="48"/>
                  </a:cxn>
                  <a:cxn ang="0">
                    <a:pos x="0" y="48"/>
                  </a:cxn>
                  <a:cxn ang="0">
                    <a:pos x="6" y="60"/>
                  </a:cxn>
                  <a:cxn ang="0">
                    <a:pos x="14" y="70"/>
                  </a:cxn>
                  <a:cxn ang="0">
                    <a:pos x="26" y="76"/>
                  </a:cxn>
                  <a:cxn ang="0">
                    <a:pos x="38" y="78"/>
                  </a:cxn>
                  <a:cxn ang="0">
                    <a:pos x="38" y="78"/>
                  </a:cxn>
                  <a:cxn ang="0">
                    <a:pos x="48" y="76"/>
                  </a:cxn>
                  <a:cxn ang="0">
                    <a:pos x="48" y="76"/>
                  </a:cxn>
                  <a:cxn ang="0">
                    <a:pos x="56" y="74"/>
                  </a:cxn>
                  <a:cxn ang="0">
                    <a:pos x="62" y="70"/>
                  </a:cxn>
                  <a:cxn ang="0">
                    <a:pos x="68" y="64"/>
                  </a:cxn>
                  <a:cxn ang="0">
                    <a:pos x="72" y="58"/>
                  </a:cxn>
                  <a:cxn ang="0">
                    <a:pos x="76" y="52"/>
                  </a:cxn>
                  <a:cxn ang="0">
                    <a:pos x="78" y="44"/>
                  </a:cxn>
                  <a:cxn ang="0">
                    <a:pos x="78" y="36"/>
                  </a:cxn>
                  <a:cxn ang="0">
                    <a:pos x="76" y="28"/>
                  </a:cxn>
                  <a:cxn ang="0">
                    <a:pos x="76" y="28"/>
                  </a:cxn>
                  <a:cxn ang="0">
                    <a:pos x="72" y="16"/>
                  </a:cxn>
                  <a:cxn ang="0">
                    <a:pos x="62" y="8"/>
                  </a:cxn>
                  <a:cxn ang="0">
                    <a:pos x="52" y="2"/>
                  </a:cxn>
                  <a:cxn ang="0">
                    <a:pos x="38" y="0"/>
                  </a:cxn>
                </a:cxnLst>
                <a:rect l="0" t="0" r="r" b="b"/>
                <a:pathLst>
                  <a:path w="78" h="78">
                    <a:moveTo>
                      <a:pt x="38" y="0"/>
                    </a:moveTo>
                    <a:lnTo>
                      <a:pt x="38" y="0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0" y="4"/>
                    </a:lnTo>
                    <a:lnTo>
                      <a:pt x="14" y="8"/>
                    </a:lnTo>
                    <a:lnTo>
                      <a:pt x="8" y="12"/>
                    </a:lnTo>
                    <a:lnTo>
                      <a:pt x="4" y="18"/>
                    </a:lnTo>
                    <a:lnTo>
                      <a:pt x="2" y="26"/>
                    </a:lnTo>
                    <a:lnTo>
                      <a:pt x="0" y="34"/>
                    </a:lnTo>
                    <a:lnTo>
                      <a:pt x="0" y="42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6" y="60"/>
                    </a:lnTo>
                    <a:lnTo>
                      <a:pt x="14" y="70"/>
                    </a:lnTo>
                    <a:lnTo>
                      <a:pt x="26" y="76"/>
                    </a:lnTo>
                    <a:lnTo>
                      <a:pt x="38" y="78"/>
                    </a:lnTo>
                    <a:lnTo>
                      <a:pt x="38" y="78"/>
                    </a:lnTo>
                    <a:lnTo>
                      <a:pt x="48" y="76"/>
                    </a:lnTo>
                    <a:lnTo>
                      <a:pt x="48" y="76"/>
                    </a:lnTo>
                    <a:lnTo>
                      <a:pt x="56" y="74"/>
                    </a:lnTo>
                    <a:lnTo>
                      <a:pt x="62" y="70"/>
                    </a:lnTo>
                    <a:lnTo>
                      <a:pt x="68" y="64"/>
                    </a:lnTo>
                    <a:lnTo>
                      <a:pt x="72" y="58"/>
                    </a:lnTo>
                    <a:lnTo>
                      <a:pt x="76" y="52"/>
                    </a:lnTo>
                    <a:lnTo>
                      <a:pt x="78" y="44"/>
                    </a:lnTo>
                    <a:lnTo>
                      <a:pt x="78" y="36"/>
                    </a:lnTo>
                    <a:lnTo>
                      <a:pt x="76" y="28"/>
                    </a:lnTo>
                    <a:lnTo>
                      <a:pt x="76" y="28"/>
                    </a:lnTo>
                    <a:lnTo>
                      <a:pt x="72" y="16"/>
                    </a:lnTo>
                    <a:lnTo>
                      <a:pt x="62" y="8"/>
                    </a:lnTo>
                    <a:lnTo>
                      <a:pt x="52" y="2"/>
                    </a:lnTo>
                    <a:lnTo>
                      <a:pt x="3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73" name="Freeform 109"/>
              <p:cNvSpPr>
                <a:spLocks/>
              </p:cNvSpPr>
              <p:nvPr userDrawn="1"/>
            </p:nvSpPr>
            <p:spPr bwMode="auto">
              <a:xfrm>
                <a:off x="4857750" y="3502025"/>
                <a:ext cx="114300" cy="111125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6" y="0"/>
                  </a:cxn>
                  <a:cxn ang="0">
                    <a:pos x="26" y="0"/>
                  </a:cxn>
                  <a:cxn ang="0">
                    <a:pos x="20" y="4"/>
                  </a:cxn>
                  <a:cxn ang="0">
                    <a:pos x="14" y="6"/>
                  </a:cxn>
                  <a:cxn ang="0">
                    <a:pos x="10" y="12"/>
                  </a:cxn>
                  <a:cxn ang="0">
                    <a:pos x="6" y="18"/>
                  </a:cxn>
                  <a:cxn ang="0">
                    <a:pos x="2" y="24"/>
                  </a:cxn>
                  <a:cxn ang="0">
                    <a:pos x="0" y="30"/>
                  </a:cxn>
                  <a:cxn ang="0">
                    <a:pos x="0" y="38"/>
                  </a:cxn>
                  <a:cxn ang="0">
                    <a:pos x="2" y="44"/>
                  </a:cxn>
                  <a:cxn ang="0">
                    <a:pos x="2" y="44"/>
                  </a:cxn>
                  <a:cxn ang="0">
                    <a:pos x="6" y="54"/>
                  </a:cxn>
                  <a:cxn ang="0">
                    <a:pos x="14" y="64"/>
                  </a:cxn>
                  <a:cxn ang="0">
                    <a:pos x="24" y="68"/>
                  </a:cxn>
                  <a:cxn ang="0">
                    <a:pos x="36" y="70"/>
                  </a:cxn>
                  <a:cxn ang="0">
                    <a:pos x="36" y="70"/>
                  </a:cxn>
                  <a:cxn ang="0">
                    <a:pos x="46" y="70"/>
                  </a:cxn>
                  <a:cxn ang="0">
                    <a:pos x="46" y="70"/>
                  </a:cxn>
                  <a:cxn ang="0">
                    <a:pos x="52" y="66"/>
                  </a:cxn>
                  <a:cxn ang="0">
                    <a:pos x="58" y="62"/>
                  </a:cxn>
                  <a:cxn ang="0">
                    <a:pos x="62" y="58"/>
                  </a:cxn>
                  <a:cxn ang="0">
                    <a:pos x="66" y="52"/>
                  </a:cxn>
                  <a:cxn ang="0">
                    <a:pos x="70" y="46"/>
                  </a:cxn>
                  <a:cxn ang="0">
                    <a:pos x="72" y="40"/>
                  </a:cxn>
                  <a:cxn ang="0">
                    <a:pos x="72" y="32"/>
                  </a:cxn>
                  <a:cxn ang="0">
                    <a:pos x="70" y="26"/>
                  </a:cxn>
                  <a:cxn ang="0">
                    <a:pos x="70" y="26"/>
                  </a:cxn>
                  <a:cxn ang="0">
                    <a:pos x="66" y="14"/>
                  </a:cxn>
                  <a:cxn ang="0">
                    <a:pos x="58" y="6"/>
                  </a:cxn>
                  <a:cxn ang="0">
                    <a:pos x="48" y="2"/>
                  </a:cxn>
                  <a:cxn ang="0">
                    <a:pos x="36" y="0"/>
                  </a:cxn>
                </a:cxnLst>
                <a:rect l="0" t="0" r="r" b="b"/>
                <a:pathLst>
                  <a:path w="72" h="70">
                    <a:moveTo>
                      <a:pt x="36" y="0"/>
                    </a:moveTo>
                    <a:lnTo>
                      <a:pt x="3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0" y="4"/>
                    </a:lnTo>
                    <a:lnTo>
                      <a:pt x="14" y="6"/>
                    </a:lnTo>
                    <a:lnTo>
                      <a:pt x="10" y="12"/>
                    </a:lnTo>
                    <a:lnTo>
                      <a:pt x="6" y="18"/>
                    </a:lnTo>
                    <a:lnTo>
                      <a:pt x="2" y="24"/>
                    </a:lnTo>
                    <a:lnTo>
                      <a:pt x="0" y="30"/>
                    </a:lnTo>
                    <a:lnTo>
                      <a:pt x="0" y="38"/>
                    </a:lnTo>
                    <a:lnTo>
                      <a:pt x="2" y="44"/>
                    </a:lnTo>
                    <a:lnTo>
                      <a:pt x="2" y="44"/>
                    </a:lnTo>
                    <a:lnTo>
                      <a:pt x="6" y="54"/>
                    </a:lnTo>
                    <a:lnTo>
                      <a:pt x="14" y="64"/>
                    </a:lnTo>
                    <a:lnTo>
                      <a:pt x="24" y="68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46" y="70"/>
                    </a:lnTo>
                    <a:lnTo>
                      <a:pt x="46" y="70"/>
                    </a:lnTo>
                    <a:lnTo>
                      <a:pt x="52" y="66"/>
                    </a:lnTo>
                    <a:lnTo>
                      <a:pt x="58" y="62"/>
                    </a:lnTo>
                    <a:lnTo>
                      <a:pt x="62" y="58"/>
                    </a:lnTo>
                    <a:lnTo>
                      <a:pt x="66" y="52"/>
                    </a:lnTo>
                    <a:lnTo>
                      <a:pt x="70" y="46"/>
                    </a:lnTo>
                    <a:lnTo>
                      <a:pt x="72" y="40"/>
                    </a:lnTo>
                    <a:lnTo>
                      <a:pt x="72" y="32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66" y="14"/>
                    </a:lnTo>
                    <a:lnTo>
                      <a:pt x="58" y="6"/>
                    </a:lnTo>
                    <a:lnTo>
                      <a:pt x="48" y="2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74" name="Freeform 110"/>
              <p:cNvSpPr>
                <a:spLocks/>
              </p:cNvSpPr>
              <p:nvPr userDrawn="1"/>
            </p:nvSpPr>
            <p:spPr bwMode="auto">
              <a:xfrm>
                <a:off x="4857750" y="3502025"/>
                <a:ext cx="114300" cy="111125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6" y="0"/>
                  </a:cxn>
                  <a:cxn ang="0">
                    <a:pos x="26" y="0"/>
                  </a:cxn>
                  <a:cxn ang="0">
                    <a:pos x="20" y="4"/>
                  </a:cxn>
                  <a:cxn ang="0">
                    <a:pos x="14" y="6"/>
                  </a:cxn>
                  <a:cxn ang="0">
                    <a:pos x="10" y="12"/>
                  </a:cxn>
                  <a:cxn ang="0">
                    <a:pos x="6" y="18"/>
                  </a:cxn>
                  <a:cxn ang="0">
                    <a:pos x="2" y="24"/>
                  </a:cxn>
                  <a:cxn ang="0">
                    <a:pos x="0" y="30"/>
                  </a:cxn>
                  <a:cxn ang="0">
                    <a:pos x="0" y="38"/>
                  </a:cxn>
                  <a:cxn ang="0">
                    <a:pos x="2" y="44"/>
                  </a:cxn>
                  <a:cxn ang="0">
                    <a:pos x="2" y="44"/>
                  </a:cxn>
                  <a:cxn ang="0">
                    <a:pos x="6" y="54"/>
                  </a:cxn>
                  <a:cxn ang="0">
                    <a:pos x="14" y="64"/>
                  </a:cxn>
                  <a:cxn ang="0">
                    <a:pos x="24" y="68"/>
                  </a:cxn>
                  <a:cxn ang="0">
                    <a:pos x="36" y="70"/>
                  </a:cxn>
                  <a:cxn ang="0">
                    <a:pos x="36" y="70"/>
                  </a:cxn>
                  <a:cxn ang="0">
                    <a:pos x="46" y="70"/>
                  </a:cxn>
                  <a:cxn ang="0">
                    <a:pos x="46" y="70"/>
                  </a:cxn>
                  <a:cxn ang="0">
                    <a:pos x="52" y="66"/>
                  </a:cxn>
                  <a:cxn ang="0">
                    <a:pos x="58" y="62"/>
                  </a:cxn>
                  <a:cxn ang="0">
                    <a:pos x="62" y="58"/>
                  </a:cxn>
                  <a:cxn ang="0">
                    <a:pos x="66" y="52"/>
                  </a:cxn>
                  <a:cxn ang="0">
                    <a:pos x="70" y="46"/>
                  </a:cxn>
                  <a:cxn ang="0">
                    <a:pos x="72" y="40"/>
                  </a:cxn>
                  <a:cxn ang="0">
                    <a:pos x="72" y="32"/>
                  </a:cxn>
                  <a:cxn ang="0">
                    <a:pos x="70" y="26"/>
                  </a:cxn>
                  <a:cxn ang="0">
                    <a:pos x="70" y="26"/>
                  </a:cxn>
                  <a:cxn ang="0">
                    <a:pos x="66" y="14"/>
                  </a:cxn>
                  <a:cxn ang="0">
                    <a:pos x="58" y="6"/>
                  </a:cxn>
                  <a:cxn ang="0">
                    <a:pos x="48" y="2"/>
                  </a:cxn>
                  <a:cxn ang="0">
                    <a:pos x="36" y="0"/>
                  </a:cxn>
                </a:cxnLst>
                <a:rect l="0" t="0" r="r" b="b"/>
                <a:pathLst>
                  <a:path w="72" h="70">
                    <a:moveTo>
                      <a:pt x="36" y="0"/>
                    </a:moveTo>
                    <a:lnTo>
                      <a:pt x="3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0" y="4"/>
                    </a:lnTo>
                    <a:lnTo>
                      <a:pt x="14" y="6"/>
                    </a:lnTo>
                    <a:lnTo>
                      <a:pt x="10" y="12"/>
                    </a:lnTo>
                    <a:lnTo>
                      <a:pt x="6" y="18"/>
                    </a:lnTo>
                    <a:lnTo>
                      <a:pt x="2" y="24"/>
                    </a:lnTo>
                    <a:lnTo>
                      <a:pt x="0" y="30"/>
                    </a:lnTo>
                    <a:lnTo>
                      <a:pt x="0" y="38"/>
                    </a:lnTo>
                    <a:lnTo>
                      <a:pt x="2" y="44"/>
                    </a:lnTo>
                    <a:lnTo>
                      <a:pt x="2" y="44"/>
                    </a:lnTo>
                    <a:lnTo>
                      <a:pt x="6" y="54"/>
                    </a:lnTo>
                    <a:lnTo>
                      <a:pt x="14" y="64"/>
                    </a:lnTo>
                    <a:lnTo>
                      <a:pt x="24" y="68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46" y="70"/>
                    </a:lnTo>
                    <a:lnTo>
                      <a:pt x="46" y="70"/>
                    </a:lnTo>
                    <a:lnTo>
                      <a:pt x="52" y="66"/>
                    </a:lnTo>
                    <a:lnTo>
                      <a:pt x="58" y="62"/>
                    </a:lnTo>
                    <a:lnTo>
                      <a:pt x="62" y="58"/>
                    </a:lnTo>
                    <a:lnTo>
                      <a:pt x="66" y="52"/>
                    </a:lnTo>
                    <a:lnTo>
                      <a:pt x="70" y="46"/>
                    </a:lnTo>
                    <a:lnTo>
                      <a:pt x="72" y="40"/>
                    </a:lnTo>
                    <a:lnTo>
                      <a:pt x="72" y="32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66" y="14"/>
                    </a:lnTo>
                    <a:lnTo>
                      <a:pt x="58" y="6"/>
                    </a:lnTo>
                    <a:lnTo>
                      <a:pt x="48" y="2"/>
                    </a:lnTo>
                    <a:lnTo>
                      <a:pt x="3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75" name="Freeform 111"/>
              <p:cNvSpPr>
                <a:spLocks/>
              </p:cNvSpPr>
              <p:nvPr userDrawn="1"/>
            </p:nvSpPr>
            <p:spPr bwMode="auto">
              <a:xfrm>
                <a:off x="4679950" y="3692525"/>
                <a:ext cx="101600" cy="101600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0"/>
                  </a:cxn>
                  <a:cxn ang="0">
                    <a:pos x="24" y="0"/>
                  </a:cxn>
                  <a:cxn ang="0">
                    <a:pos x="24" y="0"/>
                  </a:cxn>
                  <a:cxn ang="0">
                    <a:pos x="18" y="2"/>
                  </a:cxn>
                  <a:cxn ang="0">
                    <a:pos x="12" y="6"/>
                  </a:cxn>
                  <a:cxn ang="0">
                    <a:pos x="4" y="16"/>
                  </a:cxn>
                  <a:cxn ang="0">
                    <a:pos x="0" y="26"/>
                  </a:cxn>
                  <a:cxn ang="0">
                    <a:pos x="0" y="34"/>
                  </a:cxn>
                  <a:cxn ang="0">
                    <a:pos x="0" y="40"/>
                  </a:cxn>
                  <a:cxn ang="0">
                    <a:pos x="0" y="40"/>
                  </a:cxn>
                  <a:cxn ang="0">
                    <a:pos x="6" y="50"/>
                  </a:cxn>
                  <a:cxn ang="0">
                    <a:pos x="12" y="56"/>
                  </a:cxn>
                  <a:cxn ang="0">
                    <a:pos x="22" y="62"/>
                  </a:cxn>
                  <a:cxn ang="0">
                    <a:pos x="32" y="64"/>
                  </a:cxn>
                  <a:cxn ang="0">
                    <a:pos x="32" y="64"/>
                  </a:cxn>
                  <a:cxn ang="0">
                    <a:pos x="40" y="62"/>
                  </a:cxn>
                  <a:cxn ang="0">
                    <a:pos x="40" y="62"/>
                  </a:cxn>
                  <a:cxn ang="0">
                    <a:pos x="46" y="60"/>
                  </a:cxn>
                  <a:cxn ang="0">
                    <a:pos x="52" y="56"/>
                  </a:cxn>
                  <a:cxn ang="0">
                    <a:pos x="60" y="48"/>
                  </a:cxn>
                  <a:cxn ang="0">
                    <a:pos x="64" y="36"/>
                  </a:cxn>
                  <a:cxn ang="0">
                    <a:pos x="64" y="30"/>
                  </a:cxn>
                  <a:cxn ang="0">
                    <a:pos x="62" y="22"/>
                  </a:cxn>
                  <a:cxn ang="0">
                    <a:pos x="62" y="22"/>
                  </a:cxn>
                  <a:cxn ang="0">
                    <a:pos x="58" y="14"/>
                  </a:cxn>
                  <a:cxn ang="0">
                    <a:pos x="52" y="6"/>
                  </a:cxn>
                  <a:cxn ang="0">
                    <a:pos x="42" y="0"/>
                  </a:cxn>
                  <a:cxn ang="0">
                    <a:pos x="32" y="0"/>
                  </a:cxn>
                </a:cxnLst>
                <a:rect l="0" t="0" r="r" b="b"/>
                <a:pathLst>
                  <a:path w="64" h="64">
                    <a:moveTo>
                      <a:pt x="32" y="0"/>
                    </a:moveTo>
                    <a:lnTo>
                      <a:pt x="32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8" y="2"/>
                    </a:lnTo>
                    <a:lnTo>
                      <a:pt x="12" y="6"/>
                    </a:lnTo>
                    <a:lnTo>
                      <a:pt x="4" y="16"/>
                    </a:lnTo>
                    <a:lnTo>
                      <a:pt x="0" y="26"/>
                    </a:lnTo>
                    <a:lnTo>
                      <a:pt x="0" y="34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6" y="50"/>
                    </a:lnTo>
                    <a:lnTo>
                      <a:pt x="12" y="56"/>
                    </a:lnTo>
                    <a:lnTo>
                      <a:pt x="22" y="62"/>
                    </a:lnTo>
                    <a:lnTo>
                      <a:pt x="32" y="64"/>
                    </a:lnTo>
                    <a:lnTo>
                      <a:pt x="32" y="64"/>
                    </a:lnTo>
                    <a:lnTo>
                      <a:pt x="40" y="62"/>
                    </a:lnTo>
                    <a:lnTo>
                      <a:pt x="40" y="62"/>
                    </a:lnTo>
                    <a:lnTo>
                      <a:pt x="46" y="60"/>
                    </a:lnTo>
                    <a:lnTo>
                      <a:pt x="52" y="56"/>
                    </a:lnTo>
                    <a:lnTo>
                      <a:pt x="60" y="48"/>
                    </a:lnTo>
                    <a:lnTo>
                      <a:pt x="64" y="36"/>
                    </a:lnTo>
                    <a:lnTo>
                      <a:pt x="64" y="30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58" y="14"/>
                    </a:lnTo>
                    <a:lnTo>
                      <a:pt x="52" y="6"/>
                    </a:lnTo>
                    <a:lnTo>
                      <a:pt x="42" y="0"/>
                    </a:lnTo>
                    <a:lnTo>
                      <a:pt x="3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76" name="Freeform 112"/>
              <p:cNvSpPr>
                <a:spLocks/>
              </p:cNvSpPr>
              <p:nvPr userDrawn="1"/>
            </p:nvSpPr>
            <p:spPr bwMode="auto">
              <a:xfrm>
                <a:off x="4679950" y="3692525"/>
                <a:ext cx="101600" cy="101600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0"/>
                  </a:cxn>
                  <a:cxn ang="0">
                    <a:pos x="24" y="0"/>
                  </a:cxn>
                  <a:cxn ang="0">
                    <a:pos x="24" y="0"/>
                  </a:cxn>
                  <a:cxn ang="0">
                    <a:pos x="18" y="2"/>
                  </a:cxn>
                  <a:cxn ang="0">
                    <a:pos x="12" y="6"/>
                  </a:cxn>
                  <a:cxn ang="0">
                    <a:pos x="4" y="16"/>
                  </a:cxn>
                  <a:cxn ang="0">
                    <a:pos x="0" y="26"/>
                  </a:cxn>
                  <a:cxn ang="0">
                    <a:pos x="0" y="34"/>
                  </a:cxn>
                  <a:cxn ang="0">
                    <a:pos x="0" y="40"/>
                  </a:cxn>
                  <a:cxn ang="0">
                    <a:pos x="0" y="40"/>
                  </a:cxn>
                  <a:cxn ang="0">
                    <a:pos x="6" y="50"/>
                  </a:cxn>
                  <a:cxn ang="0">
                    <a:pos x="12" y="56"/>
                  </a:cxn>
                  <a:cxn ang="0">
                    <a:pos x="22" y="62"/>
                  </a:cxn>
                  <a:cxn ang="0">
                    <a:pos x="32" y="64"/>
                  </a:cxn>
                  <a:cxn ang="0">
                    <a:pos x="32" y="64"/>
                  </a:cxn>
                  <a:cxn ang="0">
                    <a:pos x="40" y="62"/>
                  </a:cxn>
                  <a:cxn ang="0">
                    <a:pos x="40" y="62"/>
                  </a:cxn>
                  <a:cxn ang="0">
                    <a:pos x="46" y="60"/>
                  </a:cxn>
                  <a:cxn ang="0">
                    <a:pos x="52" y="56"/>
                  </a:cxn>
                  <a:cxn ang="0">
                    <a:pos x="60" y="48"/>
                  </a:cxn>
                  <a:cxn ang="0">
                    <a:pos x="64" y="36"/>
                  </a:cxn>
                  <a:cxn ang="0">
                    <a:pos x="64" y="30"/>
                  </a:cxn>
                  <a:cxn ang="0">
                    <a:pos x="62" y="22"/>
                  </a:cxn>
                  <a:cxn ang="0">
                    <a:pos x="62" y="22"/>
                  </a:cxn>
                  <a:cxn ang="0">
                    <a:pos x="58" y="14"/>
                  </a:cxn>
                  <a:cxn ang="0">
                    <a:pos x="52" y="6"/>
                  </a:cxn>
                  <a:cxn ang="0">
                    <a:pos x="42" y="0"/>
                  </a:cxn>
                  <a:cxn ang="0">
                    <a:pos x="32" y="0"/>
                  </a:cxn>
                </a:cxnLst>
                <a:rect l="0" t="0" r="r" b="b"/>
                <a:pathLst>
                  <a:path w="64" h="64">
                    <a:moveTo>
                      <a:pt x="32" y="0"/>
                    </a:moveTo>
                    <a:lnTo>
                      <a:pt x="32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8" y="2"/>
                    </a:lnTo>
                    <a:lnTo>
                      <a:pt x="12" y="6"/>
                    </a:lnTo>
                    <a:lnTo>
                      <a:pt x="4" y="16"/>
                    </a:lnTo>
                    <a:lnTo>
                      <a:pt x="0" y="26"/>
                    </a:lnTo>
                    <a:lnTo>
                      <a:pt x="0" y="34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6" y="50"/>
                    </a:lnTo>
                    <a:lnTo>
                      <a:pt x="12" y="56"/>
                    </a:lnTo>
                    <a:lnTo>
                      <a:pt x="22" y="62"/>
                    </a:lnTo>
                    <a:lnTo>
                      <a:pt x="32" y="64"/>
                    </a:lnTo>
                    <a:lnTo>
                      <a:pt x="32" y="64"/>
                    </a:lnTo>
                    <a:lnTo>
                      <a:pt x="40" y="62"/>
                    </a:lnTo>
                    <a:lnTo>
                      <a:pt x="40" y="62"/>
                    </a:lnTo>
                    <a:lnTo>
                      <a:pt x="46" y="60"/>
                    </a:lnTo>
                    <a:lnTo>
                      <a:pt x="52" y="56"/>
                    </a:lnTo>
                    <a:lnTo>
                      <a:pt x="60" y="48"/>
                    </a:lnTo>
                    <a:lnTo>
                      <a:pt x="64" y="36"/>
                    </a:lnTo>
                    <a:lnTo>
                      <a:pt x="64" y="30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58" y="14"/>
                    </a:lnTo>
                    <a:lnTo>
                      <a:pt x="52" y="6"/>
                    </a:lnTo>
                    <a:lnTo>
                      <a:pt x="42" y="0"/>
                    </a:lnTo>
                    <a:lnTo>
                      <a:pt x="3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77" name="Freeform 113"/>
              <p:cNvSpPr>
                <a:spLocks/>
              </p:cNvSpPr>
              <p:nvPr userDrawn="1"/>
            </p:nvSpPr>
            <p:spPr bwMode="auto">
              <a:xfrm>
                <a:off x="4537075" y="3911600"/>
                <a:ext cx="88900" cy="88900"/>
              </a:xfrm>
              <a:custGeom>
                <a:avLst/>
                <a:gdLst/>
                <a:ahLst/>
                <a:cxnLst>
                  <a:cxn ang="0">
                    <a:pos x="28" y="0"/>
                  </a:cxn>
                  <a:cxn ang="0">
                    <a:pos x="28" y="0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0" y="6"/>
                  </a:cxn>
                  <a:cxn ang="0">
                    <a:pos x="2" y="14"/>
                  </a:cxn>
                  <a:cxn ang="0">
                    <a:pos x="0" y="24"/>
                  </a:cxn>
                  <a:cxn ang="0">
                    <a:pos x="0" y="36"/>
                  </a:cxn>
                  <a:cxn ang="0">
                    <a:pos x="0" y="36"/>
                  </a:cxn>
                  <a:cxn ang="0">
                    <a:pos x="4" y="44"/>
                  </a:cxn>
                  <a:cxn ang="0">
                    <a:pos x="10" y="50"/>
                  </a:cxn>
                  <a:cxn ang="0">
                    <a:pos x="18" y="54"/>
                  </a:cxn>
                  <a:cxn ang="0">
                    <a:pos x="28" y="56"/>
                  </a:cxn>
                  <a:cxn ang="0">
                    <a:pos x="28" y="56"/>
                  </a:cxn>
                  <a:cxn ang="0">
                    <a:pos x="34" y="56"/>
                  </a:cxn>
                  <a:cxn ang="0">
                    <a:pos x="34" y="56"/>
                  </a:cxn>
                  <a:cxn ang="0">
                    <a:pos x="46" y="50"/>
                  </a:cxn>
                  <a:cxn ang="0">
                    <a:pos x="52" y="42"/>
                  </a:cxn>
                  <a:cxn ang="0">
                    <a:pos x="56" y="32"/>
                  </a:cxn>
                  <a:cxn ang="0">
                    <a:pos x="56" y="20"/>
                  </a:cxn>
                  <a:cxn ang="0">
                    <a:pos x="56" y="20"/>
                  </a:cxn>
                  <a:cxn ang="0">
                    <a:pos x="52" y="12"/>
                  </a:cxn>
                  <a:cxn ang="0">
                    <a:pos x="44" y="4"/>
                  </a:cxn>
                  <a:cxn ang="0">
                    <a:pos x="36" y="0"/>
                  </a:cxn>
                  <a:cxn ang="0">
                    <a:pos x="28" y="0"/>
                  </a:cxn>
                </a:cxnLst>
                <a:rect l="0" t="0" r="r" b="b"/>
                <a:pathLst>
                  <a:path w="56" h="56">
                    <a:moveTo>
                      <a:pt x="28" y="0"/>
                    </a:moveTo>
                    <a:lnTo>
                      <a:pt x="28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0" y="6"/>
                    </a:lnTo>
                    <a:lnTo>
                      <a:pt x="2" y="14"/>
                    </a:lnTo>
                    <a:lnTo>
                      <a:pt x="0" y="24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4" y="44"/>
                    </a:lnTo>
                    <a:lnTo>
                      <a:pt x="10" y="50"/>
                    </a:lnTo>
                    <a:lnTo>
                      <a:pt x="18" y="54"/>
                    </a:lnTo>
                    <a:lnTo>
                      <a:pt x="28" y="56"/>
                    </a:lnTo>
                    <a:lnTo>
                      <a:pt x="28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46" y="50"/>
                    </a:lnTo>
                    <a:lnTo>
                      <a:pt x="52" y="42"/>
                    </a:lnTo>
                    <a:lnTo>
                      <a:pt x="56" y="32"/>
                    </a:lnTo>
                    <a:lnTo>
                      <a:pt x="56" y="20"/>
                    </a:lnTo>
                    <a:lnTo>
                      <a:pt x="56" y="20"/>
                    </a:lnTo>
                    <a:lnTo>
                      <a:pt x="52" y="12"/>
                    </a:lnTo>
                    <a:lnTo>
                      <a:pt x="44" y="4"/>
                    </a:lnTo>
                    <a:lnTo>
                      <a:pt x="36" y="0"/>
                    </a:lnTo>
                    <a:lnTo>
                      <a:pt x="2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78" name="Freeform 114"/>
              <p:cNvSpPr>
                <a:spLocks/>
              </p:cNvSpPr>
              <p:nvPr userDrawn="1"/>
            </p:nvSpPr>
            <p:spPr bwMode="auto">
              <a:xfrm>
                <a:off x="4537075" y="3911600"/>
                <a:ext cx="88900" cy="88900"/>
              </a:xfrm>
              <a:custGeom>
                <a:avLst/>
                <a:gdLst/>
                <a:ahLst/>
                <a:cxnLst>
                  <a:cxn ang="0">
                    <a:pos x="28" y="0"/>
                  </a:cxn>
                  <a:cxn ang="0">
                    <a:pos x="28" y="0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0" y="6"/>
                  </a:cxn>
                  <a:cxn ang="0">
                    <a:pos x="2" y="14"/>
                  </a:cxn>
                  <a:cxn ang="0">
                    <a:pos x="0" y="24"/>
                  </a:cxn>
                  <a:cxn ang="0">
                    <a:pos x="0" y="36"/>
                  </a:cxn>
                  <a:cxn ang="0">
                    <a:pos x="0" y="36"/>
                  </a:cxn>
                  <a:cxn ang="0">
                    <a:pos x="4" y="44"/>
                  </a:cxn>
                  <a:cxn ang="0">
                    <a:pos x="10" y="50"/>
                  </a:cxn>
                  <a:cxn ang="0">
                    <a:pos x="18" y="54"/>
                  </a:cxn>
                  <a:cxn ang="0">
                    <a:pos x="28" y="56"/>
                  </a:cxn>
                  <a:cxn ang="0">
                    <a:pos x="28" y="56"/>
                  </a:cxn>
                  <a:cxn ang="0">
                    <a:pos x="34" y="56"/>
                  </a:cxn>
                  <a:cxn ang="0">
                    <a:pos x="34" y="56"/>
                  </a:cxn>
                  <a:cxn ang="0">
                    <a:pos x="46" y="50"/>
                  </a:cxn>
                  <a:cxn ang="0">
                    <a:pos x="52" y="42"/>
                  </a:cxn>
                  <a:cxn ang="0">
                    <a:pos x="56" y="32"/>
                  </a:cxn>
                  <a:cxn ang="0">
                    <a:pos x="56" y="20"/>
                  </a:cxn>
                  <a:cxn ang="0">
                    <a:pos x="56" y="20"/>
                  </a:cxn>
                  <a:cxn ang="0">
                    <a:pos x="52" y="12"/>
                  </a:cxn>
                  <a:cxn ang="0">
                    <a:pos x="44" y="4"/>
                  </a:cxn>
                  <a:cxn ang="0">
                    <a:pos x="36" y="0"/>
                  </a:cxn>
                  <a:cxn ang="0">
                    <a:pos x="28" y="0"/>
                  </a:cxn>
                </a:cxnLst>
                <a:rect l="0" t="0" r="r" b="b"/>
                <a:pathLst>
                  <a:path w="56" h="56">
                    <a:moveTo>
                      <a:pt x="28" y="0"/>
                    </a:moveTo>
                    <a:lnTo>
                      <a:pt x="28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0" y="6"/>
                    </a:lnTo>
                    <a:lnTo>
                      <a:pt x="2" y="14"/>
                    </a:lnTo>
                    <a:lnTo>
                      <a:pt x="0" y="24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4" y="44"/>
                    </a:lnTo>
                    <a:lnTo>
                      <a:pt x="10" y="50"/>
                    </a:lnTo>
                    <a:lnTo>
                      <a:pt x="18" y="54"/>
                    </a:lnTo>
                    <a:lnTo>
                      <a:pt x="28" y="56"/>
                    </a:lnTo>
                    <a:lnTo>
                      <a:pt x="28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46" y="50"/>
                    </a:lnTo>
                    <a:lnTo>
                      <a:pt x="52" y="42"/>
                    </a:lnTo>
                    <a:lnTo>
                      <a:pt x="56" y="32"/>
                    </a:lnTo>
                    <a:lnTo>
                      <a:pt x="56" y="20"/>
                    </a:lnTo>
                    <a:lnTo>
                      <a:pt x="56" y="20"/>
                    </a:lnTo>
                    <a:lnTo>
                      <a:pt x="52" y="12"/>
                    </a:lnTo>
                    <a:lnTo>
                      <a:pt x="44" y="4"/>
                    </a:lnTo>
                    <a:lnTo>
                      <a:pt x="36" y="0"/>
                    </a:lnTo>
                    <a:lnTo>
                      <a:pt x="2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79" name="Freeform 115"/>
              <p:cNvSpPr>
                <a:spLocks/>
              </p:cNvSpPr>
              <p:nvPr userDrawn="1"/>
            </p:nvSpPr>
            <p:spPr bwMode="auto">
              <a:xfrm>
                <a:off x="4429125" y="4149725"/>
                <a:ext cx="82550" cy="8255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20" y="2"/>
                  </a:cxn>
                  <a:cxn ang="0">
                    <a:pos x="20" y="2"/>
                  </a:cxn>
                  <a:cxn ang="0">
                    <a:pos x="10" y="6"/>
                  </a:cxn>
                  <a:cxn ang="0">
                    <a:pos x="4" y="14"/>
                  </a:cxn>
                  <a:cxn ang="0">
                    <a:pos x="0" y="24"/>
                  </a:cxn>
                  <a:cxn ang="0">
                    <a:pos x="2" y="34"/>
                  </a:cxn>
                  <a:cxn ang="0">
                    <a:pos x="2" y="34"/>
                  </a:cxn>
                  <a:cxn ang="0">
                    <a:pos x="4" y="42"/>
                  </a:cxn>
                  <a:cxn ang="0">
                    <a:pos x="10" y="48"/>
                  </a:cxn>
                  <a:cxn ang="0">
                    <a:pos x="18" y="52"/>
                  </a:cxn>
                  <a:cxn ang="0">
                    <a:pos x="26" y="52"/>
                  </a:cxn>
                  <a:cxn ang="0">
                    <a:pos x="26" y="52"/>
                  </a:cxn>
                  <a:cxn ang="0">
                    <a:pos x="32" y="52"/>
                  </a:cxn>
                  <a:cxn ang="0">
                    <a:pos x="32" y="52"/>
                  </a:cxn>
                  <a:cxn ang="0">
                    <a:pos x="42" y="48"/>
                  </a:cxn>
                  <a:cxn ang="0">
                    <a:pos x="48" y="40"/>
                  </a:cxn>
                  <a:cxn ang="0">
                    <a:pos x="52" y="30"/>
                  </a:cxn>
                  <a:cxn ang="0">
                    <a:pos x="52" y="20"/>
                  </a:cxn>
                  <a:cxn ang="0">
                    <a:pos x="52" y="20"/>
                  </a:cxn>
                  <a:cxn ang="0">
                    <a:pos x="48" y="12"/>
                  </a:cxn>
                  <a:cxn ang="0">
                    <a:pos x="42" y="6"/>
                  </a:cxn>
                  <a:cxn ang="0">
                    <a:pos x="34" y="2"/>
                  </a:cxn>
                  <a:cxn ang="0">
                    <a:pos x="26" y="0"/>
                  </a:cxn>
                </a:cxnLst>
                <a:rect l="0" t="0" r="r" b="b"/>
                <a:pathLst>
                  <a:path w="52" h="52">
                    <a:moveTo>
                      <a:pt x="26" y="0"/>
                    </a:moveTo>
                    <a:lnTo>
                      <a:pt x="26" y="0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0" y="6"/>
                    </a:lnTo>
                    <a:lnTo>
                      <a:pt x="4" y="14"/>
                    </a:lnTo>
                    <a:lnTo>
                      <a:pt x="0" y="2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4" y="42"/>
                    </a:lnTo>
                    <a:lnTo>
                      <a:pt x="10" y="48"/>
                    </a:lnTo>
                    <a:lnTo>
                      <a:pt x="18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32" y="52"/>
                    </a:lnTo>
                    <a:lnTo>
                      <a:pt x="32" y="52"/>
                    </a:lnTo>
                    <a:lnTo>
                      <a:pt x="42" y="48"/>
                    </a:lnTo>
                    <a:lnTo>
                      <a:pt x="48" y="40"/>
                    </a:lnTo>
                    <a:lnTo>
                      <a:pt x="52" y="30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48" y="12"/>
                    </a:lnTo>
                    <a:lnTo>
                      <a:pt x="42" y="6"/>
                    </a:lnTo>
                    <a:lnTo>
                      <a:pt x="34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80" name="Freeform 116"/>
              <p:cNvSpPr>
                <a:spLocks/>
              </p:cNvSpPr>
              <p:nvPr userDrawn="1"/>
            </p:nvSpPr>
            <p:spPr bwMode="auto">
              <a:xfrm>
                <a:off x="4429125" y="4149725"/>
                <a:ext cx="82550" cy="8255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20" y="2"/>
                  </a:cxn>
                  <a:cxn ang="0">
                    <a:pos x="20" y="2"/>
                  </a:cxn>
                  <a:cxn ang="0">
                    <a:pos x="10" y="6"/>
                  </a:cxn>
                  <a:cxn ang="0">
                    <a:pos x="4" y="14"/>
                  </a:cxn>
                  <a:cxn ang="0">
                    <a:pos x="0" y="24"/>
                  </a:cxn>
                  <a:cxn ang="0">
                    <a:pos x="2" y="34"/>
                  </a:cxn>
                  <a:cxn ang="0">
                    <a:pos x="2" y="34"/>
                  </a:cxn>
                  <a:cxn ang="0">
                    <a:pos x="4" y="42"/>
                  </a:cxn>
                  <a:cxn ang="0">
                    <a:pos x="10" y="48"/>
                  </a:cxn>
                  <a:cxn ang="0">
                    <a:pos x="18" y="52"/>
                  </a:cxn>
                  <a:cxn ang="0">
                    <a:pos x="26" y="52"/>
                  </a:cxn>
                  <a:cxn ang="0">
                    <a:pos x="26" y="52"/>
                  </a:cxn>
                  <a:cxn ang="0">
                    <a:pos x="32" y="52"/>
                  </a:cxn>
                  <a:cxn ang="0">
                    <a:pos x="32" y="52"/>
                  </a:cxn>
                  <a:cxn ang="0">
                    <a:pos x="42" y="48"/>
                  </a:cxn>
                  <a:cxn ang="0">
                    <a:pos x="48" y="40"/>
                  </a:cxn>
                  <a:cxn ang="0">
                    <a:pos x="52" y="30"/>
                  </a:cxn>
                  <a:cxn ang="0">
                    <a:pos x="52" y="20"/>
                  </a:cxn>
                  <a:cxn ang="0">
                    <a:pos x="52" y="20"/>
                  </a:cxn>
                  <a:cxn ang="0">
                    <a:pos x="48" y="12"/>
                  </a:cxn>
                  <a:cxn ang="0">
                    <a:pos x="42" y="6"/>
                  </a:cxn>
                  <a:cxn ang="0">
                    <a:pos x="34" y="2"/>
                  </a:cxn>
                  <a:cxn ang="0">
                    <a:pos x="26" y="0"/>
                  </a:cxn>
                </a:cxnLst>
                <a:rect l="0" t="0" r="r" b="b"/>
                <a:pathLst>
                  <a:path w="52" h="52">
                    <a:moveTo>
                      <a:pt x="26" y="0"/>
                    </a:moveTo>
                    <a:lnTo>
                      <a:pt x="26" y="0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0" y="6"/>
                    </a:lnTo>
                    <a:lnTo>
                      <a:pt x="4" y="14"/>
                    </a:lnTo>
                    <a:lnTo>
                      <a:pt x="0" y="2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4" y="42"/>
                    </a:lnTo>
                    <a:lnTo>
                      <a:pt x="10" y="48"/>
                    </a:lnTo>
                    <a:lnTo>
                      <a:pt x="18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32" y="52"/>
                    </a:lnTo>
                    <a:lnTo>
                      <a:pt x="32" y="52"/>
                    </a:lnTo>
                    <a:lnTo>
                      <a:pt x="42" y="48"/>
                    </a:lnTo>
                    <a:lnTo>
                      <a:pt x="48" y="40"/>
                    </a:lnTo>
                    <a:lnTo>
                      <a:pt x="52" y="30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48" y="12"/>
                    </a:lnTo>
                    <a:lnTo>
                      <a:pt x="42" y="6"/>
                    </a:lnTo>
                    <a:lnTo>
                      <a:pt x="34" y="2"/>
                    </a:lnTo>
                    <a:lnTo>
                      <a:pt x="2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81" name="Freeform 117"/>
              <p:cNvSpPr>
                <a:spLocks/>
              </p:cNvSpPr>
              <p:nvPr userDrawn="1"/>
            </p:nvSpPr>
            <p:spPr bwMode="auto">
              <a:xfrm>
                <a:off x="4365625" y="4406900"/>
                <a:ext cx="73025" cy="73025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10" y="6"/>
                  </a:cxn>
                  <a:cxn ang="0">
                    <a:pos x="4" y="12"/>
                  </a:cxn>
                  <a:cxn ang="0">
                    <a:pos x="0" y="20"/>
                  </a:cxn>
                  <a:cxn ang="0">
                    <a:pos x="2" y="30"/>
                  </a:cxn>
                  <a:cxn ang="0">
                    <a:pos x="2" y="30"/>
                  </a:cxn>
                  <a:cxn ang="0">
                    <a:pos x="4" y="36"/>
                  </a:cxn>
                  <a:cxn ang="0">
                    <a:pos x="10" y="42"/>
                  </a:cxn>
                  <a:cxn ang="0">
                    <a:pos x="16" y="46"/>
                  </a:cxn>
                  <a:cxn ang="0">
                    <a:pos x="24" y="46"/>
                  </a:cxn>
                  <a:cxn ang="0">
                    <a:pos x="24" y="46"/>
                  </a:cxn>
                  <a:cxn ang="0">
                    <a:pos x="30" y="46"/>
                  </a:cxn>
                  <a:cxn ang="0">
                    <a:pos x="30" y="46"/>
                  </a:cxn>
                  <a:cxn ang="0">
                    <a:pos x="38" y="42"/>
                  </a:cxn>
                  <a:cxn ang="0">
                    <a:pos x="44" y="36"/>
                  </a:cxn>
                  <a:cxn ang="0">
                    <a:pos x="46" y="26"/>
                  </a:cxn>
                  <a:cxn ang="0">
                    <a:pos x="46" y="18"/>
                  </a:cxn>
                  <a:cxn ang="0">
                    <a:pos x="46" y="18"/>
                  </a:cxn>
                  <a:cxn ang="0">
                    <a:pos x="42" y="10"/>
                  </a:cxn>
                  <a:cxn ang="0">
                    <a:pos x="38" y="4"/>
                  </a:cxn>
                  <a:cxn ang="0">
                    <a:pos x="30" y="2"/>
                  </a:cxn>
                  <a:cxn ang="0">
                    <a:pos x="24" y="0"/>
                  </a:cxn>
                </a:cxnLst>
                <a:rect l="0" t="0" r="r" b="b"/>
                <a:pathLst>
                  <a:path w="46" h="46">
                    <a:moveTo>
                      <a:pt x="24" y="0"/>
                    </a:moveTo>
                    <a:lnTo>
                      <a:pt x="2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0" y="6"/>
                    </a:lnTo>
                    <a:lnTo>
                      <a:pt x="4" y="12"/>
                    </a:lnTo>
                    <a:lnTo>
                      <a:pt x="0" y="2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4" y="36"/>
                    </a:lnTo>
                    <a:lnTo>
                      <a:pt x="10" y="42"/>
                    </a:lnTo>
                    <a:lnTo>
                      <a:pt x="16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8" y="42"/>
                    </a:lnTo>
                    <a:lnTo>
                      <a:pt x="44" y="36"/>
                    </a:lnTo>
                    <a:lnTo>
                      <a:pt x="46" y="26"/>
                    </a:lnTo>
                    <a:lnTo>
                      <a:pt x="46" y="18"/>
                    </a:lnTo>
                    <a:lnTo>
                      <a:pt x="46" y="18"/>
                    </a:lnTo>
                    <a:lnTo>
                      <a:pt x="42" y="10"/>
                    </a:lnTo>
                    <a:lnTo>
                      <a:pt x="38" y="4"/>
                    </a:lnTo>
                    <a:lnTo>
                      <a:pt x="30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82" name="Freeform 118"/>
              <p:cNvSpPr>
                <a:spLocks/>
              </p:cNvSpPr>
              <p:nvPr userDrawn="1"/>
            </p:nvSpPr>
            <p:spPr bwMode="auto">
              <a:xfrm>
                <a:off x="4365625" y="4406900"/>
                <a:ext cx="73025" cy="73025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10" y="6"/>
                  </a:cxn>
                  <a:cxn ang="0">
                    <a:pos x="4" y="12"/>
                  </a:cxn>
                  <a:cxn ang="0">
                    <a:pos x="0" y="20"/>
                  </a:cxn>
                  <a:cxn ang="0">
                    <a:pos x="2" y="30"/>
                  </a:cxn>
                  <a:cxn ang="0">
                    <a:pos x="2" y="30"/>
                  </a:cxn>
                  <a:cxn ang="0">
                    <a:pos x="4" y="36"/>
                  </a:cxn>
                  <a:cxn ang="0">
                    <a:pos x="10" y="42"/>
                  </a:cxn>
                  <a:cxn ang="0">
                    <a:pos x="16" y="46"/>
                  </a:cxn>
                  <a:cxn ang="0">
                    <a:pos x="24" y="46"/>
                  </a:cxn>
                  <a:cxn ang="0">
                    <a:pos x="24" y="46"/>
                  </a:cxn>
                  <a:cxn ang="0">
                    <a:pos x="30" y="46"/>
                  </a:cxn>
                  <a:cxn ang="0">
                    <a:pos x="30" y="46"/>
                  </a:cxn>
                  <a:cxn ang="0">
                    <a:pos x="38" y="42"/>
                  </a:cxn>
                  <a:cxn ang="0">
                    <a:pos x="44" y="36"/>
                  </a:cxn>
                  <a:cxn ang="0">
                    <a:pos x="46" y="26"/>
                  </a:cxn>
                  <a:cxn ang="0">
                    <a:pos x="46" y="18"/>
                  </a:cxn>
                  <a:cxn ang="0">
                    <a:pos x="46" y="18"/>
                  </a:cxn>
                  <a:cxn ang="0">
                    <a:pos x="42" y="10"/>
                  </a:cxn>
                  <a:cxn ang="0">
                    <a:pos x="38" y="4"/>
                  </a:cxn>
                  <a:cxn ang="0">
                    <a:pos x="30" y="2"/>
                  </a:cxn>
                  <a:cxn ang="0">
                    <a:pos x="24" y="0"/>
                  </a:cxn>
                </a:cxnLst>
                <a:rect l="0" t="0" r="r" b="b"/>
                <a:pathLst>
                  <a:path w="46" h="46">
                    <a:moveTo>
                      <a:pt x="24" y="0"/>
                    </a:moveTo>
                    <a:lnTo>
                      <a:pt x="2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0" y="6"/>
                    </a:lnTo>
                    <a:lnTo>
                      <a:pt x="4" y="12"/>
                    </a:lnTo>
                    <a:lnTo>
                      <a:pt x="0" y="2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4" y="36"/>
                    </a:lnTo>
                    <a:lnTo>
                      <a:pt x="10" y="42"/>
                    </a:lnTo>
                    <a:lnTo>
                      <a:pt x="16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8" y="42"/>
                    </a:lnTo>
                    <a:lnTo>
                      <a:pt x="44" y="36"/>
                    </a:lnTo>
                    <a:lnTo>
                      <a:pt x="46" y="26"/>
                    </a:lnTo>
                    <a:lnTo>
                      <a:pt x="46" y="18"/>
                    </a:lnTo>
                    <a:lnTo>
                      <a:pt x="46" y="18"/>
                    </a:lnTo>
                    <a:lnTo>
                      <a:pt x="42" y="10"/>
                    </a:lnTo>
                    <a:lnTo>
                      <a:pt x="38" y="4"/>
                    </a:lnTo>
                    <a:lnTo>
                      <a:pt x="30" y="2"/>
                    </a:lnTo>
                    <a:lnTo>
                      <a:pt x="2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83" name="Freeform 119"/>
              <p:cNvSpPr>
                <a:spLocks/>
              </p:cNvSpPr>
              <p:nvPr userDrawn="1"/>
            </p:nvSpPr>
            <p:spPr bwMode="auto">
              <a:xfrm>
                <a:off x="4346575" y="4670425"/>
                <a:ext cx="66675" cy="66675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8"/>
                  </a:cxn>
                  <a:cxn ang="0">
                    <a:pos x="0" y="26"/>
                  </a:cxn>
                  <a:cxn ang="0">
                    <a:pos x="0" y="26"/>
                  </a:cxn>
                  <a:cxn ang="0">
                    <a:pos x="4" y="32"/>
                  </a:cxn>
                  <a:cxn ang="0">
                    <a:pos x="8" y="38"/>
                  </a:cxn>
                  <a:cxn ang="0">
                    <a:pos x="14" y="42"/>
                  </a:cxn>
                  <a:cxn ang="0">
                    <a:pos x="22" y="42"/>
                  </a:cxn>
                  <a:cxn ang="0">
                    <a:pos x="22" y="42"/>
                  </a:cxn>
                  <a:cxn ang="0">
                    <a:pos x="26" y="42"/>
                  </a:cxn>
                  <a:cxn ang="0">
                    <a:pos x="26" y="42"/>
                  </a:cxn>
                  <a:cxn ang="0">
                    <a:pos x="34" y="38"/>
                  </a:cxn>
                  <a:cxn ang="0">
                    <a:pos x="40" y="32"/>
                  </a:cxn>
                  <a:cxn ang="0">
                    <a:pos x="42" y="24"/>
                  </a:cxn>
                  <a:cxn ang="0">
                    <a:pos x="42" y="16"/>
                  </a:cxn>
                  <a:cxn ang="0">
                    <a:pos x="42" y="16"/>
                  </a:cxn>
                  <a:cxn ang="0">
                    <a:pos x="38" y="10"/>
                  </a:cxn>
                  <a:cxn ang="0">
                    <a:pos x="34" y="4"/>
                  </a:cxn>
                  <a:cxn ang="0">
                    <a:pos x="28" y="2"/>
                  </a:cxn>
                  <a:cxn ang="0">
                    <a:pos x="22" y="0"/>
                  </a:cxn>
                </a:cxnLst>
                <a:rect l="0" t="0" r="r" b="b"/>
                <a:pathLst>
                  <a:path w="42" h="42">
                    <a:moveTo>
                      <a:pt x="22" y="0"/>
                    </a:moveTo>
                    <a:lnTo>
                      <a:pt x="2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8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4" y="32"/>
                    </a:lnTo>
                    <a:lnTo>
                      <a:pt x="8" y="38"/>
                    </a:lnTo>
                    <a:lnTo>
                      <a:pt x="14" y="42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34" y="38"/>
                    </a:lnTo>
                    <a:lnTo>
                      <a:pt x="40" y="32"/>
                    </a:lnTo>
                    <a:lnTo>
                      <a:pt x="42" y="24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38" y="10"/>
                    </a:lnTo>
                    <a:lnTo>
                      <a:pt x="34" y="4"/>
                    </a:lnTo>
                    <a:lnTo>
                      <a:pt x="28" y="2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84" name="Freeform 120"/>
              <p:cNvSpPr>
                <a:spLocks/>
              </p:cNvSpPr>
              <p:nvPr userDrawn="1"/>
            </p:nvSpPr>
            <p:spPr bwMode="auto">
              <a:xfrm>
                <a:off x="4346575" y="4670425"/>
                <a:ext cx="66675" cy="66675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8"/>
                  </a:cxn>
                  <a:cxn ang="0">
                    <a:pos x="0" y="26"/>
                  </a:cxn>
                  <a:cxn ang="0">
                    <a:pos x="0" y="26"/>
                  </a:cxn>
                  <a:cxn ang="0">
                    <a:pos x="4" y="32"/>
                  </a:cxn>
                  <a:cxn ang="0">
                    <a:pos x="8" y="38"/>
                  </a:cxn>
                  <a:cxn ang="0">
                    <a:pos x="14" y="42"/>
                  </a:cxn>
                  <a:cxn ang="0">
                    <a:pos x="22" y="42"/>
                  </a:cxn>
                  <a:cxn ang="0">
                    <a:pos x="22" y="42"/>
                  </a:cxn>
                  <a:cxn ang="0">
                    <a:pos x="26" y="42"/>
                  </a:cxn>
                  <a:cxn ang="0">
                    <a:pos x="26" y="42"/>
                  </a:cxn>
                  <a:cxn ang="0">
                    <a:pos x="34" y="38"/>
                  </a:cxn>
                  <a:cxn ang="0">
                    <a:pos x="40" y="32"/>
                  </a:cxn>
                  <a:cxn ang="0">
                    <a:pos x="42" y="24"/>
                  </a:cxn>
                  <a:cxn ang="0">
                    <a:pos x="42" y="16"/>
                  </a:cxn>
                  <a:cxn ang="0">
                    <a:pos x="42" y="16"/>
                  </a:cxn>
                  <a:cxn ang="0">
                    <a:pos x="38" y="10"/>
                  </a:cxn>
                  <a:cxn ang="0">
                    <a:pos x="34" y="4"/>
                  </a:cxn>
                  <a:cxn ang="0">
                    <a:pos x="28" y="2"/>
                  </a:cxn>
                  <a:cxn ang="0">
                    <a:pos x="22" y="0"/>
                  </a:cxn>
                </a:cxnLst>
                <a:rect l="0" t="0" r="r" b="b"/>
                <a:pathLst>
                  <a:path w="42" h="42">
                    <a:moveTo>
                      <a:pt x="22" y="0"/>
                    </a:moveTo>
                    <a:lnTo>
                      <a:pt x="2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8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4" y="32"/>
                    </a:lnTo>
                    <a:lnTo>
                      <a:pt x="8" y="38"/>
                    </a:lnTo>
                    <a:lnTo>
                      <a:pt x="14" y="42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34" y="38"/>
                    </a:lnTo>
                    <a:lnTo>
                      <a:pt x="40" y="32"/>
                    </a:lnTo>
                    <a:lnTo>
                      <a:pt x="42" y="24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38" y="10"/>
                    </a:lnTo>
                    <a:lnTo>
                      <a:pt x="34" y="4"/>
                    </a:lnTo>
                    <a:lnTo>
                      <a:pt x="28" y="2"/>
                    </a:lnTo>
                    <a:lnTo>
                      <a:pt x="2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85" name="Freeform 121"/>
              <p:cNvSpPr>
                <a:spLocks/>
              </p:cNvSpPr>
              <p:nvPr userDrawn="1"/>
            </p:nvSpPr>
            <p:spPr bwMode="auto">
              <a:xfrm>
                <a:off x="4371975" y="4933950"/>
                <a:ext cx="60325" cy="60325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6"/>
                  </a:cxn>
                  <a:cxn ang="0">
                    <a:pos x="2" y="24"/>
                  </a:cxn>
                  <a:cxn ang="0">
                    <a:pos x="2" y="24"/>
                  </a:cxn>
                  <a:cxn ang="0">
                    <a:pos x="4" y="30"/>
                  </a:cxn>
                  <a:cxn ang="0">
                    <a:pos x="8" y="34"/>
                  </a:cxn>
                  <a:cxn ang="0">
                    <a:pos x="14" y="36"/>
                  </a:cxn>
                  <a:cxn ang="0">
                    <a:pos x="20" y="38"/>
                  </a:cxn>
                  <a:cxn ang="0">
                    <a:pos x="20" y="38"/>
                  </a:cxn>
                  <a:cxn ang="0">
                    <a:pos x="24" y="38"/>
                  </a:cxn>
                  <a:cxn ang="0">
                    <a:pos x="24" y="38"/>
                  </a:cxn>
                  <a:cxn ang="0">
                    <a:pos x="32" y="34"/>
                  </a:cxn>
                  <a:cxn ang="0">
                    <a:pos x="36" y="28"/>
                  </a:cxn>
                  <a:cxn ang="0">
                    <a:pos x="38" y="22"/>
                  </a:cxn>
                  <a:cxn ang="0">
                    <a:pos x="38" y="14"/>
                  </a:cxn>
                  <a:cxn ang="0">
                    <a:pos x="38" y="14"/>
                  </a:cxn>
                  <a:cxn ang="0">
                    <a:pos x="36" y="8"/>
                  </a:cxn>
                  <a:cxn ang="0">
                    <a:pos x="30" y="4"/>
                  </a:cxn>
                  <a:cxn ang="0">
                    <a:pos x="26" y="2"/>
                  </a:cxn>
                  <a:cxn ang="0">
                    <a:pos x="20" y="0"/>
                  </a:cxn>
                </a:cxnLst>
                <a:rect l="0" t="0" r="r" b="b"/>
                <a:pathLst>
                  <a:path w="38" h="38">
                    <a:moveTo>
                      <a:pt x="20" y="0"/>
                    </a:moveTo>
                    <a:lnTo>
                      <a:pt x="2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6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4" y="30"/>
                    </a:lnTo>
                    <a:lnTo>
                      <a:pt x="8" y="34"/>
                    </a:lnTo>
                    <a:lnTo>
                      <a:pt x="14" y="36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4" y="38"/>
                    </a:lnTo>
                    <a:lnTo>
                      <a:pt x="24" y="38"/>
                    </a:lnTo>
                    <a:lnTo>
                      <a:pt x="32" y="34"/>
                    </a:lnTo>
                    <a:lnTo>
                      <a:pt x="36" y="28"/>
                    </a:lnTo>
                    <a:lnTo>
                      <a:pt x="38" y="22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6" y="8"/>
                    </a:lnTo>
                    <a:lnTo>
                      <a:pt x="30" y="4"/>
                    </a:lnTo>
                    <a:lnTo>
                      <a:pt x="26" y="2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86" name="Freeform 122"/>
              <p:cNvSpPr>
                <a:spLocks/>
              </p:cNvSpPr>
              <p:nvPr userDrawn="1"/>
            </p:nvSpPr>
            <p:spPr bwMode="auto">
              <a:xfrm>
                <a:off x="4371975" y="4933950"/>
                <a:ext cx="60325" cy="60325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6"/>
                  </a:cxn>
                  <a:cxn ang="0">
                    <a:pos x="2" y="24"/>
                  </a:cxn>
                  <a:cxn ang="0">
                    <a:pos x="2" y="24"/>
                  </a:cxn>
                  <a:cxn ang="0">
                    <a:pos x="4" y="30"/>
                  </a:cxn>
                  <a:cxn ang="0">
                    <a:pos x="8" y="34"/>
                  </a:cxn>
                  <a:cxn ang="0">
                    <a:pos x="14" y="36"/>
                  </a:cxn>
                  <a:cxn ang="0">
                    <a:pos x="20" y="38"/>
                  </a:cxn>
                  <a:cxn ang="0">
                    <a:pos x="20" y="38"/>
                  </a:cxn>
                  <a:cxn ang="0">
                    <a:pos x="24" y="38"/>
                  </a:cxn>
                  <a:cxn ang="0">
                    <a:pos x="24" y="38"/>
                  </a:cxn>
                  <a:cxn ang="0">
                    <a:pos x="32" y="34"/>
                  </a:cxn>
                  <a:cxn ang="0">
                    <a:pos x="36" y="28"/>
                  </a:cxn>
                  <a:cxn ang="0">
                    <a:pos x="38" y="22"/>
                  </a:cxn>
                  <a:cxn ang="0">
                    <a:pos x="38" y="14"/>
                  </a:cxn>
                  <a:cxn ang="0">
                    <a:pos x="38" y="14"/>
                  </a:cxn>
                  <a:cxn ang="0">
                    <a:pos x="36" y="8"/>
                  </a:cxn>
                  <a:cxn ang="0">
                    <a:pos x="30" y="4"/>
                  </a:cxn>
                  <a:cxn ang="0">
                    <a:pos x="26" y="2"/>
                  </a:cxn>
                  <a:cxn ang="0">
                    <a:pos x="20" y="0"/>
                  </a:cxn>
                </a:cxnLst>
                <a:rect l="0" t="0" r="r" b="b"/>
                <a:pathLst>
                  <a:path w="38" h="38">
                    <a:moveTo>
                      <a:pt x="20" y="0"/>
                    </a:moveTo>
                    <a:lnTo>
                      <a:pt x="2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6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4" y="30"/>
                    </a:lnTo>
                    <a:lnTo>
                      <a:pt x="8" y="34"/>
                    </a:lnTo>
                    <a:lnTo>
                      <a:pt x="14" y="36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4" y="38"/>
                    </a:lnTo>
                    <a:lnTo>
                      <a:pt x="24" y="38"/>
                    </a:lnTo>
                    <a:lnTo>
                      <a:pt x="32" y="34"/>
                    </a:lnTo>
                    <a:lnTo>
                      <a:pt x="36" y="28"/>
                    </a:lnTo>
                    <a:lnTo>
                      <a:pt x="38" y="22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6" y="8"/>
                    </a:lnTo>
                    <a:lnTo>
                      <a:pt x="30" y="4"/>
                    </a:lnTo>
                    <a:lnTo>
                      <a:pt x="26" y="2"/>
                    </a:lnTo>
                    <a:lnTo>
                      <a:pt x="2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87" name="Freeform 123"/>
              <p:cNvSpPr>
                <a:spLocks/>
              </p:cNvSpPr>
              <p:nvPr userDrawn="1"/>
            </p:nvSpPr>
            <p:spPr bwMode="auto">
              <a:xfrm>
                <a:off x="4445000" y="5187950"/>
                <a:ext cx="50800" cy="5397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2" y="28"/>
                  </a:cxn>
                  <a:cxn ang="0">
                    <a:pos x="6" y="32"/>
                  </a:cxn>
                  <a:cxn ang="0">
                    <a:pos x="10" y="34"/>
                  </a:cxn>
                  <a:cxn ang="0">
                    <a:pos x="16" y="34"/>
                  </a:cxn>
                  <a:cxn ang="0">
                    <a:pos x="16" y="34"/>
                  </a:cxn>
                  <a:cxn ang="0">
                    <a:pos x="20" y="34"/>
                  </a:cxn>
                  <a:cxn ang="0">
                    <a:pos x="20" y="34"/>
                  </a:cxn>
                  <a:cxn ang="0">
                    <a:pos x="26" y="32"/>
                  </a:cxn>
                  <a:cxn ang="0">
                    <a:pos x="30" y="26"/>
                  </a:cxn>
                  <a:cxn ang="0">
                    <a:pos x="32" y="20"/>
                  </a:cxn>
                  <a:cxn ang="0">
                    <a:pos x="32" y="14"/>
                  </a:cxn>
                  <a:cxn ang="0">
                    <a:pos x="32" y="14"/>
                  </a:cxn>
                  <a:cxn ang="0">
                    <a:pos x="30" y="8"/>
                  </a:cxn>
                  <a:cxn ang="0">
                    <a:pos x="26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2" h="34">
                    <a:moveTo>
                      <a:pt x="16" y="0"/>
                    </a:moveTo>
                    <a:lnTo>
                      <a:pt x="16" y="0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2" y="28"/>
                    </a:lnTo>
                    <a:lnTo>
                      <a:pt x="6" y="32"/>
                    </a:lnTo>
                    <a:lnTo>
                      <a:pt x="10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6" y="32"/>
                    </a:lnTo>
                    <a:lnTo>
                      <a:pt x="30" y="26"/>
                    </a:lnTo>
                    <a:lnTo>
                      <a:pt x="32" y="20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30" y="8"/>
                    </a:lnTo>
                    <a:lnTo>
                      <a:pt x="26" y="4"/>
                    </a:lnTo>
                    <a:lnTo>
                      <a:pt x="22" y="2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88" name="Freeform 124"/>
              <p:cNvSpPr>
                <a:spLocks/>
              </p:cNvSpPr>
              <p:nvPr userDrawn="1"/>
            </p:nvSpPr>
            <p:spPr bwMode="auto">
              <a:xfrm>
                <a:off x="4445000" y="5187950"/>
                <a:ext cx="50800" cy="5397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2" y="28"/>
                  </a:cxn>
                  <a:cxn ang="0">
                    <a:pos x="6" y="32"/>
                  </a:cxn>
                  <a:cxn ang="0">
                    <a:pos x="10" y="34"/>
                  </a:cxn>
                  <a:cxn ang="0">
                    <a:pos x="16" y="34"/>
                  </a:cxn>
                  <a:cxn ang="0">
                    <a:pos x="16" y="34"/>
                  </a:cxn>
                  <a:cxn ang="0">
                    <a:pos x="20" y="34"/>
                  </a:cxn>
                  <a:cxn ang="0">
                    <a:pos x="20" y="34"/>
                  </a:cxn>
                  <a:cxn ang="0">
                    <a:pos x="26" y="32"/>
                  </a:cxn>
                  <a:cxn ang="0">
                    <a:pos x="30" y="26"/>
                  </a:cxn>
                  <a:cxn ang="0">
                    <a:pos x="32" y="20"/>
                  </a:cxn>
                  <a:cxn ang="0">
                    <a:pos x="32" y="14"/>
                  </a:cxn>
                  <a:cxn ang="0">
                    <a:pos x="32" y="14"/>
                  </a:cxn>
                  <a:cxn ang="0">
                    <a:pos x="30" y="8"/>
                  </a:cxn>
                  <a:cxn ang="0">
                    <a:pos x="26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2" h="34">
                    <a:moveTo>
                      <a:pt x="16" y="0"/>
                    </a:moveTo>
                    <a:lnTo>
                      <a:pt x="16" y="0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2" y="28"/>
                    </a:lnTo>
                    <a:lnTo>
                      <a:pt x="6" y="32"/>
                    </a:lnTo>
                    <a:lnTo>
                      <a:pt x="10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6" y="32"/>
                    </a:lnTo>
                    <a:lnTo>
                      <a:pt x="30" y="26"/>
                    </a:lnTo>
                    <a:lnTo>
                      <a:pt x="32" y="20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30" y="8"/>
                    </a:lnTo>
                    <a:lnTo>
                      <a:pt x="26" y="4"/>
                    </a:lnTo>
                    <a:lnTo>
                      <a:pt x="22" y="2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89" name="Freeform 125"/>
              <p:cNvSpPr>
                <a:spLocks/>
              </p:cNvSpPr>
              <p:nvPr userDrawn="1"/>
            </p:nvSpPr>
            <p:spPr bwMode="auto">
              <a:xfrm>
                <a:off x="5000625" y="3670300"/>
                <a:ext cx="117475" cy="117475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30" y="0"/>
                  </a:cxn>
                  <a:cxn ang="0">
                    <a:pos x="22" y="2"/>
                  </a:cxn>
                  <a:cxn ang="0">
                    <a:pos x="16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6"/>
                  </a:cxn>
                  <a:cxn ang="0">
                    <a:pos x="2" y="24"/>
                  </a:cxn>
                  <a:cxn ang="0">
                    <a:pos x="0" y="30"/>
                  </a:cxn>
                  <a:cxn ang="0">
                    <a:pos x="0" y="38"/>
                  </a:cxn>
                  <a:cxn ang="0">
                    <a:pos x="0" y="44"/>
                  </a:cxn>
                  <a:cxn ang="0">
                    <a:pos x="2" y="52"/>
                  </a:cxn>
                  <a:cxn ang="0">
                    <a:pos x="6" y="58"/>
                  </a:cxn>
                  <a:cxn ang="0">
                    <a:pos x="10" y="64"/>
                  </a:cxn>
                  <a:cxn ang="0">
                    <a:pos x="10" y="64"/>
                  </a:cxn>
                  <a:cxn ang="0">
                    <a:pos x="16" y="68"/>
                  </a:cxn>
                  <a:cxn ang="0">
                    <a:pos x="22" y="72"/>
                  </a:cxn>
                  <a:cxn ang="0">
                    <a:pos x="30" y="74"/>
                  </a:cxn>
                  <a:cxn ang="0">
                    <a:pos x="36" y="74"/>
                  </a:cxn>
                  <a:cxn ang="0">
                    <a:pos x="36" y="74"/>
                  </a:cxn>
                  <a:cxn ang="0">
                    <a:pos x="44" y="74"/>
                  </a:cxn>
                  <a:cxn ang="0">
                    <a:pos x="50" y="72"/>
                  </a:cxn>
                  <a:cxn ang="0">
                    <a:pos x="58" y="68"/>
                  </a:cxn>
                  <a:cxn ang="0">
                    <a:pos x="64" y="64"/>
                  </a:cxn>
                  <a:cxn ang="0">
                    <a:pos x="64" y="64"/>
                  </a:cxn>
                  <a:cxn ang="0">
                    <a:pos x="68" y="58"/>
                  </a:cxn>
                  <a:cxn ang="0">
                    <a:pos x="72" y="52"/>
                  </a:cxn>
                  <a:cxn ang="0">
                    <a:pos x="74" y="44"/>
                  </a:cxn>
                  <a:cxn ang="0">
                    <a:pos x="74" y="38"/>
                  </a:cxn>
                  <a:cxn ang="0">
                    <a:pos x="74" y="30"/>
                  </a:cxn>
                  <a:cxn ang="0">
                    <a:pos x="72" y="24"/>
                  </a:cxn>
                  <a:cxn ang="0">
                    <a:pos x="68" y="16"/>
                  </a:cxn>
                  <a:cxn ang="0">
                    <a:pos x="64" y="10"/>
                  </a:cxn>
                  <a:cxn ang="0">
                    <a:pos x="64" y="10"/>
                  </a:cxn>
                  <a:cxn ang="0">
                    <a:pos x="58" y="6"/>
                  </a:cxn>
                  <a:cxn ang="0">
                    <a:pos x="50" y="2"/>
                  </a:cxn>
                  <a:cxn ang="0">
                    <a:pos x="44" y="0"/>
                  </a:cxn>
                  <a:cxn ang="0">
                    <a:pos x="36" y="0"/>
                  </a:cxn>
                </a:cxnLst>
                <a:rect l="0" t="0" r="r" b="b"/>
                <a:pathLst>
                  <a:path w="74" h="74">
                    <a:moveTo>
                      <a:pt x="36" y="0"/>
                    </a:moveTo>
                    <a:lnTo>
                      <a:pt x="36" y="0"/>
                    </a:lnTo>
                    <a:lnTo>
                      <a:pt x="30" y="0"/>
                    </a:lnTo>
                    <a:lnTo>
                      <a:pt x="22" y="2"/>
                    </a:lnTo>
                    <a:lnTo>
                      <a:pt x="16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6"/>
                    </a:lnTo>
                    <a:lnTo>
                      <a:pt x="2" y="24"/>
                    </a:lnTo>
                    <a:lnTo>
                      <a:pt x="0" y="30"/>
                    </a:lnTo>
                    <a:lnTo>
                      <a:pt x="0" y="38"/>
                    </a:lnTo>
                    <a:lnTo>
                      <a:pt x="0" y="44"/>
                    </a:lnTo>
                    <a:lnTo>
                      <a:pt x="2" y="52"/>
                    </a:lnTo>
                    <a:lnTo>
                      <a:pt x="6" y="58"/>
                    </a:lnTo>
                    <a:lnTo>
                      <a:pt x="10" y="64"/>
                    </a:lnTo>
                    <a:lnTo>
                      <a:pt x="10" y="64"/>
                    </a:lnTo>
                    <a:lnTo>
                      <a:pt x="16" y="68"/>
                    </a:lnTo>
                    <a:lnTo>
                      <a:pt x="22" y="72"/>
                    </a:lnTo>
                    <a:lnTo>
                      <a:pt x="30" y="74"/>
                    </a:lnTo>
                    <a:lnTo>
                      <a:pt x="36" y="74"/>
                    </a:lnTo>
                    <a:lnTo>
                      <a:pt x="36" y="74"/>
                    </a:lnTo>
                    <a:lnTo>
                      <a:pt x="44" y="74"/>
                    </a:lnTo>
                    <a:lnTo>
                      <a:pt x="50" y="72"/>
                    </a:lnTo>
                    <a:lnTo>
                      <a:pt x="58" y="68"/>
                    </a:lnTo>
                    <a:lnTo>
                      <a:pt x="64" y="64"/>
                    </a:lnTo>
                    <a:lnTo>
                      <a:pt x="64" y="64"/>
                    </a:lnTo>
                    <a:lnTo>
                      <a:pt x="68" y="58"/>
                    </a:lnTo>
                    <a:lnTo>
                      <a:pt x="72" y="52"/>
                    </a:lnTo>
                    <a:lnTo>
                      <a:pt x="74" y="44"/>
                    </a:lnTo>
                    <a:lnTo>
                      <a:pt x="74" y="38"/>
                    </a:lnTo>
                    <a:lnTo>
                      <a:pt x="74" y="30"/>
                    </a:lnTo>
                    <a:lnTo>
                      <a:pt x="72" y="24"/>
                    </a:lnTo>
                    <a:lnTo>
                      <a:pt x="68" y="16"/>
                    </a:lnTo>
                    <a:lnTo>
                      <a:pt x="64" y="10"/>
                    </a:lnTo>
                    <a:lnTo>
                      <a:pt x="64" y="10"/>
                    </a:lnTo>
                    <a:lnTo>
                      <a:pt x="58" y="6"/>
                    </a:lnTo>
                    <a:lnTo>
                      <a:pt x="50" y="2"/>
                    </a:lnTo>
                    <a:lnTo>
                      <a:pt x="44" y="0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90" name="Freeform 126"/>
              <p:cNvSpPr>
                <a:spLocks/>
              </p:cNvSpPr>
              <p:nvPr userDrawn="1"/>
            </p:nvSpPr>
            <p:spPr bwMode="auto">
              <a:xfrm>
                <a:off x="5000625" y="3670300"/>
                <a:ext cx="117475" cy="117475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30" y="0"/>
                  </a:cxn>
                  <a:cxn ang="0">
                    <a:pos x="22" y="2"/>
                  </a:cxn>
                  <a:cxn ang="0">
                    <a:pos x="16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6"/>
                  </a:cxn>
                  <a:cxn ang="0">
                    <a:pos x="2" y="24"/>
                  </a:cxn>
                  <a:cxn ang="0">
                    <a:pos x="0" y="30"/>
                  </a:cxn>
                  <a:cxn ang="0">
                    <a:pos x="0" y="38"/>
                  </a:cxn>
                  <a:cxn ang="0">
                    <a:pos x="0" y="44"/>
                  </a:cxn>
                  <a:cxn ang="0">
                    <a:pos x="2" y="52"/>
                  </a:cxn>
                  <a:cxn ang="0">
                    <a:pos x="6" y="58"/>
                  </a:cxn>
                  <a:cxn ang="0">
                    <a:pos x="10" y="64"/>
                  </a:cxn>
                  <a:cxn ang="0">
                    <a:pos x="10" y="64"/>
                  </a:cxn>
                  <a:cxn ang="0">
                    <a:pos x="16" y="68"/>
                  </a:cxn>
                  <a:cxn ang="0">
                    <a:pos x="22" y="72"/>
                  </a:cxn>
                  <a:cxn ang="0">
                    <a:pos x="30" y="74"/>
                  </a:cxn>
                  <a:cxn ang="0">
                    <a:pos x="36" y="74"/>
                  </a:cxn>
                  <a:cxn ang="0">
                    <a:pos x="36" y="74"/>
                  </a:cxn>
                  <a:cxn ang="0">
                    <a:pos x="44" y="74"/>
                  </a:cxn>
                  <a:cxn ang="0">
                    <a:pos x="50" y="72"/>
                  </a:cxn>
                  <a:cxn ang="0">
                    <a:pos x="58" y="68"/>
                  </a:cxn>
                  <a:cxn ang="0">
                    <a:pos x="64" y="64"/>
                  </a:cxn>
                  <a:cxn ang="0">
                    <a:pos x="64" y="64"/>
                  </a:cxn>
                  <a:cxn ang="0">
                    <a:pos x="68" y="58"/>
                  </a:cxn>
                  <a:cxn ang="0">
                    <a:pos x="72" y="52"/>
                  </a:cxn>
                  <a:cxn ang="0">
                    <a:pos x="74" y="44"/>
                  </a:cxn>
                  <a:cxn ang="0">
                    <a:pos x="74" y="38"/>
                  </a:cxn>
                  <a:cxn ang="0">
                    <a:pos x="74" y="30"/>
                  </a:cxn>
                  <a:cxn ang="0">
                    <a:pos x="72" y="24"/>
                  </a:cxn>
                  <a:cxn ang="0">
                    <a:pos x="68" y="16"/>
                  </a:cxn>
                  <a:cxn ang="0">
                    <a:pos x="64" y="10"/>
                  </a:cxn>
                  <a:cxn ang="0">
                    <a:pos x="64" y="10"/>
                  </a:cxn>
                  <a:cxn ang="0">
                    <a:pos x="58" y="6"/>
                  </a:cxn>
                  <a:cxn ang="0">
                    <a:pos x="50" y="2"/>
                  </a:cxn>
                  <a:cxn ang="0">
                    <a:pos x="44" y="0"/>
                  </a:cxn>
                  <a:cxn ang="0">
                    <a:pos x="36" y="0"/>
                  </a:cxn>
                </a:cxnLst>
                <a:rect l="0" t="0" r="r" b="b"/>
                <a:pathLst>
                  <a:path w="74" h="74">
                    <a:moveTo>
                      <a:pt x="36" y="0"/>
                    </a:moveTo>
                    <a:lnTo>
                      <a:pt x="36" y="0"/>
                    </a:lnTo>
                    <a:lnTo>
                      <a:pt x="30" y="0"/>
                    </a:lnTo>
                    <a:lnTo>
                      <a:pt x="22" y="2"/>
                    </a:lnTo>
                    <a:lnTo>
                      <a:pt x="16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6"/>
                    </a:lnTo>
                    <a:lnTo>
                      <a:pt x="2" y="24"/>
                    </a:lnTo>
                    <a:lnTo>
                      <a:pt x="0" y="30"/>
                    </a:lnTo>
                    <a:lnTo>
                      <a:pt x="0" y="38"/>
                    </a:lnTo>
                    <a:lnTo>
                      <a:pt x="0" y="44"/>
                    </a:lnTo>
                    <a:lnTo>
                      <a:pt x="2" y="52"/>
                    </a:lnTo>
                    <a:lnTo>
                      <a:pt x="6" y="58"/>
                    </a:lnTo>
                    <a:lnTo>
                      <a:pt x="10" y="64"/>
                    </a:lnTo>
                    <a:lnTo>
                      <a:pt x="10" y="64"/>
                    </a:lnTo>
                    <a:lnTo>
                      <a:pt x="16" y="68"/>
                    </a:lnTo>
                    <a:lnTo>
                      <a:pt x="22" y="72"/>
                    </a:lnTo>
                    <a:lnTo>
                      <a:pt x="30" y="74"/>
                    </a:lnTo>
                    <a:lnTo>
                      <a:pt x="36" y="74"/>
                    </a:lnTo>
                    <a:lnTo>
                      <a:pt x="36" y="74"/>
                    </a:lnTo>
                    <a:lnTo>
                      <a:pt x="44" y="74"/>
                    </a:lnTo>
                    <a:lnTo>
                      <a:pt x="50" y="72"/>
                    </a:lnTo>
                    <a:lnTo>
                      <a:pt x="58" y="68"/>
                    </a:lnTo>
                    <a:lnTo>
                      <a:pt x="64" y="64"/>
                    </a:lnTo>
                    <a:lnTo>
                      <a:pt x="64" y="64"/>
                    </a:lnTo>
                    <a:lnTo>
                      <a:pt x="68" y="58"/>
                    </a:lnTo>
                    <a:lnTo>
                      <a:pt x="72" y="52"/>
                    </a:lnTo>
                    <a:lnTo>
                      <a:pt x="74" y="44"/>
                    </a:lnTo>
                    <a:lnTo>
                      <a:pt x="74" y="38"/>
                    </a:lnTo>
                    <a:lnTo>
                      <a:pt x="74" y="30"/>
                    </a:lnTo>
                    <a:lnTo>
                      <a:pt x="72" y="24"/>
                    </a:lnTo>
                    <a:lnTo>
                      <a:pt x="68" y="16"/>
                    </a:lnTo>
                    <a:lnTo>
                      <a:pt x="64" y="10"/>
                    </a:lnTo>
                    <a:lnTo>
                      <a:pt x="64" y="10"/>
                    </a:lnTo>
                    <a:lnTo>
                      <a:pt x="58" y="6"/>
                    </a:lnTo>
                    <a:lnTo>
                      <a:pt x="50" y="2"/>
                    </a:lnTo>
                    <a:lnTo>
                      <a:pt x="44" y="0"/>
                    </a:lnTo>
                    <a:lnTo>
                      <a:pt x="3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91" name="Freeform 127"/>
              <p:cNvSpPr>
                <a:spLocks/>
              </p:cNvSpPr>
              <p:nvPr userDrawn="1"/>
            </p:nvSpPr>
            <p:spPr bwMode="auto">
              <a:xfrm>
                <a:off x="5187950" y="3549650"/>
                <a:ext cx="104775" cy="104775"/>
              </a:xfrm>
              <a:custGeom>
                <a:avLst/>
                <a:gdLst/>
                <a:ahLst/>
                <a:cxnLst>
                  <a:cxn ang="0">
                    <a:pos x="34" y="0"/>
                  </a:cxn>
                  <a:cxn ang="0">
                    <a:pos x="34" y="0"/>
                  </a:cxn>
                  <a:cxn ang="0">
                    <a:pos x="26" y="0"/>
                  </a:cxn>
                  <a:cxn ang="0">
                    <a:pos x="20" y="2"/>
                  </a:cxn>
                  <a:cxn ang="0">
                    <a:pos x="14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4"/>
                  </a:cxn>
                  <a:cxn ang="0">
                    <a:pos x="2" y="20"/>
                  </a:cxn>
                  <a:cxn ang="0">
                    <a:pos x="0" y="26"/>
                  </a:cxn>
                  <a:cxn ang="0">
                    <a:pos x="0" y="34"/>
                  </a:cxn>
                  <a:cxn ang="0">
                    <a:pos x="0" y="40"/>
                  </a:cxn>
                  <a:cxn ang="0">
                    <a:pos x="2" y="46"/>
                  </a:cxn>
                  <a:cxn ang="0">
                    <a:pos x="6" y="52"/>
                  </a:cxn>
                  <a:cxn ang="0">
                    <a:pos x="10" y="56"/>
                  </a:cxn>
                  <a:cxn ang="0">
                    <a:pos x="10" y="56"/>
                  </a:cxn>
                  <a:cxn ang="0">
                    <a:pos x="14" y="62"/>
                  </a:cxn>
                  <a:cxn ang="0">
                    <a:pos x="20" y="64"/>
                  </a:cxn>
                  <a:cxn ang="0">
                    <a:pos x="26" y="66"/>
                  </a:cxn>
                  <a:cxn ang="0">
                    <a:pos x="34" y="66"/>
                  </a:cxn>
                  <a:cxn ang="0">
                    <a:pos x="34" y="66"/>
                  </a:cxn>
                  <a:cxn ang="0">
                    <a:pos x="40" y="66"/>
                  </a:cxn>
                  <a:cxn ang="0">
                    <a:pos x="46" y="64"/>
                  </a:cxn>
                  <a:cxn ang="0">
                    <a:pos x="52" y="62"/>
                  </a:cxn>
                  <a:cxn ang="0">
                    <a:pos x="58" y="56"/>
                  </a:cxn>
                  <a:cxn ang="0">
                    <a:pos x="58" y="56"/>
                  </a:cxn>
                  <a:cxn ang="0">
                    <a:pos x="62" y="52"/>
                  </a:cxn>
                  <a:cxn ang="0">
                    <a:pos x="64" y="46"/>
                  </a:cxn>
                  <a:cxn ang="0">
                    <a:pos x="66" y="40"/>
                  </a:cxn>
                  <a:cxn ang="0">
                    <a:pos x="66" y="34"/>
                  </a:cxn>
                  <a:cxn ang="0">
                    <a:pos x="66" y="26"/>
                  </a:cxn>
                  <a:cxn ang="0">
                    <a:pos x="64" y="20"/>
                  </a:cxn>
                  <a:cxn ang="0">
                    <a:pos x="62" y="14"/>
                  </a:cxn>
                  <a:cxn ang="0">
                    <a:pos x="56" y="10"/>
                  </a:cxn>
                  <a:cxn ang="0">
                    <a:pos x="56" y="10"/>
                  </a:cxn>
                  <a:cxn ang="0">
                    <a:pos x="52" y="6"/>
                  </a:cxn>
                  <a:cxn ang="0">
                    <a:pos x="46" y="2"/>
                  </a:cxn>
                  <a:cxn ang="0">
                    <a:pos x="40" y="0"/>
                  </a:cxn>
                  <a:cxn ang="0">
                    <a:pos x="34" y="0"/>
                  </a:cxn>
                </a:cxnLst>
                <a:rect l="0" t="0" r="r" b="b"/>
                <a:pathLst>
                  <a:path w="66" h="66">
                    <a:moveTo>
                      <a:pt x="34" y="0"/>
                    </a:moveTo>
                    <a:lnTo>
                      <a:pt x="34" y="0"/>
                    </a:lnTo>
                    <a:lnTo>
                      <a:pt x="26" y="0"/>
                    </a:lnTo>
                    <a:lnTo>
                      <a:pt x="20" y="2"/>
                    </a:lnTo>
                    <a:lnTo>
                      <a:pt x="14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4"/>
                    </a:lnTo>
                    <a:lnTo>
                      <a:pt x="2" y="20"/>
                    </a:lnTo>
                    <a:lnTo>
                      <a:pt x="0" y="26"/>
                    </a:lnTo>
                    <a:lnTo>
                      <a:pt x="0" y="34"/>
                    </a:lnTo>
                    <a:lnTo>
                      <a:pt x="0" y="40"/>
                    </a:lnTo>
                    <a:lnTo>
                      <a:pt x="2" y="46"/>
                    </a:lnTo>
                    <a:lnTo>
                      <a:pt x="6" y="52"/>
                    </a:lnTo>
                    <a:lnTo>
                      <a:pt x="10" y="56"/>
                    </a:lnTo>
                    <a:lnTo>
                      <a:pt x="10" y="56"/>
                    </a:lnTo>
                    <a:lnTo>
                      <a:pt x="14" y="62"/>
                    </a:lnTo>
                    <a:lnTo>
                      <a:pt x="20" y="64"/>
                    </a:lnTo>
                    <a:lnTo>
                      <a:pt x="26" y="66"/>
                    </a:lnTo>
                    <a:lnTo>
                      <a:pt x="34" y="66"/>
                    </a:lnTo>
                    <a:lnTo>
                      <a:pt x="34" y="66"/>
                    </a:lnTo>
                    <a:lnTo>
                      <a:pt x="40" y="66"/>
                    </a:lnTo>
                    <a:lnTo>
                      <a:pt x="46" y="64"/>
                    </a:lnTo>
                    <a:lnTo>
                      <a:pt x="52" y="62"/>
                    </a:lnTo>
                    <a:lnTo>
                      <a:pt x="58" y="56"/>
                    </a:lnTo>
                    <a:lnTo>
                      <a:pt x="58" y="56"/>
                    </a:lnTo>
                    <a:lnTo>
                      <a:pt x="62" y="52"/>
                    </a:lnTo>
                    <a:lnTo>
                      <a:pt x="64" y="46"/>
                    </a:lnTo>
                    <a:lnTo>
                      <a:pt x="66" y="40"/>
                    </a:lnTo>
                    <a:lnTo>
                      <a:pt x="66" y="34"/>
                    </a:lnTo>
                    <a:lnTo>
                      <a:pt x="66" y="26"/>
                    </a:lnTo>
                    <a:lnTo>
                      <a:pt x="64" y="20"/>
                    </a:lnTo>
                    <a:lnTo>
                      <a:pt x="62" y="14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2" y="6"/>
                    </a:lnTo>
                    <a:lnTo>
                      <a:pt x="46" y="2"/>
                    </a:lnTo>
                    <a:lnTo>
                      <a:pt x="40" y="0"/>
                    </a:lnTo>
                    <a:lnTo>
                      <a:pt x="3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92" name="Freeform 128"/>
              <p:cNvSpPr>
                <a:spLocks/>
              </p:cNvSpPr>
              <p:nvPr userDrawn="1"/>
            </p:nvSpPr>
            <p:spPr bwMode="auto">
              <a:xfrm>
                <a:off x="5187950" y="3549650"/>
                <a:ext cx="104775" cy="104775"/>
              </a:xfrm>
              <a:custGeom>
                <a:avLst/>
                <a:gdLst/>
                <a:ahLst/>
                <a:cxnLst>
                  <a:cxn ang="0">
                    <a:pos x="34" y="0"/>
                  </a:cxn>
                  <a:cxn ang="0">
                    <a:pos x="34" y="0"/>
                  </a:cxn>
                  <a:cxn ang="0">
                    <a:pos x="26" y="0"/>
                  </a:cxn>
                  <a:cxn ang="0">
                    <a:pos x="20" y="2"/>
                  </a:cxn>
                  <a:cxn ang="0">
                    <a:pos x="14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4"/>
                  </a:cxn>
                  <a:cxn ang="0">
                    <a:pos x="2" y="20"/>
                  </a:cxn>
                  <a:cxn ang="0">
                    <a:pos x="0" y="26"/>
                  </a:cxn>
                  <a:cxn ang="0">
                    <a:pos x="0" y="34"/>
                  </a:cxn>
                  <a:cxn ang="0">
                    <a:pos x="0" y="40"/>
                  </a:cxn>
                  <a:cxn ang="0">
                    <a:pos x="2" y="46"/>
                  </a:cxn>
                  <a:cxn ang="0">
                    <a:pos x="6" y="52"/>
                  </a:cxn>
                  <a:cxn ang="0">
                    <a:pos x="10" y="56"/>
                  </a:cxn>
                  <a:cxn ang="0">
                    <a:pos x="10" y="56"/>
                  </a:cxn>
                  <a:cxn ang="0">
                    <a:pos x="14" y="62"/>
                  </a:cxn>
                  <a:cxn ang="0">
                    <a:pos x="20" y="64"/>
                  </a:cxn>
                  <a:cxn ang="0">
                    <a:pos x="26" y="66"/>
                  </a:cxn>
                  <a:cxn ang="0">
                    <a:pos x="34" y="66"/>
                  </a:cxn>
                  <a:cxn ang="0">
                    <a:pos x="34" y="66"/>
                  </a:cxn>
                  <a:cxn ang="0">
                    <a:pos x="40" y="66"/>
                  </a:cxn>
                  <a:cxn ang="0">
                    <a:pos x="46" y="64"/>
                  </a:cxn>
                  <a:cxn ang="0">
                    <a:pos x="52" y="62"/>
                  </a:cxn>
                  <a:cxn ang="0">
                    <a:pos x="58" y="56"/>
                  </a:cxn>
                  <a:cxn ang="0">
                    <a:pos x="58" y="56"/>
                  </a:cxn>
                  <a:cxn ang="0">
                    <a:pos x="62" y="52"/>
                  </a:cxn>
                  <a:cxn ang="0">
                    <a:pos x="64" y="46"/>
                  </a:cxn>
                  <a:cxn ang="0">
                    <a:pos x="66" y="40"/>
                  </a:cxn>
                  <a:cxn ang="0">
                    <a:pos x="66" y="34"/>
                  </a:cxn>
                  <a:cxn ang="0">
                    <a:pos x="66" y="26"/>
                  </a:cxn>
                  <a:cxn ang="0">
                    <a:pos x="64" y="20"/>
                  </a:cxn>
                  <a:cxn ang="0">
                    <a:pos x="62" y="14"/>
                  </a:cxn>
                  <a:cxn ang="0">
                    <a:pos x="56" y="10"/>
                  </a:cxn>
                  <a:cxn ang="0">
                    <a:pos x="56" y="10"/>
                  </a:cxn>
                  <a:cxn ang="0">
                    <a:pos x="52" y="6"/>
                  </a:cxn>
                  <a:cxn ang="0">
                    <a:pos x="46" y="2"/>
                  </a:cxn>
                  <a:cxn ang="0">
                    <a:pos x="40" y="0"/>
                  </a:cxn>
                  <a:cxn ang="0">
                    <a:pos x="34" y="0"/>
                  </a:cxn>
                </a:cxnLst>
                <a:rect l="0" t="0" r="r" b="b"/>
                <a:pathLst>
                  <a:path w="66" h="66">
                    <a:moveTo>
                      <a:pt x="34" y="0"/>
                    </a:moveTo>
                    <a:lnTo>
                      <a:pt x="34" y="0"/>
                    </a:lnTo>
                    <a:lnTo>
                      <a:pt x="26" y="0"/>
                    </a:lnTo>
                    <a:lnTo>
                      <a:pt x="20" y="2"/>
                    </a:lnTo>
                    <a:lnTo>
                      <a:pt x="14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4"/>
                    </a:lnTo>
                    <a:lnTo>
                      <a:pt x="2" y="20"/>
                    </a:lnTo>
                    <a:lnTo>
                      <a:pt x="0" y="26"/>
                    </a:lnTo>
                    <a:lnTo>
                      <a:pt x="0" y="34"/>
                    </a:lnTo>
                    <a:lnTo>
                      <a:pt x="0" y="40"/>
                    </a:lnTo>
                    <a:lnTo>
                      <a:pt x="2" y="46"/>
                    </a:lnTo>
                    <a:lnTo>
                      <a:pt x="6" y="52"/>
                    </a:lnTo>
                    <a:lnTo>
                      <a:pt x="10" y="56"/>
                    </a:lnTo>
                    <a:lnTo>
                      <a:pt x="10" y="56"/>
                    </a:lnTo>
                    <a:lnTo>
                      <a:pt x="14" y="62"/>
                    </a:lnTo>
                    <a:lnTo>
                      <a:pt x="20" y="64"/>
                    </a:lnTo>
                    <a:lnTo>
                      <a:pt x="26" y="66"/>
                    </a:lnTo>
                    <a:lnTo>
                      <a:pt x="34" y="66"/>
                    </a:lnTo>
                    <a:lnTo>
                      <a:pt x="34" y="66"/>
                    </a:lnTo>
                    <a:lnTo>
                      <a:pt x="40" y="66"/>
                    </a:lnTo>
                    <a:lnTo>
                      <a:pt x="46" y="64"/>
                    </a:lnTo>
                    <a:lnTo>
                      <a:pt x="52" y="62"/>
                    </a:lnTo>
                    <a:lnTo>
                      <a:pt x="58" y="56"/>
                    </a:lnTo>
                    <a:lnTo>
                      <a:pt x="58" y="56"/>
                    </a:lnTo>
                    <a:lnTo>
                      <a:pt x="62" y="52"/>
                    </a:lnTo>
                    <a:lnTo>
                      <a:pt x="64" y="46"/>
                    </a:lnTo>
                    <a:lnTo>
                      <a:pt x="66" y="40"/>
                    </a:lnTo>
                    <a:lnTo>
                      <a:pt x="66" y="34"/>
                    </a:lnTo>
                    <a:lnTo>
                      <a:pt x="66" y="26"/>
                    </a:lnTo>
                    <a:lnTo>
                      <a:pt x="64" y="20"/>
                    </a:lnTo>
                    <a:lnTo>
                      <a:pt x="62" y="14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2" y="6"/>
                    </a:lnTo>
                    <a:lnTo>
                      <a:pt x="46" y="2"/>
                    </a:lnTo>
                    <a:lnTo>
                      <a:pt x="40" y="0"/>
                    </a:lnTo>
                    <a:lnTo>
                      <a:pt x="3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93" name="Freeform 129"/>
              <p:cNvSpPr>
                <a:spLocks/>
              </p:cNvSpPr>
              <p:nvPr userDrawn="1"/>
            </p:nvSpPr>
            <p:spPr bwMode="auto">
              <a:xfrm>
                <a:off x="5394325" y="3460750"/>
                <a:ext cx="95250" cy="95250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0"/>
                  </a:cxn>
                  <a:cxn ang="0">
                    <a:pos x="18" y="2"/>
                  </a:cxn>
                  <a:cxn ang="0">
                    <a:pos x="14" y="4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4" y="14"/>
                  </a:cxn>
                  <a:cxn ang="0">
                    <a:pos x="2" y="18"/>
                  </a:cxn>
                  <a:cxn ang="0">
                    <a:pos x="0" y="30"/>
                  </a:cxn>
                  <a:cxn ang="0">
                    <a:pos x="2" y="42"/>
                  </a:cxn>
                  <a:cxn ang="0">
                    <a:pos x="4" y="46"/>
                  </a:cxn>
                  <a:cxn ang="0">
                    <a:pos x="8" y="52"/>
                  </a:cxn>
                  <a:cxn ang="0">
                    <a:pos x="8" y="52"/>
                  </a:cxn>
                  <a:cxn ang="0">
                    <a:pos x="14" y="56"/>
                  </a:cxn>
                  <a:cxn ang="0">
                    <a:pos x="18" y="58"/>
                  </a:cxn>
                  <a:cxn ang="0">
                    <a:pos x="30" y="60"/>
                  </a:cxn>
                  <a:cxn ang="0">
                    <a:pos x="30" y="60"/>
                  </a:cxn>
                  <a:cxn ang="0">
                    <a:pos x="42" y="58"/>
                  </a:cxn>
                  <a:cxn ang="0">
                    <a:pos x="46" y="56"/>
                  </a:cxn>
                  <a:cxn ang="0">
                    <a:pos x="52" y="52"/>
                  </a:cxn>
                  <a:cxn ang="0">
                    <a:pos x="52" y="52"/>
                  </a:cxn>
                  <a:cxn ang="0">
                    <a:pos x="56" y="46"/>
                  </a:cxn>
                  <a:cxn ang="0">
                    <a:pos x="58" y="42"/>
                  </a:cxn>
                  <a:cxn ang="0">
                    <a:pos x="60" y="30"/>
                  </a:cxn>
                  <a:cxn ang="0">
                    <a:pos x="58" y="18"/>
                  </a:cxn>
                  <a:cxn ang="0">
                    <a:pos x="56" y="14"/>
                  </a:cxn>
                  <a:cxn ang="0">
                    <a:pos x="52" y="8"/>
                  </a:cxn>
                  <a:cxn ang="0">
                    <a:pos x="52" y="8"/>
                  </a:cxn>
                  <a:cxn ang="0">
                    <a:pos x="46" y="4"/>
                  </a:cxn>
                  <a:cxn ang="0">
                    <a:pos x="42" y="2"/>
                  </a:cxn>
                  <a:cxn ang="0">
                    <a:pos x="30" y="0"/>
                  </a:cxn>
                </a:cxnLst>
                <a:rect l="0" t="0" r="r" b="b"/>
                <a:pathLst>
                  <a:path w="60" h="60">
                    <a:moveTo>
                      <a:pt x="30" y="0"/>
                    </a:moveTo>
                    <a:lnTo>
                      <a:pt x="30" y="0"/>
                    </a:lnTo>
                    <a:lnTo>
                      <a:pt x="18" y="2"/>
                    </a:lnTo>
                    <a:lnTo>
                      <a:pt x="14" y="4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4" y="14"/>
                    </a:lnTo>
                    <a:lnTo>
                      <a:pt x="2" y="18"/>
                    </a:lnTo>
                    <a:lnTo>
                      <a:pt x="0" y="30"/>
                    </a:lnTo>
                    <a:lnTo>
                      <a:pt x="2" y="42"/>
                    </a:lnTo>
                    <a:lnTo>
                      <a:pt x="4" y="46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14" y="56"/>
                    </a:lnTo>
                    <a:lnTo>
                      <a:pt x="18" y="58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42" y="58"/>
                    </a:lnTo>
                    <a:lnTo>
                      <a:pt x="46" y="56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6" y="46"/>
                    </a:lnTo>
                    <a:lnTo>
                      <a:pt x="58" y="42"/>
                    </a:lnTo>
                    <a:lnTo>
                      <a:pt x="60" y="30"/>
                    </a:lnTo>
                    <a:lnTo>
                      <a:pt x="58" y="18"/>
                    </a:lnTo>
                    <a:lnTo>
                      <a:pt x="56" y="14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46" y="4"/>
                    </a:lnTo>
                    <a:lnTo>
                      <a:pt x="42" y="2"/>
                    </a:lnTo>
                    <a:lnTo>
                      <a:pt x="3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94" name="Freeform 130"/>
              <p:cNvSpPr>
                <a:spLocks/>
              </p:cNvSpPr>
              <p:nvPr userDrawn="1"/>
            </p:nvSpPr>
            <p:spPr bwMode="auto">
              <a:xfrm>
                <a:off x="5394325" y="3460750"/>
                <a:ext cx="95250" cy="95250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0"/>
                  </a:cxn>
                  <a:cxn ang="0">
                    <a:pos x="18" y="2"/>
                  </a:cxn>
                  <a:cxn ang="0">
                    <a:pos x="14" y="4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4" y="14"/>
                  </a:cxn>
                  <a:cxn ang="0">
                    <a:pos x="2" y="18"/>
                  </a:cxn>
                  <a:cxn ang="0">
                    <a:pos x="0" y="30"/>
                  </a:cxn>
                  <a:cxn ang="0">
                    <a:pos x="2" y="42"/>
                  </a:cxn>
                  <a:cxn ang="0">
                    <a:pos x="4" y="46"/>
                  </a:cxn>
                  <a:cxn ang="0">
                    <a:pos x="8" y="52"/>
                  </a:cxn>
                  <a:cxn ang="0">
                    <a:pos x="8" y="52"/>
                  </a:cxn>
                  <a:cxn ang="0">
                    <a:pos x="14" y="56"/>
                  </a:cxn>
                  <a:cxn ang="0">
                    <a:pos x="18" y="58"/>
                  </a:cxn>
                  <a:cxn ang="0">
                    <a:pos x="30" y="60"/>
                  </a:cxn>
                  <a:cxn ang="0">
                    <a:pos x="30" y="60"/>
                  </a:cxn>
                  <a:cxn ang="0">
                    <a:pos x="42" y="58"/>
                  </a:cxn>
                  <a:cxn ang="0">
                    <a:pos x="46" y="56"/>
                  </a:cxn>
                  <a:cxn ang="0">
                    <a:pos x="52" y="52"/>
                  </a:cxn>
                  <a:cxn ang="0">
                    <a:pos x="52" y="52"/>
                  </a:cxn>
                  <a:cxn ang="0">
                    <a:pos x="56" y="46"/>
                  </a:cxn>
                  <a:cxn ang="0">
                    <a:pos x="58" y="42"/>
                  </a:cxn>
                  <a:cxn ang="0">
                    <a:pos x="60" y="30"/>
                  </a:cxn>
                  <a:cxn ang="0">
                    <a:pos x="58" y="18"/>
                  </a:cxn>
                  <a:cxn ang="0">
                    <a:pos x="56" y="14"/>
                  </a:cxn>
                  <a:cxn ang="0">
                    <a:pos x="52" y="8"/>
                  </a:cxn>
                  <a:cxn ang="0">
                    <a:pos x="52" y="8"/>
                  </a:cxn>
                  <a:cxn ang="0">
                    <a:pos x="46" y="4"/>
                  </a:cxn>
                  <a:cxn ang="0">
                    <a:pos x="42" y="2"/>
                  </a:cxn>
                  <a:cxn ang="0">
                    <a:pos x="30" y="0"/>
                  </a:cxn>
                </a:cxnLst>
                <a:rect l="0" t="0" r="r" b="b"/>
                <a:pathLst>
                  <a:path w="60" h="60">
                    <a:moveTo>
                      <a:pt x="30" y="0"/>
                    </a:moveTo>
                    <a:lnTo>
                      <a:pt x="30" y="0"/>
                    </a:lnTo>
                    <a:lnTo>
                      <a:pt x="18" y="2"/>
                    </a:lnTo>
                    <a:lnTo>
                      <a:pt x="14" y="4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4" y="14"/>
                    </a:lnTo>
                    <a:lnTo>
                      <a:pt x="2" y="18"/>
                    </a:lnTo>
                    <a:lnTo>
                      <a:pt x="0" y="30"/>
                    </a:lnTo>
                    <a:lnTo>
                      <a:pt x="2" y="42"/>
                    </a:lnTo>
                    <a:lnTo>
                      <a:pt x="4" y="46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14" y="56"/>
                    </a:lnTo>
                    <a:lnTo>
                      <a:pt x="18" y="58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42" y="58"/>
                    </a:lnTo>
                    <a:lnTo>
                      <a:pt x="46" y="56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6" y="46"/>
                    </a:lnTo>
                    <a:lnTo>
                      <a:pt x="58" y="42"/>
                    </a:lnTo>
                    <a:lnTo>
                      <a:pt x="60" y="30"/>
                    </a:lnTo>
                    <a:lnTo>
                      <a:pt x="58" y="18"/>
                    </a:lnTo>
                    <a:lnTo>
                      <a:pt x="56" y="14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46" y="4"/>
                    </a:lnTo>
                    <a:lnTo>
                      <a:pt x="42" y="2"/>
                    </a:lnTo>
                    <a:lnTo>
                      <a:pt x="3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95" name="Freeform 131"/>
              <p:cNvSpPr>
                <a:spLocks/>
              </p:cNvSpPr>
              <p:nvPr userDrawn="1"/>
            </p:nvSpPr>
            <p:spPr bwMode="auto">
              <a:xfrm>
                <a:off x="5613400" y="3406775"/>
                <a:ext cx="85725" cy="8890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6" y="2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2" y="18"/>
                  </a:cxn>
                  <a:cxn ang="0">
                    <a:pos x="0" y="28"/>
                  </a:cxn>
                  <a:cxn ang="0">
                    <a:pos x="2" y="38"/>
                  </a:cxn>
                  <a:cxn ang="0">
                    <a:pos x="8" y="48"/>
                  </a:cxn>
                  <a:cxn ang="0">
                    <a:pos x="8" y="48"/>
                  </a:cxn>
                  <a:cxn ang="0">
                    <a:pos x="16" y="54"/>
                  </a:cxn>
                  <a:cxn ang="0">
                    <a:pos x="26" y="56"/>
                  </a:cxn>
                  <a:cxn ang="0">
                    <a:pos x="26" y="56"/>
                  </a:cxn>
                  <a:cxn ang="0">
                    <a:pos x="38" y="54"/>
                  </a:cxn>
                  <a:cxn ang="0">
                    <a:pos x="46" y="48"/>
                  </a:cxn>
                  <a:cxn ang="0">
                    <a:pos x="46" y="48"/>
                  </a:cxn>
                  <a:cxn ang="0">
                    <a:pos x="52" y="38"/>
                  </a:cxn>
                  <a:cxn ang="0">
                    <a:pos x="54" y="28"/>
                  </a:cxn>
                  <a:cxn ang="0">
                    <a:pos x="52" y="18"/>
                  </a:cxn>
                  <a:cxn ang="0">
                    <a:pos x="46" y="8"/>
                  </a:cxn>
                  <a:cxn ang="0">
                    <a:pos x="46" y="8"/>
                  </a:cxn>
                  <a:cxn ang="0">
                    <a:pos x="38" y="2"/>
                  </a:cxn>
                  <a:cxn ang="0">
                    <a:pos x="26" y="0"/>
                  </a:cxn>
                </a:cxnLst>
                <a:rect l="0" t="0" r="r" b="b"/>
                <a:pathLst>
                  <a:path w="54" h="56">
                    <a:moveTo>
                      <a:pt x="26" y="0"/>
                    </a:moveTo>
                    <a:lnTo>
                      <a:pt x="26" y="0"/>
                    </a:lnTo>
                    <a:lnTo>
                      <a:pt x="16" y="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2" y="18"/>
                    </a:lnTo>
                    <a:lnTo>
                      <a:pt x="0" y="28"/>
                    </a:lnTo>
                    <a:lnTo>
                      <a:pt x="2" y="3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16" y="54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38" y="54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52" y="38"/>
                    </a:lnTo>
                    <a:lnTo>
                      <a:pt x="54" y="28"/>
                    </a:lnTo>
                    <a:lnTo>
                      <a:pt x="52" y="1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38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96" name="Freeform 132"/>
              <p:cNvSpPr>
                <a:spLocks/>
              </p:cNvSpPr>
              <p:nvPr userDrawn="1"/>
            </p:nvSpPr>
            <p:spPr bwMode="auto">
              <a:xfrm>
                <a:off x="5613400" y="3406775"/>
                <a:ext cx="85725" cy="8890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6" y="2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2" y="18"/>
                  </a:cxn>
                  <a:cxn ang="0">
                    <a:pos x="0" y="28"/>
                  </a:cxn>
                  <a:cxn ang="0">
                    <a:pos x="2" y="38"/>
                  </a:cxn>
                  <a:cxn ang="0">
                    <a:pos x="8" y="48"/>
                  </a:cxn>
                  <a:cxn ang="0">
                    <a:pos x="8" y="48"/>
                  </a:cxn>
                  <a:cxn ang="0">
                    <a:pos x="16" y="54"/>
                  </a:cxn>
                  <a:cxn ang="0">
                    <a:pos x="26" y="56"/>
                  </a:cxn>
                  <a:cxn ang="0">
                    <a:pos x="26" y="56"/>
                  </a:cxn>
                  <a:cxn ang="0">
                    <a:pos x="38" y="54"/>
                  </a:cxn>
                  <a:cxn ang="0">
                    <a:pos x="46" y="48"/>
                  </a:cxn>
                  <a:cxn ang="0">
                    <a:pos x="46" y="48"/>
                  </a:cxn>
                  <a:cxn ang="0">
                    <a:pos x="52" y="38"/>
                  </a:cxn>
                  <a:cxn ang="0">
                    <a:pos x="54" y="28"/>
                  </a:cxn>
                  <a:cxn ang="0">
                    <a:pos x="52" y="18"/>
                  </a:cxn>
                  <a:cxn ang="0">
                    <a:pos x="46" y="8"/>
                  </a:cxn>
                  <a:cxn ang="0">
                    <a:pos x="46" y="8"/>
                  </a:cxn>
                  <a:cxn ang="0">
                    <a:pos x="38" y="2"/>
                  </a:cxn>
                  <a:cxn ang="0">
                    <a:pos x="26" y="0"/>
                  </a:cxn>
                </a:cxnLst>
                <a:rect l="0" t="0" r="r" b="b"/>
                <a:pathLst>
                  <a:path w="54" h="56">
                    <a:moveTo>
                      <a:pt x="26" y="0"/>
                    </a:moveTo>
                    <a:lnTo>
                      <a:pt x="26" y="0"/>
                    </a:lnTo>
                    <a:lnTo>
                      <a:pt x="16" y="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2" y="18"/>
                    </a:lnTo>
                    <a:lnTo>
                      <a:pt x="0" y="28"/>
                    </a:lnTo>
                    <a:lnTo>
                      <a:pt x="2" y="3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16" y="54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38" y="54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52" y="38"/>
                    </a:lnTo>
                    <a:lnTo>
                      <a:pt x="54" y="28"/>
                    </a:lnTo>
                    <a:lnTo>
                      <a:pt x="52" y="1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38" y="2"/>
                    </a:lnTo>
                    <a:lnTo>
                      <a:pt x="2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97" name="Freeform 133"/>
              <p:cNvSpPr>
                <a:spLocks/>
              </p:cNvSpPr>
              <p:nvPr userDrawn="1"/>
            </p:nvSpPr>
            <p:spPr bwMode="auto">
              <a:xfrm>
                <a:off x="5838825" y="3394075"/>
                <a:ext cx="76200" cy="76200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4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2" y="14"/>
                  </a:cxn>
                  <a:cxn ang="0">
                    <a:pos x="0" y="24"/>
                  </a:cxn>
                  <a:cxn ang="0">
                    <a:pos x="2" y="32"/>
                  </a:cxn>
                  <a:cxn ang="0">
                    <a:pos x="6" y="42"/>
                  </a:cxn>
                  <a:cxn ang="0">
                    <a:pos x="6" y="42"/>
                  </a:cxn>
                  <a:cxn ang="0">
                    <a:pos x="14" y="46"/>
                  </a:cxn>
                  <a:cxn ang="0">
                    <a:pos x="24" y="48"/>
                  </a:cxn>
                  <a:cxn ang="0">
                    <a:pos x="24" y="48"/>
                  </a:cxn>
                  <a:cxn ang="0">
                    <a:pos x="34" y="46"/>
                  </a:cxn>
                  <a:cxn ang="0">
                    <a:pos x="42" y="42"/>
                  </a:cxn>
                  <a:cxn ang="0">
                    <a:pos x="42" y="42"/>
                  </a:cxn>
                  <a:cxn ang="0">
                    <a:pos x="46" y="32"/>
                  </a:cxn>
                  <a:cxn ang="0">
                    <a:pos x="48" y="24"/>
                  </a:cxn>
                  <a:cxn ang="0">
                    <a:pos x="46" y="14"/>
                  </a:cxn>
                  <a:cxn ang="0">
                    <a:pos x="42" y="6"/>
                  </a:cxn>
                  <a:cxn ang="0">
                    <a:pos x="42" y="6"/>
                  </a:cxn>
                  <a:cxn ang="0">
                    <a:pos x="34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lnTo>
                      <a:pt x="24" y="0"/>
                    </a:lnTo>
                    <a:lnTo>
                      <a:pt x="14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2" y="14"/>
                    </a:lnTo>
                    <a:lnTo>
                      <a:pt x="0" y="24"/>
                    </a:lnTo>
                    <a:lnTo>
                      <a:pt x="2" y="3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14" y="46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34" y="46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6" y="32"/>
                    </a:lnTo>
                    <a:lnTo>
                      <a:pt x="48" y="24"/>
                    </a:lnTo>
                    <a:lnTo>
                      <a:pt x="46" y="14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34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98" name="Freeform 134"/>
              <p:cNvSpPr>
                <a:spLocks/>
              </p:cNvSpPr>
              <p:nvPr userDrawn="1"/>
            </p:nvSpPr>
            <p:spPr bwMode="auto">
              <a:xfrm>
                <a:off x="5838825" y="3394075"/>
                <a:ext cx="76200" cy="76200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4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2" y="14"/>
                  </a:cxn>
                  <a:cxn ang="0">
                    <a:pos x="0" y="24"/>
                  </a:cxn>
                  <a:cxn ang="0">
                    <a:pos x="2" y="32"/>
                  </a:cxn>
                  <a:cxn ang="0">
                    <a:pos x="6" y="42"/>
                  </a:cxn>
                  <a:cxn ang="0">
                    <a:pos x="6" y="42"/>
                  </a:cxn>
                  <a:cxn ang="0">
                    <a:pos x="14" y="46"/>
                  </a:cxn>
                  <a:cxn ang="0">
                    <a:pos x="24" y="48"/>
                  </a:cxn>
                  <a:cxn ang="0">
                    <a:pos x="24" y="48"/>
                  </a:cxn>
                  <a:cxn ang="0">
                    <a:pos x="34" y="46"/>
                  </a:cxn>
                  <a:cxn ang="0">
                    <a:pos x="42" y="42"/>
                  </a:cxn>
                  <a:cxn ang="0">
                    <a:pos x="42" y="42"/>
                  </a:cxn>
                  <a:cxn ang="0">
                    <a:pos x="46" y="32"/>
                  </a:cxn>
                  <a:cxn ang="0">
                    <a:pos x="48" y="24"/>
                  </a:cxn>
                  <a:cxn ang="0">
                    <a:pos x="46" y="14"/>
                  </a:cxn>
                  <a:cxn ang="0">
                    <a:pos x="42" y="6"/>
                  </a:cxn>
                  <a:cxn ang="0">
                    <a:pos x="42" y="6"/>
                  </a:cxn>
                  <a:cxn ang="0">
                    <a:pos x="34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lnTo>
                      <a:pt x="24" y="0"/>
                    </a:lnTo>
                    <a:lnTo>
                      <a:pt x="14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2" y="14"/>
                    </a:lnTo>
                    <a:lnTo>
                      <a:pt x="0" y="24"/>
                    </a:lnTo>
                    <a:lnTo>
                      <a:pt x="2" y="3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14" y="46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34" y="46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6" y="32"/>
                    </a:lnTo>
                    <a:lnTo>
                      <a:pt x="48" y="24"/>
                    </a:lnTo>
                    <a:lnTo>
                      <a:pt x="46" y="14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34" y="2"/>
                    </a:lnTo>
                    <a:lnTo>
                      <a:pt x="2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99" name="Freeform 135"/>
              <p:cNvSpPr>
                <a:spLocks/>
              </p:cNvSpPr>
              <p:nvPr userDrawn="1"/>
            </p:nvSpPr>
            <p:spPr bwMode="auto">
              <a:xfrm>
                <a:off x="6064250" y="3416300"/>
                <a:ext cx="69850" cy="69850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2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0" y="30"/>
                  </a:cxn>
                  <a:cxn ang="0">
                    <a:pos x="6" y="38"/>
                  </a:cxn>
                  <a:cxn ang="0">
                    <a:pos x="6" y="38"/>
                  </a:cxn>
                  <a:cxn ang="0">
                    <a:pos x="12" y="42"/>
                  </a:cxn>
                  <a:cxn ang="0">
                    <a:pos x="22" y="44"/>
                  </a:cxn>
                  <a:cxn ang="0">
                    <a:pos x="22" y="44"/>
                  </a:cxn>
                  <a:cxn ang="0">
                    <a:pos x="30" y="42"/>
                  </a:cxn>
                  <a:cxn ang="0">
                    <a:pos x="36" y="38"/>
                  </a:cxn>
                  <a:cxn ang="0">
                    <a:pos x="36" y="38"/>
                  </a:cxn>
                  <a:cxn ang="0">
                    <a:pos x="42" y="30"/>
                  </a:cxn>
                  <a:cxn ang="0">
                    <a:pos x="44" y="22"/>
                  </a:cxn>
                  <a:cxn ang="0">
                    <a:pos x="42" y="14"/>
                  </a:cxn>
                  <a:cxn ang="0">
                    <a:pos x="36" y="6"/>
                  </a:cxn>
                  <a:cxn ang="0">
                    <a:pos x="36" y="6"/>
                  </a:cxn>
                  <a:cxn ang="0">
                    <a:pos x="30" y="2"/>
                  </a:cxn>
                  <a:cxn ang="0">
                    <a:pos x="22" y="0"/>
                  </a:cxn>
                </a:cxnLst>
                <a:rect l="0" t="0" r="r" b="b"/>
                <a:pathLst>
                  <a:path w="44" h="44">
                    <a:moveTo>
                      <a:pt x="22" y="0"/>
                    </a:moveTo>
                    <a:lnTo>
                      <a:pt x="22" y="0"/>
                    </a:lnTo>
                    <a:lnTo>
                      <a:pt x="12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0" y="30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12" y="42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30" y="42"/>
                    </a:lnTo>
                    <a:lnTo>
                      <a:pt x="36" y="38"/>
                    </a:lnTo>
                    <a:lnTo>
                      <a:pt x="36" y="38"/>
                    </a:lnTo>
                    <a:lnTo>
                      <a:pt x="42" y="30"/>
                    </a:lnTo>
                    <a:lnTo>
                      <a:pt x="44" y="22"/>
                    </a:lnTo>
                    <a:lnTo>
                      <a:pt x="42" y="14"/>
                    </a:lnTo>
                    <a:lnTo>
                      <a:pt x="36" y="6"/>
                    </a:lnTo>
                    <a:lnTo>
                      <a:pt x="36" y="6"/>
                    </a:lnTo>
                    <a:lnTo>
                      <a:pt x="30" y="2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00" name="Freeform 136"/>
              <p:cNvSpPr>
                <a:spLocks/>
              </p:cNvSpPr>
              <p:nvPr userDrawn="1"/>
            </p:nvSpPr>
            <p:spPr bwMode="auto">
              <a:xfrm>
                <a:off x="6064250" y="3416300"/>
                <a:ext cx="69850" cy="69850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2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0" y="30"/>
                  </a:cxn>
                  <a:cxn ang="0">
                    <a:pos x="6" y="38"/>
                  </a:cxn>
                  <a:cxn ang="0">
                    <a:pos x="6" y="38"/>
                  </a:cxn>
                  <a:cxn ang="0">
                    <a:pos x="12" y="42"/>
                  </a:cxn>
                  <a:cxn ang="0">
                    <a:pos x="22" y="44"/>
                  </a:cxn>
                  <a:cxn ang="0">
                    <a:pos x="22" y="44"/>
                  </a:cxn>
                  <a:cxn ang="0">
                    <a:pos x="30" y="42"/>
                  </a:cxn>
                  <a:cxn ang="0">
                    <a:pos x="36" y="38"/>
                  </a:cxn>
                  <a:cxn ang="0">
                    <a:pos x="36" y="38"/>
                  </a:cxn>
                  <a:cxn ang="0">
                    <a:pos x="42" y="30"/>
                  </a:cxn>
                  <a:cxn ang="0">
                    <a:pos x="44" y="22"/>
                  </a:cxn>
                  <a:cxn ang="0">
                    <a:pos x="42" y="14"/>
                  </a:cxn>
                  <a:cxn ang="0">
                    <a:pos x="36" y="6"/>
                  </a:cxn>
                  <a:cxn ang="0">
                    <a:pos x="36" y="6"/>
                  </a:cxn>
                  <a:cxn ang="0">
                    <a:pos x="30" y="2"/>
                  </a:cxn>
                  <a:cxn ang="0">
                    <a:pos x="22" y="0"/>
                  </a:cxn>
                </a:cxnLst>
                <a:rect l="0" t="0" r="r" b="b"/>
                <a:pathLst>
                  <a:path w="44" h="44">
                    <a:moveTo>
                      <a:pt x="22" y="0"/>
                    </a:moveTo>
                    <a:lnTo>
                      <a:pt x="22" y="0"/>
                    </a:lnTo>
                    <a:lnTo>
                      <a:pt x="12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0" y="30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12" y="42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30" y="42"/>
                    </a:lnTo>
                    <a:lnTo>
                      <a:pt x="36" y="38"/>
                    </a:lnTo>
                    <a:lnTo>
                      <a:pt x="36" y="38"/>
                    </a:lnTo>
                    <a:lnTo>
                      <a:pt x="42" y="30"/>
                    </a:lnTo>
                    <a:lnTo>
                      <a:pt x="44" y="22"/>
                    </a:lnTo>
                    <a:lnTo>
                      <a:pt x="42" y="14"/>
                    </a:lnTo>
                    <a:lnTo>
                      <a:pt x="36" y="6"/>
                    </a:lnTo>
                    <a:lnTo>
                      <a:pt x="36" y="6"/>
                    </a:lnTo>
                    <a:lnTo>
                      <a:pt x="30" y="2"/>
                    </a:lnTo>
                    <a:lnTo>
                      <a:pt x="2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01" name="Freeform 137"/>
              <p:cNvSpPr>
                <a:spLocks/>
              </p:cNvSpPr>
              <p:nvPr userDrawn="1"/>
            </p:nvSpPr>
            <p:spPr bwMode="auto">
              <a:xfrm>
                <a:off x="6280150" y="3476625"/>
                <a:ext cx="63500" cy="63500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2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2" y="12"/>
                  </a:cxn>
                  <a:cxn ang="0">
                    <a:pos x="0" y="20"/>
                  </a:cxn>
                  <a:cxn ang="0">
                    <a:pos x="2" y="28"/>
                  </a:cxn>
                  <a:cxn ang="0">
                    <a:pos x="6" y="34"/>
                  </a:cxn>
                  <a:cxn ang="0">
                    <a:pos x="6" y="34"/>
                  </a:cxn>
                  <a:cxn ang="0">
                    <a:pos x="12" y="38"/>
                  </a:cxn>
                  <a:cxn ang="0">
                    <a:pos x="20" y="40"/>
                  </a:cxn>
                  <a:cxn ang="0">
                    <a:pos x="20" y="40"/>
                  </a:cxn>
                  <a:cxn ang="0">
                    <a:pos x="28" y="38"/>
                  </a:cxn>
                  <a:cxn ang="0">
                    <a:pos x="34" y="34"/>
                  </a:cxn>
                  <a:cxn ang="0">
                    <a:pos x="34" y="34"/>
                  </a:cxn>
                  <a:cxn ang="0">
                    <a:pos x="38" y="28"/>
                  </a:cxn>
                  <a:cxn ang="0">
                    <a:pos x="40" y="20"/>
                  </a:cxn>
                  <a:cxn ang="0">
                    <a:pos x="38" y="12"/>
                  </a:cxn>
                  <a:cxn ang="0">
                    <a:pos x="34" y="6"/>
                  </a:cxn>
                  <a:cxn ang="0">
                    <a:pos x="34" y="6"/>
                  </a:cxn>
                  <a:cxn ang="0">
                    <a:pos x="28" y="2"/>
                  </a:cxn>
                  <a:cxn ang="0">
                    <a:pos x="20" y="0"/>
                  </a:cxn>
                </a:cxnLst>
                <a:rect l="0" t="0" r="r" b="b"/>
                <a:pathLst>
                  <a:path w="40" h="40">
                    <a:moveTo>
                      <a:pt x="20" y="0"/>
                    </a:moveTo>
                    <a:lnTo>
                      <a:pt x="20" y="0"/>
                    </a:lnTo>
                    <a:lnTo>
                      <a:pt x="12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2" y="12"/>
                    </a:lnTo>
                    <a:lnTo>
                      <a:pt x="0" y="20"/>
                    </a:lnTo>
                    <a:lnTo>
                      <a:pt x="2" y="28"/>
                    </a:lnTo>
                    <a:lnTo>
                      <a:pt x="6" y="34"/>
                    </a:lnTo>
                    <a:lnTo>
                      <a:pt x="6" y="34"/>
                    </a:lnTo>
                    <a:lnTo>
                      <a:pt x="12" y="38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8" y="38"/>
                    </a:lnTo>
                    <a:lnTo>
                      <a:pt x="34" y="34"/>
                    </a:lnTo>
                    <a:lnTo>
                      <a:pt x="34" y="34"/>
                    </a:lnTo>
                    <a:lnTo>
                      <a:pt x="38" y="28"/>
                    </a:lnTo>
                    <a:lnTo>
                      <a:pt x="40" y="20"/>
                    </a:lnTo>
                    <a:lnTo>
                      <a:pt x="38" y="12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28" y="2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02" name="Freeform 138"/>
              <p:cNvSpPr>
                <a:spLocks/>
              </p:cNvSpPr>
              <p:nvPr userDrawn="1"/>
            </p:nvSpPr>
            <p:spPr bwMode="auto">
              <a:xfrm>
                <a:off x="6280150" y="3476625"/>
                <a:ext cx="63500" cy="63500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2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2" y="12"/>
                  </a:cxn>
                  <a:cxn ang="0">
                    <a:pos x="0" y="20"/>
                  </a:cxn>
                  <a:cxn ang="0">
                    <a:pos x="2" y="28"/>
                  </a:cxn>
                  <a:cxn ang="0">
                    <a:pos x="6" y="34"/>
                  </a:cxn>
                  <a:cxn ang="0">
                    <a:pos x="6" y="34"/>
                  </a:cxn>
                  <a:cxn ang="0">
                    <a:pos x="12" y="38"/>
                  </a:cxn>
                  <a:cxn ang="0">
                    <a:pos x="20" y="40"/>
                  </a:cxn>
                  <a:cxn ang="0">
                    <a:pos x="20" y="40"/>
                  </a:cxn>
                  <a:cxn ang="0">
                    <a:pos x="28" y="38"/>
                  </a:cxn>
                  <a:cxn ang="0">
                    <a:pos x="34" y="34"/>
                  </a:cxn>
                  <a:cxn ang="0">
                    <a:pos x="34" y="34"/>
                  </a:cxn>
                  <a:cxn ang="0">
                    <a:pos x="38" y="28"/>
                  </a:cxn>
                  <a:cxn ang="0">
                    <a:pos x="40" y="20"/>
                  </a:cxn>
                  <a:cxn ang="0">
                    <a:pos x="38" y="12"/>
                  </a:cxn>
                  <a:cxn ang="0">
                    <a:pos x="34" y="6"/>
                  </a:cxn>
                  <a:cxn ang="0">
                    <a:pos x="34" y="6"/>
                  </a:cxn>
                  <a:cxn ang="0">
                    <a:pos x="28" y="2"/>
                  </a:cxn>
                  <a:cxn ang="0">
                    <a:pos x="20" y="0"/>
                  </a:cxn>
                </a:cxnLst>
                <a:rect l="0" t="0" r="r" b="b"/>
                <a:pathLst>
                  <a:path w="40" h="40">
                    <a:moveTo>
                      <a:pt x="20" y="0"/>
                    </a:moveTo>
                    <a:lnTo>
                      <a:pt x="20" y="0"/>
                    </a:lnTo>
                    <a:lnTo>
                      <a:pt x="12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2" y="12"/>
                    </a:lnTo>
                    <a:lnTo>
                      <a:pt x="0" y="20"/>
                    </a:lnTo>
                    <a:lnTo>
                      <a:pt x="2" y="28"/>
                    </a:lnTo>
                    <a:lnTo>
                      <a:pt x="6" y="34"/>
                    </a:lnTo>
                    <a:lnTo>
                      <a:pt x="6" y="34"/>
                    </a:lnTo>
                    <a:lnTo>
                      <a:pt x="12" y="38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8" y="38"/>
                    </a:lnTo>
                    <a:lnTo>
                      <a:pt x="34" y="34"/>
                    </a:lnTo>
                    <a:lnTo>
                      <a:pt x="34" y="34"/>
                    </a:lnTo>
                    <a:lnTo>
                      <a:pt x="38" y="28"/>
                    </a:lnTo>
                    <a:lnTo>
                      <a:pt x="40" y="20"/>
                    </a:lnTo>
                    <a:lnTo>
                      <a:pt x="38" y="12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28" y="2"/>
                    </a:lnTo>
                    <a:lnTo>
                      <a:pt x="2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03" name="Freeform 139"/>
              <p:cNvSpPr>
                <a:spLocks/>
              </p:cNvSpPr>
              <p:nvPr userDrawn="1"/>
            </p:nvSpPr>
            <p:spPr bwMode="auto">
              <a:xfrm>
                <a:off x="6483350" y="3575050"/>
                <a:ext cx="57150" cy="53975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0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6" y="30"/>
                  </a:cxn>
                  <a:cxn ang="0">
                    <a:pos x="6" y="30"/>
                  </a:cxn>
                  <a:cxn ang="0">
                    <a:pos x="12" y="34"/>
                  </a:cxn>
                  <a:cxn ang="0">
                    <a:pos x="18" y="34"/>
                  </a:cxn>
                  <a:cxn ang="0">
                    <a:pos x="18" y="34"/>
                  </a:cxn>
                  <a:cxn ang="0">
                    <a:pos x="26" y="34"/>
                  </a:cxn>
                  <a:cxn ang="0">
                    <a:pos x="32" y="30"/>
                  </a:cxn>
                  <a:cxn ang="0">
                    <a:pos x="32" y="30"/>
                  </a:cxn>
                  <a:cxn ang="0">
                    <a:pos x="36" y="24"/>
                  </a:cxn>
                  <a:cxn ang="0">
                    <a:pos x="36" y="18"/>
                  </a:cxn>
                  <a:cxn ang="0">
                    <a:pos x="36" y="10"/>
                  </a:cxn>
                  <a:cxn ang="0">
                    <a:pos x="32" y="4"/>
                  </a:cxn>
                  <a:cxn ang="0">
                    <a:pos x="32" y="4"/>
                  </a:cxn>
                  <a:cxn ang="0">
                    <a:pos x="26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4">
                    <a:moveTo>
                      <a:pt x="18" y="0"/>
                    </a:moveTo>
                    <a:lnTo>
                      <a:pt x="18" y="0"/>
                    </a:lnTo>
                    <a:lnTo>
                      <a:pt x="12" y="0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12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26" y="34"/>
                    </a:lnTo>
                    <a:lnTo>
                      <a:pt x="32" y="30"/>
                    </a:lnTo>
                    <a:lnTo>
                      <a:pt x="32" y="30"/>
                    </a:lnTo>
                    <a:lnTo>
                      <a:pt x="36" y="24"/>
                    </a:lnTo>
                    <a:lnTo>
                      <a:pt x="36" y="18"/>
                    </a:lnTo>
                    <a:lnTo>
                      <a:pt x="36" y="10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26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04" name="Freeform 140"/>
              <p:cNvSpPr>
                <a:spLocks/>
              </p:cNvSpPr>
              <p:nvPr userDrawn="1"/>
            </p:nvSpPr>
            <p:spPr bwMode="auto">
              <a:xfrm>
                <a:off x="6483350" y="3575050"/>
                <a:ext cx="57150" cy="53975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0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6" y="30"/>
                  </a:cxn>
                  <a:cxn ang="0">
                    <a:pos x="6" y="30"/>
                  </a:cxn>
                  <a:cxn ang="0">
                    <a:pos x="12" y="34"/>
                  </a:cxn>
                  <a:cxn ang="0">
                    <a:pos x="18" y="34"/>
                  </a:cxn>
                  <a:cxn ang="0">
                    <a:pos x="18" y="34"/>
                  </a:cxn>
                  <a:cxn ang="0">
                    <a:pos x="26" y="34"/>
                  </a:cxn>
                  <a:cxn ang="0">
                    <a:pos x="32" y="30"/>
                  </a:cxn>
                  <a:cxn ang="0">
                    <a:pos x="32" y="30"/>
                  </a:cxn>
                  <a:cxn ang="0">
                    <a:pos x="36" y="24"/>
                  </a:cxn>
                  <a:cxn ang="0">
                    <a:pos x="36" y="18"/>
                  </a:cxn>
                  <a:cxn ang="0">
                    <a:pos x="36" y="10"/>
                  </a:cxn>
                  <a:cxn ang="0">
                    <a:pos x="32" y="4"/>
                  </a:cxn>
                  <a:cxn ang="0">
                    <a:pos x="32" y="4"/>
                  </a:cxn>
                  <a:cxn ang="0">
                    <a:pos x="26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4">
                    <a:moveTo>
                      <a:pt x="18" y="0"/>
                    </a:moveTo>
                    <a:lnTo>
                      <a:pt x="18" y="0"/>
                    </a:lnTo>
                    <a:lnTo>
                      <a:pt x="12" y="0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12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26" y="34"/>
                    </a:lnTo>
                    <a:lnTo>
                      <a:pt x="32" y="30"/>
                    </a:lnTo>
                    <a:lnTo>
                      <a:pt x="32" y="30"/>
                    </a:lnTo>
                    <a:lnTo>
                      <a:pt x="36" y="24"/>
                    </a:lnTo>
                    <a:lnTo>
                      <a:pt x="36" y="18"/>
                    </a:lnTo>
                    <a:lnTo>
                      <a:pt x="36" y="10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26" y="0"/>
                    </a:lnTo>
                    <a:lnTo>
                      <a:pt x="1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05" name="Freeform 141"/>
              <p:cNvSpPr>
                <a:spLocks/>
              </p:cNvSpPr>
              <p:nvPr userDrawn="1"/>
            </p:nvSpPr>
            <p:spPr bwMode="auto">
              <a:xfrm>
                <a:off x="6670675" y="3705225"/>
                <a:ext cx="50800" cy="5080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10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4" y="26"/>
                  </a:cxn>
                  <a:cxn ang="0">
                    <a:pos x="4" y="26"/>
                  </a:cxn>
                  <a:cxn ang="0">
                    <a:pos x="10" y="30"/>
                  </a:cxn>
                  <a:cxn ang="0">
                    <a:pos x="16" y="32"/>
                  </a:cxn>
                  <a:cxn ang="0">
                    <a:pos x="16" y="32"/>
                  </a:cxn>
                  <a:cxn ang="0">
                    <a:pos x="22" y="30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30" y="22"/>
                  </a:cxn>
                  <a:cxn ang="0">
                    <a:pos x="32" y="16"/>
                  </a:cxn>
                  <a:cxn ang="0">
                    <a:pos x="30" y="10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2" y="0"/>
                  </a:cxn>
                  <a:cxn ang="0">
                    <a:pos x="16" y="0"/>
                  </a:cxn>
                </a:cxnLst>
                <a:rect l="0" t="0" r="r" b="b"/>
                <a:pathLst>
                  <a:path w="32" h="32">
                    <a:moveTo>
                      <a:pt x="16" y="0"/>
                    </a:moveTo>
                    <a:lnTo>
                      <a:pt x="16" y="0"/>
                    </a:lnTo>
                    <a:lnTo>
                      <a:pt x="10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10" y="30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22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30" y="22"/>
                    </a:lnTo>
                    <a:lnTo>
                      <a:pt x="32" y="16"/>
                    </a:lnTo>
                    <a:lnTo>
                      <a:pt x="30" y="1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2" y="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06" name="Freeform 142"/>
              <p:cNvSpPr>
                <a:spLocks/>
              </p:cNvSpPr>
              <p:nvPr userDrawn="1"/>
            </p:nvSpPr>
            <p:spPr bwMode="auto">
              <a:xfrm>
                <a:off x="6670675" y="3705225"/>
                <a:ext cx="50800" cy="5080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10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4" y="26"/>
                  </a:cxn>
                  <a:cxn ang="0">
                    <a:pos x="4" y="26"/>
                  </a:cxn>
                  <a:cxn ang="0">
                    <a:pos x="10" y="30"/>
                  </a:cxn>
                  <a:cxn ang="0">
                    <a:pos x="16" y="32"/>
                  </a:cxn>
                  <a:cxn ang="0">
                    <a:pos x="16" y="32"/>
                  </a:cxn>
                  <a:cxn ang="0">
                    <a:pos x="22" y="30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30" y="22"/>
                  </a:cxn>
                  <a:cxn ang="0">
                    <a:pos x="32" y="16"/>
                  </a:cxn>
                  <a:cxn ang="0">
                    <a:pos x="30" y="10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2" y="0"/>
                  </a:cxn>
                  <a:cxn ang="0">
                    <a:pos x="16" y="0"/>
                  </a:cxn>
                </a:cxnLst>
                <a:rect l="0" t="0" r="r" b="b"/>
                <a:pathLst>
                  <a:path w="32" h="32">
                    <a:moveTo>
                      <a:pt x="16" y="0"/>
                    </a:moveTo>
                    <a:lnTo>
                      <a:pt x="16" y="0"/>
                    </a:lnTo>
                    <a:lnTo>
                      <a:pt x="10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10" y="30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22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30" y="22"/>
                    </a:lnTo>
                    <a:lnTo>
                      <a:pt x="32" y="16"/>
                    </a:lnTo>
                    <a:lnTo>
                      <a:pt x="30" y="1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2" y="0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07" name="Freeform 143"/>
              <p:cNvSpPr>
                <a:spLocks/>
              </p:cNvSpPr>
              <p:nvPr userDrawn="1"/>
            </p:nvSpPr>
            <p:spPr bwMode="auto">
              <a:xfrm>
                <a:off x="6829425" y="3863975"/>
                <a:ext cx="44450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20"/>
                  </a:cxn>
                  <a:cxn ang="0">
                    <a:pos x="4" y="24"/>
                  </a:cxn>
                  <a:cxn ang="0">
                    <a:pos x="4" y="24"/>
                  </a:cxn>
                  <a:cxn ang="0">
                    <a:pos x="8" y="28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20" y="28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8" y="20"/>
                  </a:cxn>
                  <a:cxn ang="0">
                    <a:pos x="28" y="14"/>
                  </a:cxn>
                  <a:cxn ang="0">
                    <a:pos x="28" y="8"/>
                  </a:cxn>
                  <a:cxn ang="0">
                    <a:pos x="24" y="4"/>
                  </a:cxn>
                  <a:cxn ang="0">
                    <a:pos x="24" y="4"/>
                  </a:cxn>
                  <a:cxn ang="0">
                    <a:pos x="20" y="0"/>
                  </a:cxn>
                  <a:cxn ang="0">
                    <a:pos x="14" y="0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lnTo>
                      <a:pt x="14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20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8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20" y="28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8" y="20"/>
                    </a:lnTo>
                    <a:lnTo>
                      <a:pt x="28" y="14"/>
                    </a:lnTo>
                    <a:lnTo>
                      <a:pt x="28" y="8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0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08" name="Freeform 144"/>
              <p:cNvSpPr>
                <a:spLocks/>
              </p:cNvSpPr>
              <p:nvPr userDrawn="1"/>
            </p:nvSpPr>
            <p:spPr bwMode="auto">
              <a:xfrm>
                <a:off x="6829425" y="3863975"/>
                <a:ext cx="44450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20"/>
                  </a:cxn>
                  <a:cxn ang="0">
                    <a:pos x="4" y="24"/>
                  </a:cxn>
                  <a:cxn ang="0">
                    <a:pos x="4" y="24"/>
                  </a:cxn>
                  <a:cxn ang="0">
                    <a:pos x="8" y="28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20" y="28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8" y="20"/>
                  </a:cxn>
                  <a:cxn ang="0">
                    <a:pos x="28" y="14"/>
                  </a:cxn>
                  <a:cxn ang="0">
                    <a:pos x="28" y="8"/>
                  </a:cxn>
                  <a:cxn ang="0">
                    <a:pos x="24" y="4"/>
                  </a:cxn>
                  <a:cxn ang="0">
                    <a:pos x="24" y="4"/>
                  </a:cxn>
                  <a:cxn ang="0">
                    <a:pos x="20" y="0"/>
                  </a:cxn>
                  <a:cxn ang="0">
                    <a:pos x="14" y="0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lnTo>
                      <a:pt x="14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20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8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20" y="28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8" y="20"/>
                    </a:lnTo>
                    <a:lnTo>
                      <a:pt x="28" y="14"/>
                    </a:lnTo>
                    <a:lnTo>
                      <a:pt x="28" y="8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0" y="0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09" name="Freeform 145"/>
              <p:cNvSpPr>
                <a:spLocks/>
              </p:cNvSpPr>
              <p:nvPr userDrawn="1"/>
            </p:nvSpPr>
            <p:spPr bwMode="auto">
              <a:xfrm>
                <a:off x="4841875" y="3825875"/>
                <a:ext cx="120650" cy="120650"/>
              </a:xfrm>
              <a:custGeom>
                <a:avLst/>
                <a:gdLst/>
                <a:ahLst/>
                <a:cxnLst>
                  <a:cxn ang="0">
                    <a:pos x="38" y="0"/>
                  </a:cxn>
                  <a:cxn ang="0">
                    <a:pos x="38" y="0"/>
                  </a:cxn>
                  <a:cxn ang="0">
                    <a:pos x="30" y="2"/>
                  </a:cxn>
                  <a:cxn ang="0">
                    <a:pos x="24" y="4"/>
                  </a:cxn>
                  <a:cxn ang="0">
                    <a:pos x="18" y="6"/>
                  </a:cxn>
                  <a:cxn ang="0">
                    <a:pos x="12" y="12"/>
                  </a:cxn>
                  <a:cxn ang="0">
                    <a:pos x="12" y="12"/>
                  </a:cxn>
                  <a:cxn ang="0">
                    <a:pos x="8" y="18"/>
                  </a:cxn>
                  <a:cxn ang="0">
                    <a:pos x="4" y="24"/>
                  </a:cxn>
                  <a:cxn ang="0">
                    <a:pos x="2" y="30"/>
                  </a:cxn>
                  <a:cxn ang="0">
                    <a:pos x="0" y="38"/>
                  </a:cxn>
                  <a:cxn ang="0">
                    <a:pos x="2" y="46"/>
                  </a:cxn>
                  <a:cxn ang="0">
                    <a:pos x="4" y="52"/>
                  </a:cxn>
                  <a:cxn ang="0">
                    <a:pos x="8" y="58"/>
                  </a:cxn>
                  <a:cxn ang="0">
                    <a:pos x="12" y="64"/>
                  </a:cxn>
                  <a:cxn ang="0">
                    <a:pos x="12" y="64"/>
                  </a:cxn>
                  <a:cxn ang="0">
                    <a:pos x="18" y="70"/>
                  </a:cxn>
                  <a:cxn ang="0">
                    <a:pos x="24" y="72"/>
                  </a:cxn>
                  <a:cxn ang="0">
                    <a:pos x="32" y="74"/>
                  </a:cxn>
                  <a:cxn ang="0">
                    <a:pos x="38" y="76"/>
                  </a:cxn>
                  <a:cxn ang="0">
                    <a:pos x="38" y="76"/>
                  </a:cxn>
                  <a:cxn ang="0">
                    <a:pos x="46" y="74"/>
                  </a:cxn>
                  <a:cxn ang="0">
                    <a:pos x="52" y="72"/>
                  </a:cxn>
                  <a:cxn ang="0">
                    <a:pos x="58" y="70"/>
                  </a:cxn>
                  <a:cxn ang="0">
                    <a:pos x="64" y="64"/>
                  </a:cxn>
                  <a:cxn ang="0">
                    <a:pos x="64" y="64"/>
                  </a:cxn>
                  <a:cxn ang="0">
                    <a:pos x="70" y="58"/>
                  </a:cxn>
                  <a:cxn ang="0">
                    <a:pos x="72" y="52"/>
                  </a:cxn>
                  <a:cxn ang="0">
                    <a:pos x="74" y="46"/>
                  </a:cxn>
                  <a:cxn ang="0">
                    <a:pos x="76" y="38"/>
                  </a:cxn>
                  <a:cxn ang="0">
                    <a:pos x="74" y="30"/>
                  </a:cxn>
                  <a:cxn ang="0">
                    <a:pos x="72" y="24"/>
                  </a:cxn>
                  <a:cxn ang="0">
                    <a:pos x="70" y="18"/>
                  </a:cxn>
                  <a:cxn ang="0">
                    <a:pos x="64" y="12"/>
                  </a:cxn>
                  <a:cxn ang="0">
                    <a:pos x="64" y="12"/>
                  </a:cxn>
                  <a:cxn ang="0">
                    <a:pos x="58" y="6"/>
                  </a:cxn>
                  <a:cxn ang="0">
                    <a:pos x="52" y="4"/>
                  </a:cxn>
                  <a:cxn ang="0">
                    <a:pos x="46" y="2"/>
                  </a:cxn>
                  <a:cxn ang="0">
                    <a:pos x="38" y="0"/>
                  </a:cxn>
                </a:cxnLst>
                <a:rect l="0" t="0" r="r" b="b"/>
                <a:pathLst>
                  <a:path w="76" h="76">
                    <a:moveTo>
                      <a:pt x="38" y="0"/>
                    </a:moveTo>
                    <a:lnTo>
                      <a:pt x="38" y="0"/>
                    </a:lnTo>
                    <a:lnTo>
                      <a:pt x="30" y="2"/>
                    </a:lnTo>
                    <a:lnTo>
                      <a:pt x="24" y="4"/>
                    </a:lnTo>
                    <a:lnTo>
                      <a:pt x="18" y="6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8" y="18"/>
                    </a:lnTo>
                    <a:lnTo>
                      <a:pt x="4" y="24"/>
                    </a:lnTo>
                    <a:lnTo>
                      <a:pt x="2" y="30"/>
                    </a:lnTo>
                    <a:lnTo>
                      <a:pt x="0" y="38"/>
                    </a:lnTo>
                    <a:lnTo>
                      <a:pt x="2" y="46"/>
                    </a:lnTo>
                    <a:lnTo>
                      <a:pt x="4" y="52"/>
                    </a:lnTo>
                    <a:lnTo>
                      <a:pt x="8" y="58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8" y="70"/>
                    </a:lnTo>
                    <a:lnTo>
                      <a:pt x="24" y="72"/>
                    </a:lnTo>
                    <a:lnTo>
                      <a:pt x="32" y="74"/>
                    </a:lnTo>
                    <a:lnTo>
                      <a:pt x="38" y="76"/>
                    </a:lnTo>
                    <a:lnTo>
                      <a:pt x="38" y="76"/>
                    </a:lnTo>
                    <a:lnTo>
                      <a:pt x="46" y="74"/>
                    </a:lnTo>
                    <a:lnTo>
                      <a:pt x="52" y="72"/>
                    </a:lnTo>
                    <a:lnTo>
                      <a:pt x="58" y="70"/>
                    </a:lnTo>
                    <a:lnTo>
                      <a:pt x="64" y="64"/>
                    </a:lnTo>
                    <a:lnTo>
                      <a:pt x="64" y="64"/>
                    </a:lnTo>
                    <a:lnTo>
                      <a:pt x="70" y="58"/>
                    </a:lnTo>
                    <a:lnTo>
                      <a:pt x="72" y="52"/>
                    </a:lnTo>
                    <a:lnTo>
                      <a:pt x="74" y="46"/>
                    </a:lnTo>
                    <a:lnTo>
                      <a:pt x="76" y="38"/>
                    </a:lnTo>
                    <a:lnTo>
                      <a:pt x="74" y="30"/>
                    </a:lnTo>
                    <a:lnTo>
                      <a:pt x="72" y="24"/>
                    </a:lnTo>
                    <a:lnTo>
                      <a:pt x="70" y="18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58" y="6"/>
                    </a:lnTo>
                    <a:lnTo>
                      <a:pt x="52" y="4"/>
                    </a:lnTo>
                    <a:lnTo>
                      <a:pt x="46" y="2"/>
                    </a:lnTo>
                    <a:lnTo>
                      <a:pt x="3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10" name="Freeform 146"/>
              <p:cNvSpPr>
                <a:spLocks/>
              </p:cNvSpPr>
              <p:nvPr userDrawn="1"/>
            </p:nvSpPr>
            <p:spPr bwMode="auto">
              <a:xfrm>
                <a:off x="4841875" y="3825875"/>
                <a:ext cx="120650" cy="120650"/>
              </a:xfrm>
              <a:custGeom>
                <a:avLst/>
                <a:gdLst/>
                <a:ahLst/>
                <a:cxnLst>
                  <a:cxn ang="0">
                    <a:pos x="38" y="0"/>
                  </a:cxn>
                  <a:cxn ang="0">
                    <a:pos x="38" y="0"/>
                  </a:cxn>
                  <a:cxn ang="0">
                    <a:pos x="30" y="2"/>
                  </a:cxn>
                  <a:cxn ang="0">
                    <a:pos x="24" y="4"/>
                  </a:cxn>
                  <a:cxn ang="0">
                    <a:pos x="18" y="6"/>
                  </a:cxn>
                  <a:cxn ang="0">
                    <a:pos x="12" y="12"/>
                  </a:cxn>
                  <a:cxn ang="0">
                    <a:pos x="12" y="12"/>
                  </a:cxn>
                  <a:cxn ang="0">
                    <a:pos x="8" y="18"/>
                  </a:cxn>
                  <a:cxn ang="0">
                    <a:pos x="4" y="24"/>
                  </a:cxn>
                  <a:cxn ang="0">
                    <a:pos x="2" y="30"/>
                  </a:cxn>
                  <a:cxn ang="0">
                    <a:pos x="0" y="38"/>
                  </a:cxn>
                  <a:cxn ang="0">
                    <a:pos x="2" y="46"/>
                  </a:cxn>
                  <a:cxn ang="0">
                    <a:pos x="4" y="52"/>
                  </a:cxn>
                  <a:cxn ang="0">
                    <a:pos x="8" y="58"/>
                  </a:cxn>
                  <a:cxn ang="0">
                    <a:pos x="12" y="64"/>
                  </a:cxn>
                  <a:cxn ang="0">
                    <a:pos x="12" y="64"/>
                  </a:cxn>
                  <a:cxn ang="0">
                    <a:pos x="18" y="70"/>
                  </a:cxn>
                  <a:cxn ang="0">
                    <a:pos x="24" y="72"/>
                  </a:cxn>
                  <a:cxn ang="0">
                    <a:pos x="32" y="74"/>
                  </a:cxn>
                  <a:cxn ang="0">
                    <a:pos x="38" y="76"/>
                  </a:cxn>
                  <a:cxn ang="0">
                    <a:pos x="38" y="76"/>
                  </a:cxn>
                  <a:cxn ang="0">
                    <a:pos x="46" y="74"/>
                  </a:cxn>
                  <a:cxn ang="0">
                    <a:pos x="52" y="72"/>
                  </a:cxn>
                  <a:cxn ang="0">
                    <a:pos x="58" y="70"/>
                  </a:cxn>
                  <a:cxn ang="0">
                    <a:pos x="64" y="64"/>
                  </a:cxn>
                  <a:cxn ang="0">
                    <a:pos x="64" y="64"/>
                  </a:cxn>
                  <a:cxn ang="0">
                    <a:pos x="70" y="58"/>
                  </a:cxn>
                  <a:cxn ang="0">
                    <a:pos x="72" y="52"/>
                  </a:cxn>
                  <a:cxn ang="0">
                    <a:pos x="74" y="46"/>
                  </a:cxn>
                  <a:cxn ang="0">
                    <a:pos x="76" y="38"/>
                  </a:cxn>
                  <a:cxn ang="0">
                    <a:pos x="74" y="30"/>
                  </a:cxn>
                  <a:cxn ang="0">
                    <a:pos x="72" y="24"/>
                  </a:cxn>
                  <a:cxn ang="0">
                    <a:pos x="70" y="18"/>
                  </a:cxn>
                  <a:cxn ang="0">
                    <a:pos x="64" y="12"/>
                  </a:cxn>
                  <a:cxn ang="0">
                    <a:pos x="64" y="12"/>
                  </a:cxn>
                  <a:cxn ang="0">
                    <a:pos x="58" y="6"/>
                  </a:cxn>
                  <a:cxn ang="0">
                    <a:pos x="52" y="4"/>
                  </a:cxn>
                  <a:cxn ang="0">
                    <a:pos x="46" y="2"/>
                  </a:cxn>
                  <a:cxn ang="0">
                    <a:pos x="38" y="0"/>
                  </a:cxn>
                </a:cxnLst>
                <a:rect l="0" t="0" r="r" b="b"/>
                <a:pathLst>
                  <a:path w="76" h="76">
                    <a:moveTo>
                      <a:pt x="38" y="0"/>
                    </a:moveTo>
                    <a:lnTo>
                      <a:pt x="38" y="0"/>
                    </a:lnTo>
                    <a:lnTo>
                      <a:pt x="30" y="2"/>
                    </a:lnTo>
                    <a:lnTo>
                      <a:pt x="24" y="4"/>
                    </a:lnTo>
                    <a:lnTo>
                      <a:pt x="18" y="6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8" y="18"/>
                    </a:lnTo>
                    <a:lnTo>
                      <a:pt x="4" y="24"/>
                    </a:lnTo>
                    <a:lnTo>
                      <a:pt x="2" y="30"/>
                    </a:lnTo>
                    <a:lnTo>
                      <a:pt x="0" y="38"/>
                    </a:lnTo>
                    <a:lnTo>
                      <a:pt x="2" y="46"/>
                    </a:lnTo>
                    <a:lnTo>
                      <a:pt x="4" y="52"/>
                    </a:lnTo>
                    <a:lnTo>
                      <a:pt x="8" y="58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8" y="70"/>
                    </a:lnTo>
                    <a:lnTo>
                      <a:pt x="24" y="72"/>
                    </a:lnTo>
                    <a:lnTo>
                      <a:pt x="32" y="74"/>
                    </a:lnTo>
                    <a:lnTo>
                      <a:pt x="38" y="76"/>
                    </a:lnTo>
                    <a:lnTo>
                      <a:pt x="38" y="76"/>
                    </a:lnTo>
                    <a:lnTo>
                      <a:pt x="46" y="74"/>
                    </a:lnTo>
                    <a:lnTo>
                      <a:pt x="52" y="72"/>
                    </a:lnTo>
                    <a:lnTo>
                      <a:pt x="58" y="70"/>
                    </a:lnTo>
                    <a:lnTo>
                      <a:pt x="64" y="64"/>
                    </a:lnTo>
                    <a:lnTo>
                      <a:pt x="64" y="64"/>
                    </a:lnTo>
                    <a:lnTo>
                      <a:pt x="70" y="58"/>
                    </a:lnTo>
                    <a:lnTo>
                      <a:pt x="72" y="52"/>
                    </a:lnTo>
                    <a:lnTo>
                      <a:pt x="74" y="46"/>
                    </a:lnTo>
                    <a:lnTo>
                      <a:pt x="76" y="38"/>
                    </a:lnTo>
                    <a:lnTo>
                      <a:pt x="74" y="30"/>
                    </a:lnTo>
                    <a:lnTo>
                      <a:pt x="72" y="24"/>
                    </a:lnTo>
                    <a:lnTo>
                      <a:pt x="70" y="18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58" y="6"/>
                    </a:lnTo>
                    <a:lnTo>
                      <a:pt x="52" y="4"/>
                    </a:lnTo>
                    <a:lnTo>
                      <a:pt x="46" y="2"/>
                    </a:lnTo>
                    <a:lnTo>
                      <a:pt x="3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11" name="Freeform 147"/>
              <p:cNvSpPr>
                <a:spLocks/>
              </p:cNvSpPr>
              <p:nvPr userDrawn="1"/>
            </p:nvSpPr>
            <p:spPr bwMode="auto">
              <a:xfrm>
                <a:off x="4721225" y="4013200"/>
                <a:ext cx="107950" cy="107950"/>
              </a:xfrm>
              <a:custGeom>
                <a:avLst/>
                <a:gdLst/>
                <a:ahLst/>
                <a:cxnLst>
                  <a:cxn ang="0">
                    <a:pos x="34" y="0"/>
                  </a:cxn>
                  <a:cxn ang="0">
                    <a:pos x="34" y="0"/>
                  </a:cxn>
                  <a:cxn ang="0">
                    <a:pos x="28" y="2"/>
                  </a:cxn>
                  <a:cxn ang="0">
                    <a:pos x="22" y="4"/>
                  </a:cxn>
                  <a:cxn ang="0">
                    <a:pos x="16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6"/>
                  </a:cxn>
                  <a:cxn ang="0">
                    <a:pos x="2" y="22"/>
                  </a:cxn>
                  <a:cxn ang="0">
                    <a:pos x="2" y="28"/>
                  </a:cxn>
                  <a:cxn ang="0">
                    <a:pos x="0" y="34"/>
                  </a:cxn>
                  <a:cxn ang="0">
                    <a:pos x="2" y="40"/>
                  </a:cxn>
                  <a:cxn ang="0">
                    <a:pos x="2" y="48"/>
                  </a:cxn>
                  <a:cxn ang="0">
                    <a:pos x="6" y="52"/>
                  </a:cxn>
                  <a:cxn ang="0">
                    <a:pos x="10" y="58"/>
                  </a:cxn>
                  <a:cxn ang="0">
                    <a:pos x="10" y="58"/>
                  </a:cxn>
                  <a:cxn ang="0">
                    <a:pos x="16" y="62"/>
                  </a:cxn>
                  <a:cxn ang="0">
                    <a:pos x="22" y="66"/>
                  </a:cxn>
                  <a:cxn ang="0">
                    <a:pos x="28" y="68"/>
                  </a:cxn>
                  <a:cxn ang="0">
                    <a:pos x="34" y="68"/>
                  </a:cxn>
                  <a:cxn ang="0">
                    <a:pos x="34" y="68"/>
                  </a:cxn>
                  <a:cxn ang="0">
                    <a:pos x="40" y="68"/>
                  </a:cxn>
                  <a:cxn ang="0">
                    <a:pos x="46" y="66"/>
                  </a:cxn>
                  <a:cxn ang="0">
                    <a:pos x="52" y="62"/>
                  </a:cxn>
                  <a:cxn ang="0">
                    <a:pos x="58" y="58"/>
                  </a:cxn>
                  <a:cxn ang="0">
                    <a:pos x="58" y="58"/>
                  </a:cxn>
                  <a:cxn ang="0">
                    <a:pos x="62" y="52"/>
                  </a:cxn>
                  <a:cxn ang="0">
                    <a:pos x="66" y="48"/>
                  </a:cxn>
                  <a:cxn ang="0">
                    <a:pos x="66" y="40"/>
                  </a:cxn>
                  <a:cxn ang="0">
                    <a:pos x="68" y="34"/>
                  </a:cxn>
                  <a:cxn ang="0">
                    <a:pos x="66" y="28"/>
                  </a:cxn>
                  <a:cxn ang="0">
                    <a:pos x="66" y="22"/>
                  </a:cxn>
                  <a:cxn ang="0">
                    <a:pos x="62" y="16"/>
                  </a:cxn>
                  <a:cxn ang="0">
                    <a:pos x="58" y="10"/>
                  </a:cxn>
                  <a:cxn ang="0">
                    <a:pos x="58" y="10"/>
                  </a:cxn>
                  <a:cxn ang="0">
                    <a:pos x="52" y="6"/>
                  </a:cxn>
                  <a:cxn ang="0">
                    <a:pos x="46" y="4"/>
                  </a:cxn>
                  <a:cxn ang="0">
                    <a:pos x="40" y="2"/>
                  </a:cxn>
                  <a:cxn ang="0">
                    <a:pos x="34" y="0"/>
                  </a:cxn>
                </a:cxnLst>
                <a:rect l="0" t="0" r="r" b="b"/>
                <a:pathLst>
                  <a:path w="68" h="68">
                    <a:moveTo>
                      <a:pt x="34" y="0"/>
                    </a:moveTo>
                    <a:lnTo>
                      <a:pt x="34" y="0"/>
                    </a:lnTo>
                    <a:lnTo>
                      <a:pt x="28" y="2"/>
                    </a:lnTo>
                    <a:lnTo>
                      <a:pt x="22" y="4"/>
                    </a:lnTo>
                    <a:lnTo>
                      <a:pt x="16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6"/>
                    </a:lnTo>
                    <a:lnTo>
                      <a:pt x="2" y="22"/>
                    </a:lnTo>
                    <a:lnTo>
                      <a:pt x="2" y="28"/>
                    </a:lnTo>
                    <a:lnTo>
                      <a:pt x="0" y="34"/>
                    </a:lnTo>
                    <a:lnTo>
                      <a:pt x="2" y="40"/>
                    </a:lnTo>
                    <a:lnTo>
                      <a:pt x="2" y="48"/>
                    </a:lnTo>
                    <a:lnTo>
                      <a:pt x="6" y="52"/>
                    </a:lnTo>
                    <a:lnTo>
                      <a:pt x="10" y="58"/>
                    </a:lnTo>
                    <a:lnTo>
                      <a:pt x="10" y="58"/>
                    </a:lnTo>
                    <a:lnTo>
                      <a:pt x="16" y="62"/>
                    </a:lnTo>
                    <a:lnTo>
                      <a:pt x="22" y="66"/>
                    </a:lnTo>
                    <a:lnTo>
                      <a:pt x="28" y="68"/>
                    </a:lnTo>
                    <a:lnTo>
                      <a:pt x="34" y="68"/>
                    </a:lnTo>
                    <a:lnTo>
                      <a:pt x="34" y="68"/>
                    </a:lnTo>
                    <a:lnTo>
                      <a:pt x="40" y="68"/>
                    </a:lnTo>
                    <a:lnTo>
                      <a:pt x="46" y="66"/>
                    </a:lnTo>
                    <a:lnTo>
                      <a:pt x="52" y="62"/>
                    </a:lnTo>
                    <a:lnTo>
                      <a:pt x="58" y="58"/>
                    </a:lnTo>
                    <a:lnTo>
                      <a:pt x="58" y="58"/>
                    </a:lnTo>
                    <a:lnTo>
                      <a:pt x="62" y="52"/>
                    </a:lnTo>
                    <a:lnTo>
                      <a:pt x="66" y="48"/>
                    </a:lnTo>
                    <a:lnTo>
                      <a:pt x="66" y="40"/>
                    </a:lnTo>
                    <a:lnTo>
                      <a:pt x="68" y="34"/>
                    </a:lnTo>
                    <a:lnTo>
                      <a:pt x="66" y="28"/>
                    </a:lnTo>
                    <a:lnTo>
                      <a:pt x="66" y="22"/>
                    </a:lnTo>
                    <a:lnTo>
                      <a:pt x="62" y="16"/>
                    </a:lnTo>
                    <a:lnTo>
                      <a:pt x="58" y="10"/>
                    </a:lnTo>
                    <a:lnTo>
                      <a:pt x="58" y="10"/>
                    </a:lnTo>
                    <a:lnTo>
                      <a:pt x="52" y="6"/>
                    </a:lnTo>
                    <a:lnTo>
                      <a:pt x="46" y="4"/>
                    </a:lnTo>
                    <a:lnTo>
                      <a:pt x="40" y="2"/>
                    </a:lnTo>
                    <a:lnTo>
                      <a:pt x="3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12" name="Freeform 148"/>
              <p:cNvSpPr>
                <a:spLocks/>
              </p:cNvSpPr>
              <p:nvPr userDrawn="1"/>
            </p:nvSpPr>
            <p:spPr bwMode="auto">
              <a:xfrm>
                <a:off x="4721225" y="4013200"/>
                <a:ext cx="107950" cy="107950"/>
              </a:xfrm>
              <a:custGeom>
                <a:avLst/>
                <a:gdLst/>
                <a:ahLst/>
                <a:cxnLst>
                  <a:cxn ang="0">
                    <a:pos x="34" y="0"/>
                  </a:cxn>
                  <a:cxn ang="0">
                    <a:pos x="34" y="0"/>
                  </a:cxn>
                  <a:cxn ang="0">
                    <a:pos x="28" y="2"/>
                  </a:cxn>
                  <a:cxn ang="0">
                    <a:pos x="22" y="4"/>
                  </a:cxn>
                  <a:cxn ang="0">
                    <a:pos x="16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6"/>
                  </a:cxn>
                  <a:cxn ang="0">
                    <a:pos x="2" y="22"/>
                  </a:cxn>
                  <a:cxn ang="0">
                    <a:pos x="2" y="28"/>
                  </a:cxn>
                  <a:cxn ang="0">
                    <a:pos x="0" y="34"/>
                  </a:cxn>
                  <a:cxn ang="0">
                    <a:pos x="2" y="40"/>
                  </a:cxn>
                  <a:cxn ang="0">
                    <a:pos x="2" y="48"/>
                  </a:cxn>
                  <a:cxn ang="0">
                    <a:pos x="6" y="52"/>
                  </a:cxn>
                  <a:cxn ang="0">
                    <a:pos x="10" y="58"/>
                  </a:cxn>
                  <a:cxn ang="0">
                    <a:pos x="10" y="58"/>
                  </a:cxn>
                  <a:cxn ang="0">
                    <a:pos x="16" y="62"/>
                  </a:cxn>
                  <a:cxn ang="0">
                    <a:pos x="22" y="66"/>
                  </a:cxn>
                  <a:cxn ang="0">
                    <a:pos x="28" y="68"/>
                  </a:cxn>
                  <a:cxn ang="0">
                    <a:pos x="34" y="68"/>
                  </a:cxn>
                  <a:cxn ang="0">
                    <a:pos x="34" y="68"/>
                  </a:cxn>
                  <a:cxn ang="0">
                    <a:pos x="40" y="68"/>
                  </a:cxn>
                  <a:cxn ang="0">
                    <a:pos x="46" y="66"/>
                  </a:cxn>
                  <a:cxn ang="0">
                    <a:pos x="52" y="62"/>
                  </a:cxn>
                  <a:cxn ang="0">
                    <a:pos x="58" y="58"/>
                  </a:cxn>
                  <a:cxn ang="0">
                    <a:pos x="58" y="58"/>
                  </a:cxn>
                  <a:cxn ang="0">
                    <a:pos x="62" y="52"/>
                  </a:cxn>
                  <a:cxn ang="0">
                    <a:pos x="66" y="48"/>
                  </a:cxn>
                  <a:cxn ang="0">
                    <a:pos x="66" y="40"/>
                  </a:cxn>
                  <a:cxn ang="0">
                    <a:pos x="68" y="34"/>
                  </a:cxn>
                  <a:cxn ang="0">
                    <a:pos x="66" y="28"/>
                  </a:cxn>
                  <a:cxn ang="0">
                    <a:pos x="66" y="22"/>
                  </a:cxn>
                  <a:cxn ang="0">
                    <a:pos x="62" y="16"/>
                  </a:cxn>
                  <a:cxn ang="0">
                    <a:pos x="58" y="10"/>
                  </a:cxn>
                  <a:cxn ang="0">
                    <a:pos x="58" y="10"/>
                  </a:cxn>
                  <a:cxn ang="0">
                    <a:pos x="52" y="6"/>
                  </a:cxn>
                  <a:cxn ang="0">
                    <a:pos x="46" y="4"/>
                  </a:cxn>
                  <a:cxn ang="0">
                    <a:pos x="40" y="2"/>
                  </a:cxn>
                  <a:cxn ang="0">
                    <a:pos x="34" y="0"/>
                  </a:cxn>
                </a:cxnLst>
                <a:rect l="0" t="0" r="r" b="b"/>
                <a:pathLst>
                  <a:path w="68" h="68">
                    <a:moveTo>
                      <a:pt x="34" y="0"/>
                    </a:moveTo>
                    <a:lnTo>
                      <a:pt x="34" y="0"/>
                    </a:lnTo>
                    <a:lnTo>
                      <a:pt x="28" y="2"/>
                    </a:lnTo>
                    <a:lnTo>
                      <a:pt x="22" y="4"/>
                    </a:lnTo>
                    <a:lnTo>
                      <a:pt x="16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6"/>
                    </a:lnTo>
                    <a:lnTo>
                      <a:pt x="2" y="22"/>
                    </a:lnTo>
                    <a:lnTo>
                      <a:pt x="2" y="28"/>
                    </a:lnTo>
                    <a:lnTo>
                      <a:pt x="0" y="34"/>
                    </a:lnTo>
                    <a:lnTo>
                      <a:pt x="2" y="40"/>
                    </a:lnTo>
                    <a:lnTo>
                      <a:pt x="2" y="48"/>
                    </a:lnTo>
                    <a:lnTo>
                      <a:pt x="6" y="52"/>
                    </a:lnTo>
                    <a:lnTo>
                      <a:pt x="10" y="58"/>
                    </a:lnTo>
                    <a:lnTo>
                      <a:pt x="10" y="58"/>
                    </a:lnTo>
                    <a:lnTo>
                      <a:pt x="16" y="62"/>
                    </a:lnTo>
                    <a:lnTo>
                      <a:pt x="22" y="66"/>
                    </a:lnTo>
                    <a:lnTo>
                      <a:pt x="28" y="68"/>
                    </a:lnTo>
                    <a:lnTo>
                      <a:pt x="34" y="68"/>
                    </a:lnTo>
                    <a:lnTo>
                      <a:pt x="34" y="68"/>
                    </a:lnTo>
                    <a:lnTo>
                      <a:pt x="40" y="68"/>
                    </a:lnTo>
                    <a:lnTo>
                      <a:pt x="46" y="66"/>
                    </a:lnTo>
                    <a:lnTo>
                      <a:pt x="52" y="62"/>
                    </a:lnTo>
                    <a:lnTo>
                      <a:pt x="58" y="58"/>
                    </a:lnTo>
                    <a:lnTo>
                      <a:pt x="58" y="58"/>
                    </a:lnTo>
                    <a:lnTo>
                      <a:pt x="62" y="52"/>
                    </a:lnTo>
                    <a:lnTo>
                      <a:pt x="66" y="48"/>
                    </a:lnTo>
                    <a:lnTo>
                      <a:pt x="66" y="40"/>
                    </a:lnTo>
                    <a:lnTo>
                      <a:pt x="68" y="34"/>
                    </a:lnTo>
                    <a:lnTo>
                      <a:pt x="66" y="28"/>
                    </a:lnTo>
                    <a:lnTo>
                      <a:pt x="66" y="22"/>
                    </a:lnTo>
                    <a:lnTo>
                      <a:pt x="62" y="16"/>
                    </a:lnTo>
                    <a:lnTo>
                      <a:pt x="58" y="10"/>
                    </a:lnTo>
                    <a:lnTo>
                      <a:pt x="58" y="10"/>
                    </a:lnTo>
                    <a:lnTo>
                      <a:pt x="52" y="6"/>
                    </a:lnTo>
                    <a:lnTo>
                      <a:pt x="46" y="4"/>
                    </a:lnTo>
                    <a:lnTo>
                      <a:pt x="40" y="2"/>
                    </a:lnTo>
                    <a:lnTo>
                      <a:pt x="3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13" name="Freeform 149"/>
              <p:cNvSpPr>
                <a:spLocks/>
              </p:cNvSpPr>
              <p:nvPr userDrawn="1"/>
            </p:nvSpPr>
            <p:spPr bwMode="auto">
              <a:xfrm>
                <a:off x="4632325" y="4219575"/>
                <a:ext cx="98425" cy="98425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0"/>
                  </a:cxn>
                  <a:cxn ang="0">
                    <a:pos x="20" y="4"/>
                  </a:cxn>
                  <a:cxn ang="0">
                    <a:pos x="14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4"/>
                  </a:cxn>
                  <a:cxn ang="0">
                    <a:pos x="2" y="20"/>
                  </a:cxn>
                  <a:cxn ang="0">
                    <a:pos x="0" y="32"/>
                  </a:cxn>
                  <a:cxn ang="0">
                    <a:pos x="2" y="42"/>
                  </a:cxn>
                  <a:cxn ang="0">
                    <a:pos x="6" y="48"/>
                  </a:cxn>
                  <a:cxn ang="0">
                    <a:pos x="10" y="52"/>
                  </a:cxn>
                  <a:cxn ang="0">
                    <a:pos x="10" y="52"/>
                  </a:cxn>
                  <a:cxn ang="0">
                    <a:pos x="14" y="56"/>
                  </a:cxn>
                  <a:cxn ang="0">
                    <a:pos x="20" y="60"/>
                  </a:cxn>
                  <a:cxn ang="0">
                    <a:pos x="30" y="62"/>
                  </a:cxn>
                  <a:cxn ang="0">
                    <a:pos x="30" y="62"/>
                  </a:cxn>
                  <a:cxn ang="0">
                    <a:pos x="42" y="60"/>
                  </a:cxn>
                  <a:cxn ang="0">
                    <a:pos x="48" y="56"/>
                  </a:cxn>
                  <a:cxn ang="0">
                    <a:pos x="52" y="52"/>
                  </a:cxn>
                  <a:cxn ang="0">
                    <a:pos x="52" y="52"/>
                  </a:cxn>
                  <a:cxn ang="0">
                    <a:pos x="56" y="48"/>
                  </a:cxn>
                  <a:cxn ang="0">
                    <a:pos x="58" y="42"/>
                  </a:cxn>
                  <a:cxn ang="0">
                    <a:pos x="62" y="32"/>
                  </a:cxn>
                  <a:cxn ang="0">
                    <a:pos x="58" y="20"/>
                  </a:cxn>
                  <a:cxn ang="0">
                    <a:pos x="56" y="14"/>
                  </a:cxn>
                  <a:cxn ang="0">
                    <a:pos x="52" y="10"/>
                  </a:cxn>
                  <a:cxn ang="0">
                    <a:pos x="52" y="10"/>
                  </a:cxn>
                  <a:cxn ang="0">
                    <a:pos x="48" y="6"/>
                  </a:cxn>
                  <a:cxn ang="0">
                    <a:pos x="42" y="4"/>
                  </a:cxn>
                  <a:cxn ang="0">
                    <a:pos x="30" y="0"/>
                  </a:cxn>
                </a:cxnLst>
                <a:rect l="0" t="0" r="r" b="b"/>
                <a:pathLst>
                  <a:path w="62" h="62">
                    <a:moveTo>
                      <a:pt x="30" y="0"/>
                    </a:moveTo>
                    <a:lnTo>
                      <a:pt x="30" y="0"/>
                    </a:lnTo>
                    <a:lnTo>
                      <a:pt x="20" y="4"/>
                    </a:lnTo>
                    <a:lnTo>
                      <a:pt x="14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4"/>
                    </a:lnTo>
                    <a:lnTo>
                      <a:pt x="2" y="20"/>
                    </a:lnTo>
                    <a:lnTo>
                      <a:pt x="0" y="32"/>
                    </a:lnTo>
                    <a:lnTo>
                      <a:pt x="2" y="42"/>
                    </a:lnTo>
                    <a:lnTo>
                      <a:pt x="6" y="48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4" y="56"/>
                    </a:lnTo>
                    <a:lnTo>
                      <a:pt x="20" y="60"/>
                    </a:lnTo>
                    <a:lnTo>
                      <a:pt x="30" y="62"/>
                    </a:lnTo>
                    <a:lnTo>
                      <a:pt x="30" y="62"/>
                    </a:lnTo>
                    <a:lnTo>
                      <a:pt x="42" y="60"/>
                    </a:lnTo>
                    <a:lnTo>
                      <a:pt x="48" y="56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6" y="48"/>
                    </a:lnTo>
                    <a:lnTo>
                      <a:pt x="58" y="42"/>
                    </a:lnTo>
                    <a:lnTo>
                      <a:pt x="62" y="32"/>
                    </a:lnTo>
                    <a:lnTo>
                      <a:pt x="58" y="20"/>
                    </a:lnTo>
                    <a:lnTo>
                      <a:pt x="56" y="14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48" y="6"/>
                    </a:lnTo>
                    <a:lnTo>
                      <a:pt x="42" y="4"/>
                    </a:lnTo>
                    <a:lnTo>
                      <a:pt x="3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14" name="Freeform 150"/>
              <p:cNvSpPr>
                <a:spLocks/>
              </p:cNvSpPr>
              <p:nvPr userDrawn="1"/>
            </p:nvSpPr>
            <p:spPr bwMode="auto">
              <a:xfrm>
                <a:off x="4632325" y="4219575"/>
                <a:ext cx="98425" cy="98425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0"/>
                  </a:cxn>
                  <a:cxn ang="0">
                    <a:pos x="20" y="4"/>
                  </a:cxn>
                  <a:cxn ang="0">
                    <a:pos x="14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4"/>
                  </a:cxn>
                  <a:cxn ang="0">
                    <a:pos x="2" y="20"/>
                  </a:cxn>
                  <a:cxn ang="0">
                    <a:pos x="0" y="32"/>
                  </a:cxn>
                  <a:cxn ang="0">
                    <a:pos x="2" y="42"/>
                  </a:cxn>
                  <a:cxn ang="0">
                    <a:pos x="6" y="48"/>
                  </a:cxn>
                  <a:cxn ang="0">
                    <a:pos x="10" y="52"/>
                  </a:cxn>
                  <a:cxn ang="0">
                    <a:pos x="10" y="52"/>
                  </a:cxn>
                  <a:cxn ang="0">
                    <a:pos x="14" y="56"/>
                  </a:cxn>
                  <a:cxn ang="0">
                    <a:pos x="20" y="60"/>
                  </a:cxn>
                  <a:cxn ang="0">
                    <a:pos x="30" y="62"/>
                  </a:cxn>
                  <a:cxn ang="0">
                    <a:pos x="30" y="62"/>
                  </a:cxn>
                  <a:cxn ang="0">
                    <a:pos x="42" y="60"/>
                  </a:cxn>
                  <a:cxn ang="0">
                    <a:pos x="48" y="56"/>
                  </a:cxn>
                  <a:cxn ang="0">
                    <a:pos x="52" y="52"/>
                  </a:cxn>
                  <a:cxn ang="0">
                    <a:pos x="52" y="52"/>
                  </a:cxn>
                  <a:cxn ang="0">
                    <a:pos x="56" y="48"/>
                  </a:cxn>
                  <a:cxn ang="0">
                    <a:pos x="58" y="42"/>
                  </a:cxn>
                  <a:cxn ang="0">
                    <a:pos x="62" y="32"/>
                  </a:cxn>
                  <a:cxn ang="0">
                    <a:pos x="58" y="20"/>
                  </a:cxn>
                  <a:cxn ang="0">
                    <a:pos x="56" y="14"/>
                  </a:cxn>
                  <a:cxn ang="0">
                    <a:pos x="52" y="10"/>
                  </a:cxn>
                  <a:cxn ang="0">
                    <a:pos x="52" y="10"/>
                  </a:cxn>
                  <a:cxn ang="0">
                    <a:pos x="48" y="6"/>
                  </a:cxn>
                  <a:cxn ang="0">
                    <a:pos x="42" y="4"/>
                  </a:cxn>
                  <a:cxn ang="0">
                    <a:pos x="30" y="0"/>
                  </a:cxn>
                </a:cxnLst>
                <a:rect l="0" t="0" r="r" b="b"/>
                <a:pathLst>
                  <a:path w="62" h="62">
                    <a:moveTo>
                      <a:pt x="30" y="0"/>
                    </a:moveTo>
                    <a:lnTo>
                      <a:pt x="30" y="0"/>
                    </a:lnTo>
                    <a:lnTo>
                      <a:pt x="20" y="4"/>
                    </a:lnTo>
                    <a:lnTo>
                      <a:pt x="14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4"/>
                    </a:lnTo>
                    <a:lnTo>
                      <a:pt x="2" y="20"/>
                    </a:lnTo>
                    <a:lnTo>
                      <a:pt x="0" y="32"/>
                    </a:lnTo>
                    <a:lnTo>
                      <a:pt x="2" y="42"/>
                    </a:lnTo>
                    <a:lnTo>
                      <a:pt x="6" y="48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4" y="56"/>
                    </a:lnTo>
                    <a:lnTo>
                      <a:pt x="20" y="60"/>
                    </a:lnTo>
                    <a:lnTo>
                      <a:pt x="30" y="62"/>
                    </a:lnTo>
                    <a:lnTo>
                      <a:pt x="30" y="62"/>
                    </a:lnTo>
                    <a:lnTo>
                      <a:pt x="42" y="60"/>
                    </a:lnTo>
                    <a:lnTo>
                      <a:pt x="48" y="56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6" y="48"/>
                    </a:lnTo>
                    <a:lnTo>
                      <a:pt x="58" y="42"/>
                    </a:lnTo>
                    <a:lnTo>
                      <a:pt x="62" y="32"/>
                    </a:lnTo>
                    <a:lnTo>
                      <a:pt x="58" y="20"/>
                    </a:lnTo>
                    <a:lnTo>
                      <a:pt x="56" y="14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48" y="6"/>
                    </a:lnTo>
                    <a:lnTo>
                      <a:pt x="42" y="4"/>
                    </a:lnTo>
                    <a:lnTo>
                      <a:pt x="3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15" name="Freeform 151"/>
              <p:cNvSpPr>
                <a:spLocks/>
              </p:cNvSpPr>
              <p:nvPr userDrawn="1"/>
            </p:nvSpPr>
            <p:spPr bwMode="auto">
              <a:xfrm>
                <a:off x="4581525" y="4438650"/>
                <a:ext cx="85725" cy="8890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6" y="2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2" y="18"/>
                  </a:cxn>
                  <a:cxn ang="0">
                    <a:pos x="0" y="28"/>
                  </a:cxn>
                  <a:cxn ang="0">
                    <a:pos x="2" y="38"/>
                  </a:cxn>
                  <a:cxn ang="0">
                    <a:pos x="8" y="48"/>
                  </a:cxn>
                  <a:cxn ang="0">
                    <a:pos x="8" y="48"/>
                  </a:cxn>
                  <a:cxn ang="0">
                    <a:pos x="16" y="54"/>
                  </a:cxn>
                  <a:cxn ang="0">
                    <a:pos x="26" y="56"/>
                  </a:cxn>
                  <a:cxn ang="0">
                    <a:pos x="26" y="56"/>
                  </a:cxn>
                  <a:cxn ang="0">
                    <a:pos x="38" y="54"/>
                  </a:cxn>
                  <a:cxn ang="0">
                    <a:pos x="46" y="48"/>
                  </a:cxn>
                  <a:cxn ang="0">
                    <a:pos x="46" y="48"/>
                  </a:cxn>
                  <a:cxn ang="0">
                    <a:pos x="52" y="38"/>
                  </a:cxn>
                  <a:cxn ang="0">
                    <a:pos x="54" y="28"/>
                  </a:cxn>
                  <a:cxn ang="0">
                    <a:pos x="52" y="18"/>
                  </a:cxn>
                  <a:cxn ang="0">
                    <a:pos x="46" y="8"/>
                  </a:cxn>
                  <a:cxn ang="0">
                    <a:pos x="46" y="8"/>
                  </a:cxn>
                  <a:cxn ang="0">
                    <a:pos x="38" y="2"/>
                  </a:cxn>
                  <a:cxn ang="0">
                    <a:pos x="26" y="0"/>
                  </a:cxn>
                </a:cxnLst>
                <a:rect l="0" t="0" r="r" b="b"/>
                <a:pathLst>
                  <a:path w="54" h="56">
                    <a:moveTo>
                      <a:pt x="26" y="0"/>
                    </a:moveTo>
                    <a:lnTo>
                      <a:pt x="26" y="0"/>
                    </a:lnTo>
                    <a:lnTo>
                      <a:pt x="16" y="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2" y="18"/>
                    </a:lnTo>
                    <a:lnTo>
                      <a:pt x="0" y="28"/>
                    </a:lnTo>
                    <a:lnTo>
                      <a:pt x="2" y="3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16" y="54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38" y="54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52" y="38"/>
                    </a:lnTo>
                    <a:lnTo>
                      <a:pt x="54" y="28"/>
                    </a:lnTo>
                    <a:lnTo>
                      <a:pt x="52" y="1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38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16" name="Freeform 152"/>
              <p:cNvSpPr>
                <a:spLocks/>
              </p:cNvSpPr>
              <p:nvPr userDrawn="1"/>
            </p:nvSpPr>
            <p:spPr bwMode="auto">
              <a:xfrm>
                <a:off x="4581525" y="4438650"/>
                <a:ext cx="85725" cy="8890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6" y="2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2" y="18"/>
                  </a:cxn>
                  <a:cxn ang="0">
                    <a:pos x="0" y="28"/>
                  </a:cxn>
                  <a:cxn ang="0">
                    <a:pos x="2" y="38"/>
                  </a:cxn>
                  <a:cxn ang="0">
                    <a:pos x="8" y="48"/>
                  </a:cxn>
                  <a:cxn ang="0">
                    <a:pos x="8" y="48"/>
                  </a:cxn>
                  <a:cxn ang="0">
                    <a:pos x="16" y="54"/>
                  </a:cxn>
                  <a:cxn ang="0">
                    <a:pos x="26" y="56"/>
                  </a:cxn>
                  <a:cxn ang="0">
                    <a:pos x="26" y="56"/>
                  </a:cxn>
                  <a:cxn ang="0">
                    <a:pos x="38" y="54"/>
                  </a:cxn>
                  <a:cxn ang="0">
                    <a:pos x="46" y="48"/>
                  </a:cxn>
                  <a:cxn ang="0">
                    <a:pos x="46" y="48"/>
                  </a:cxn>
                  <a:cxn ang="0">
                    <a:pos x="52" y="38"/>
                  </a:cxn>
                  <a:cxn ang="0">
                    <a:pos x="54" y="28"/>
                  </a:cxn>
                  <a:cxn ang="0">
                    <a:pos x="52" y="18"/>
                  </a:cxn>
                  <a:cxn ang="0">
                    <a:pos x="46" y="8"/>
                  </a:cxn>
                  <a:cxn ang="0">
                    <a:pos x="46" y="8"/>
                  </a:cxn>
                  <a:cxn ang="0">
                    <a:pos x="38" y="2"/>
                  </a:cxn>
                  <a:cxn ang="0">
                    <a:pos x="26" y="0"/>
                  </a:cxn>
                </a:cxnLst>
                <a:rect l="0" t="0" r="r" b="b"/>
                <a:pathLst>
                  <a:path w="54" h="56">
                    <a:moveTo>
                      <a:pt x="26" y="0"/>
                    </a:moveTo>
                    <a:lnTo>
                      <a:pt x="26" y="0"/>
                    </a:lnTo>
                    <a:lnTo>
                      <a:pt x="16" y="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2" y="18"/>
                    </a:lnTo>
                    <a:lnTo>
                      <a:pt x="0" y="28"/>
                    </a:lnTo>
                    <a:lnTo>
                      <a:pt x="2" y="3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16" y="54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38" y="54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52" y="38"/>
                    </a:lnTo>
                    <a:lnTo>
                      <a:pt x="54" y="28"/>
                    </a:lnTo>
                    <a:lnTo>
                      <a:pt x="52" y="1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38" y="2"/>
                    </a:lnTo>
                    <a:lnTo>
                      <a:pt x="2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17" name="Freeform 153"/>
              <p:cNvSpPr>
                <a:spLocks/>
              </p:cNvSpPr>
              <p:nvPr userDrawn="1"/>
            </p:nvSpPr>
            <p:spPr bwMode="auto">
              <a:xfrm>
                <a:off x="4565650" y="4664075"/>
                <a:ext cx="79375" cy="79375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6" y="2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2" y="16"/>
                  </a:cxn>
                  <a:cxn ang="0">
                    <a:pos x="0" y="26"/>
                  </a:cxn>
                  <a:cxn ang="0">
                    <a:pos x="2" y="34"/>
                  </a:cxn>
                  <a:cxn ang="0">
                    <a:pos x="8" y="42"/>
                  </a:cxn>
                  <a:cxn ang="0">
                    <a:pos x="8" y="42"/>
                  </a:cxn>
                  <a:cxn ang="0">
                    <a:pos x="16" y="48"/>
                  </a:cxn>
                  <a:cxn ang="0">
                    <a:pos x="24" y="50"/>
                  </a:cxn>
                  <a:cxn ang="0">
                    <a:pos x="24" y="50"/>
                  </a:cxn>
                  <a:cxn ang="0">
                    <a:pos x="34" y="48"/>
                  </a:cxn>
                  <a:cxn ang="0">
                    <a:pos x="42" y="42"/>
                  </a:cxn>
                  <a:cxn ang="0">
                    <a:pos x="42" y="42"/>
                  </a:cxn>
                  <a:cxn ang="0">
                    <a:pos x="48" y="34"/>
                  </a:cxn>
                  <a:cxn ang="0">
                    <a:pos x="50" y="26"/>
                  </a:cxn>
                  <a:cxn ang="0">
                    <a:pos x="48" y="16"/>
                  </a:cxn>
                  <a:cxn ang="0">
                    <a:pos x="42" y="8"/>
                  </a:cxn>
                  <a:cxn ang="0">
                    <a:pos x="42" y="8"/>
                  </a:cxn>
                  <a:cxn ang="0">
                    <a:pos x="34" y="2"/>
                  </a:cxn>
                  <a:cxn ang="0">
                    <a:pos x="24" y="0"/>
                  </a:cxn>
                </a:cxnLst>
                <a:rect l="0" t="0" r="r" b="b"/>
                <a:pathLst>
                  <a:path w="50" h="50">
                    <a:moveTo>
                      <a:pt x="24" y="0"/>
                    </a:moveTo>
                    <a:lnTo>
                      <a:pt x="24" y="0"/>
                    </a:lnTo>
                    <a:lnTo>
                      <a:pt x="16" y="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2" y="16"/>
                    </a:lnTo>
                    <a:lnTo>
                      <a:pt x="0" y="26"/>
                    </a:lnTo>
                    <a:lnTo>
                      <a:pt x="2" y="34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16" y="48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34" y="48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8" y="34"/>
                    </a:lnTo>
                    <a:lnTo>
                      <a:pt x="50" y="26"/>
                    </a:lnTo>
                    <a:lnTo>
                      <a:pt x="48" y="16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34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18" name="Freeform 154"/>
              <p:cNvSpPr>
                <a:spLocks/>
              </p:cNvSpPr>
              <p:nvPr userDrawn="1"/>
            </p:nvSpPr>
            <p:spPr bwMode="auto">
              <a:xfrm>
                <a:off x="4565650" y="4664075"/>
                <a:ext cx="79375" cy="79375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6" y="2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2" y="16"/>
                  </a:cxn>
                  <a:cxn ang="0">
                    <a:pos x="0" y="26"/>
                  </a:cxn>
                  <a:cxn ang="0">
                    <a:pos x="2" y="34"/>
                  </a:cxn>
                  <a:cxn ang="0">
                    <a:pos x="8" y="42"/>
                  </a:cxn>
                  <a:cxn ang="0">
                    <a:pos x="8" y="42"/>
                  </a:cxn>
                  <a:cxn ang="0">
                    <a:pos x="16" y="48"/>
                  </a:cxn>
                  <a:cxn ang="0">
                    <a:pos x="24" y="50"/>
                  </a:cxn>
                  <a:cxn ang="0">
                    <a:pos x="24" y="50"/>
                  </a:cxn>
                  <a:cxn ang="0">
                    <a:pos x="34" y="48"/>
                  </a:cxn>
                  <a:cxn ang="0">
                    <a:pos x="42" y="42"/>
                  </a:cxn>
                  <a:cxn ang="0">
                    <a:pos x="42" y="42"/>
                  </a:cxn>
                  <a:cxn ang="0">
                    <a:pos x="48" y="34"/>
                  </a:cxn>
                  <a:cxn ang="0">
                    <a:pos x="50" y="26"/>
                  </a:cxn>
                  <a:cxn ang="0">
                    <a:pos x="48" y="16"/>
                  </a:cxn>
                  <a:cxn ang="0">
                    <a:pos x="42" y="8"/>
                  </a:cxn>
                  <a:cxn ang="0">
                    <a:pos x="42" y="8"/>
                  </a:cxn>
                  <a:cxn ang="0">
                    <a:pos x="34" y="2"/>
                  </a:cxn>
                  <a:cxn ang="0">
                    <a:pos x="24" y="0"/>
                  </a:cxn>
                </a:cxnLst>
                <a:rect l="0" t="0" r="r" b="b"/>
                <a:pathLst>
                  <a:path w="50" h="50">
                    <a:moveTo>
                      <a:pt x="24" y="0"/>
                    </a:moveTo>
                    <a:lnTo>
                      <a:pt x="24" y="0"/>
                    </a:lnTo>
                    <a:lnTo>
                      <a:pt x="16" y="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2" y="16"/>
                    </a:lnTo>
                    <a:lnTo>
                      <a:pt x="0" y="26"/>
                    </a:lnTo>
                    <a:lnTo>
                      <a:pt x="2" y="34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16" y="48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34" y="48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8" y="34"/>
                    </a:lnTo>
                    <a:lnTo>
                      <a:pt x="50" y="26"/>
                    </a:lnTo>
                    <a:lnTo>
                      <a:pt x="48" y="16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34" y="2"/>
                    </a:lnTo>
                    <a:lnTo>
                      <a:pt x="2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19" name="Freeform 155"/>
              <p:cNvSpPr>
                <a:spLocks/>
              </p:cNvSpPr>
              <p:nvPr userDrawn="1"/>
            </p:nvSpPr>
            <p:spPr bwMode="auto">
              <a:xfrm>
                <a:off x="4587875" y="4889500"/>
                <a:ext cx="69850" cy="69850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4" y="2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2" y="14"/>
                  </a:cxn>
                  <a:cxn ang="0">
                    <a:pos x="0" y="22"/>
                  </a:cxn>
                  <a:cxn ang="0">
                    <a:pos x="2" y="30"/>
                  </a:cxn>
                  <a:cxn ang="0">
                    <a:pos x="8" y="38"/>
                  </a:cxn>
                  <a:cxn ang="0">
                    <a:pos x="8" y="38"/>
                  </a:cxn>
                  <a:cxn ang="0">
                    <a:pos x="14" y="42"/>
                  </a:cxn>
                  <a:cxn ang="0">
                    <a:pos x="22" y="44"/>
                  </a:cxn>
                  <a:cxn ang="0">
                    <a:pos x="22" y="44"/>
                  </a:cxn>
                  <a:cxn ang="0">
                    <a:pos x="32" y="42"/>
                  </a:cxn>
                  <a:cxn ang="0">
                    <a:pos x="38" y="38"/>
                  </a:cxn>
                  <a:cxn ang="0">
                    <a:pos x="38" y="38"/>
                  </a:cxn>
                  <a:cxn ang="0">
                    <a:pos x="44" y="30"/>
                  </a:cxn>
                  <a:cxn ang="0">
                    <a:pos x="44" y="22"/>
                  </a:cxn>
                  <a:cxn ang="0">
                    <a:pos x="44" y="14"/>
                  </a:cxn>
                  <a:cxn ang="0">
                    <a:pos x="38" y="6"/>
                  </a:cxn>
                  <a:cxn ang="0">
                    <a:pos x="38" y="6"/>
                  </a:cxn>
                  <a:cxn ang="0">
                    <a:pos x="32" y="2"/>
                  </a:cxn>
                  <a:cxn ang="0">
                    <a:pos x="22" y="0"/>
                  </a:cxn>
                </a:cxnLst>
                <a:rect l="0" t="0" r="r" b="b"/>
                <a:pathLst>
                  <a:path w="44" h="44">
                    <a:moveTo>
                      <a:pt x="22" y="0"/>
                    </a:moveTo>
                    <a:lnTo>
                      <a:pt x="22" y="0"/>
                    </a:lnTo>
                    <a:lnTo>
                      <a:pt x="14" y="2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2" y="14"/>
                    </a:lnTo>
                    <a:lnTo>
                      <a:pt x="0" y="22"/>
                    </a:lnTo>
                    <a:lnTo>
                      <a:pt x="2" y="30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14" y="42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32" y="42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44" y="30"/>
                    </a:lnTo>
                    <a:lnTo>
                      <a:pt x="44" y="22"/>
                    </a:lnTo>
                    <a:lnTo>
                      <a:pt x="44" y="14"/>
                    </a:lnTo>
                    <a:lnTo>
                      <a:pt x="38" y="6"/>
                    </a:lnTo>
                    <a:lnTo>
                      <a:pt x="38" y="6"/>
                    </a:lnTo>
                    <a:lnTo>
                      <a:pt x="32" y="2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20" name="Freeform 156"/>
              <p:cNvSpPr>
                <a:spLocks/>
              </p:cNvSpPr>
              <p:nvPr userDrawn="1"/>
            </p:nvSpPr>
            <p:spPr bwMode="auto">
              <a:xfrm>
                <a:off x="4587875" y="4889500"/>
                <a:ext cx="69850" cy="69850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4" y="2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2" y="14"/>
                  </a:cxn>
                  <a:cxn ang="0">
                    <a:pos x="0" y="22"/>
                  </a:cxn>
                  <a:cxn ang="0">
                    <a:pos x="2" y="30"/>
                  </a:cxn>
                  <a:cxn ang="0">
                    <a:pos x="8" y="38"/>
                  </a:cxn>
                  <a:cxn ang="0">
                    <a:pos x="8" y="38"/>
                  </a:cxn>
                  <a:cxn ang="0">
                    <a:pos x="14" y="42"/>
                  </a:cxn>
                  <a:cxn ang="0">
                    <a:pos x="22" y="44"/>
                  </a:cxn>
                  <a:cxn ang="0">
                    <a:pos x="22" y="44"/>
                  </a:cxn>
                  <a:cxn ang="0">
                    <a:pos x="32" y="42"/>
                  </a:cxn>
                  <a:cxn ang="0">
                    <a:pos x="38" y="38"/>
                  </a:cxn>
                  <a:cxn ang="0">
                    <a:pos x="38" y="38"/>
                  </a:cxn>
                  <a:cxn ang="0">
                    <a:pos x="44" y="30"/>
                  </a:cxn>
                  <a:cxn ang="0">
                    <a:pos x="44" y="22"/>
                  </a:cxn>
                  <a:cxn ang="0">
                    <a:pos x="44" y="14"/>
                  </a:cxn>
                  <a:cxn ang="0">
                    <a:pos x="38" y="6"/>
                  </a:cxn>
                  <a:cxn ang="0">
                    <a:pos x="38" y="6"/>
                  </a:cxn>
                  <a:cxn ang="0">
                    <a:pos x="32" y="2"/>
                  </a:cxn>
                  <a:cxn ang="0">
                    <a:pos x="22" y="0"/>
                  </a:cxn>
                </a:cxnLst>
                <a:rect l="0" t="0" r="r" b="b"/>
                <a:pathLst>
                  <a:path w="44" h="44">
                    <a:moveTo>
                      <a:pt x="22" y="0"/>
                    </a:moveTo>
                    <a:lnTo>
                      <a:pt x="22" y="0"/>
                    </a:lnTo>
                    <a:lnTo>
                      <a:pt x="14" y="2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2" y="14"/>
                    </a:lnTo>
                    <a:lnTo>
                      <a:pt x="0" y="22"/>
                    </a:lnTo>
                    <a:lnTo>
                      <a:pt x="2" y="30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14" y="42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32" y="42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44" y="30"/>
                    </a:lnTo>
                    <a:lnTo>
                      <a:pt x="44" y="22"/>
                    </a:lnTo>
                    <a:lnTo>
                      <a:pt x="44" y="14"/>
                    </a:lnTo>
                    <a:lnTo>
                      <a:pt x="38" y="6"/>
                    </a:lnTo>
                    <a:lnTo>
                      <a:pt x="38" y="6"/>
                    </a:lnTo>
                    <a:lnTo>
                      <a:pt x="32" y="2"/>
                    </a:lnTo>
                    <a:lnTo>
                      <a:pt x="2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21" name="Freeform 157"/>
              <p:cNvSpPr>
                <a:spLocks/>
              </p:cNvSpPr>
              <p:nvPr userDrawn="1"/>
            </p:nvSpPr>
            <p:spPr bwMode="auto">
              <a:xfrm>
                <a:off x="4651375" y="5108575"/>
                <a:ext cx="60325" cy="63500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0"/>
                  </a:cxn>
                  <a:cxn ang="0">
                    <a:pos x="4" y="6"/>
                  </a:cxn>
                  <a:cxn ang="0">
                    <a:pos x="4" y="6"/>
                  </a:cxn>
                  <a:cxn ang="0">
                    <a:pos x="0" y="12"/>
                  </a:cxn>
                  <a:cxn ang="0">
                    <a:pos x="0" y="20"/>
                  </a:cxn>
                  <a:cxn ang="0">
                    <a:pos x="0" y="26"/>
                  </a:cxn>
                  <a:cxn ang="0">
                    <a:pos x="4" y="34"/>
                  </a:cxn>
                  <a:cxn ang="0">
                    <a:pos x="4" y="34"/>
                  </a:cxn>
                  <a:cxn ang="0">
                    <a:pos x="12" y="38"/>
                  </a:cxn>
                  <a:cxn ang="0">
                    <a:pos x="18" y="40"/>
                  </a:cxn>
                  <a:cxn ang="0">
                    <a:pos x="18" y="40"/>
                  </a:cxn>
                  <a:cxn ang="0">
                    <a:pos x="26" y="38"/>
                  </a:cxn>
                  <a:cxn ang="0">
                    <a:pos x="32" y="34"/>
                  </a:cxn>
                  <a:cxn ang="0">
                    <a:pos x="32" y="34"/>
                  </a:cxn>
                  <a:cxn ang="0">
                    <a:pos x="38" y="26"/>
                  </a:cxn>
                  <a:cxn ang="0">
                    <a:pos x="38" y="20"/>
                  </a:cxn>
                  <a:cxn ang="0">
                    <a:pos x="38" y="12"/>
                  </a:cxn>
                  <a:cxn ang="0">
                    <a:pos x="32" y="6"/>
                  </a:cxn>
                  <a:cxn ang="0">
                    <a:pos x="32" y="6"/>
                  </a:cxn>
                  <a:cxn ang="0">
                    <a:pos x="26" y="0"/>
                  </a:cxn>
                  <a:cxn ang="0">
                    <a:pos x="18" y="0"/>
                  </a:cxn>
                </a:cxnLst>
                <a:rect l="0" t="0" r="r" b="b"/>
                <a:pathLst>
                  <a:path w="38" h="40">
                    <a:moveTo>
                      <a:pt x="18" y="0"/>
                    </a:moveTo>
                    <a:lnTo>
                      <a:pt x="18" y="0"/>
                    </a:lnTo>
                    <a:lnTo>
                      <a:pt x="12" y="0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0" y="12"/>
                    </a:lnTo>
                    <a:lnTo>
                      <a:pt x="0" y="20"/>
                    </a:lnTo>
                    <a:lnTo>
                      <a:pt x="0" y="26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12" y="38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26" y="38"/>
                    </a:lnTo>
                    <a:lnTo>
                      <a:pt x="32" y="34"/>
                    </a:lnTo>
                    <a:lnTo>
                      <a:pt x="32" y="34"/>
                    </a:lnTo>
                    <a:lnTo>
                      <a:pt x="38" y="26"/>
                    </a:lnTo>
                    <a:lnTo>
                      <a:pt x="38" y="20"/>
                    </a:lnTo>
                    <a:lnTo>
                      <a:pt x="38" y="12"/>
                    </a:lnTo>
                    <a:lnTo>
                      <a:pt x="32" y="6"/>
                    </a:lnTo>
                    <a:lnTo>
                      <a:pt x="32" y="6"/>
                    </a:lnTo>
                    <a:lnTo>
                      <a:pt x="26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22" name="Freeform 158"/>
              <p:cNvSpPr>
                <a:spLocks/>
              </p:cNvSpPr>
              <p:nvPr userDrawn="1"/>
            </p:nvSpPr>
            <p:spPr bwMode="auto">
              <a:xfrm>
                <a:off x="4651375" y="5108575"/>
                <a:ext cx="60325" cy="63500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0"/>
                  </a:cxn>
                  <a:cxn ang="0">
                    <a:pos x="4" y="6"/>
                  </a:cxn>
                  <a:cxn ang="0">
                    <a:pos x="4" y="6"/>
                  </a:cxn>
                  <a:cxn ang="0">
                    <a:pos x="0" y="12"/>
                  </a:cxn>
                  <a:cxn ang="0">
                    <a:pos x="0" y="20"/>
                  </a:cxn>
                  <a:cxn ang="0">
                    <a:pos x="0" y="26"/>
                  </a:cxn>
                  <a:cxn ang="0">
                    <a:pos x="4" y="34"/>
                  </a:cxn>
                  <a:cxn ang="0">
                    <a:pos x="4" y="34"/>
                  </a:cxn>
                  <a:cxn ang="0">
                    <a:pos x="12" y="38"/>
                  </a:cxn>
                  <a:cxn ang="0">
                    <a:pos x="18" y="40"/>
                  </a:cxn>
                  <a:cxn ang="0">
                    <a:pos x="18" y="40"/>
                  </a:cxn>
                  <a:cxn ang="0">
                    <a:pos x="26" y="38"/>
                  </a:cxn>
                  <a:cxn ang="0">
                    <a:pos x="32" y="34"/>
                  </a:cxn>
                  <a:cxn ang="0">
                    <a:pos x="32" y="34"/>
                  </a:cxn>
                  <a:cxn ang="0">
                    <a:pos x="38" y="26"/>
                  </a:cxn>
                  <a:cxn ang="0">
                    <a:pos x="38" y="20"/>
                  </a:cxn>
                  <a:cxn ang="0">
                    <a:pos x="38" y="12"/>
                  </a:cxn>
                  <a:cxn ang="0">
                    <a:pos x="32" y="6"/>
                  </a:cxn>
                  <a:cxn ang="0">
                    <a:pos x="32" y="6"/>
                  </a:cxn>
                  <a:cxn ang="0">
                    <a:pos x="26" y="0"/>
                  </a:cxn>
                  <a:cxn ang="0">
                    <a:pos x="18" y="0"/>
                  </a:cxn>
                </a:cxnLst>
                <a:rect l="0" t="0" r="r" b="b"/>
                <a:pathLst>
                  <a:path w="38" h="40">
                    <a:moveTo>
                      <a:pt x="18" y="0"/>
                    </a:moveTo>
                    <a:lnTo>
                      <a:pt x="18" y="0"/>
                    </a:lnTo>
                    <a:lnTo>
                      <a:pt x="12" y="0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0" y="12"/>
                    </a:lnTo>
                    <a:lnTo>
                      <a:pt x="0" y="20"/>
                    </a:lnTo>
                    <a:lnTo>
                      <a:pt x="0" y="26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12" y="38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26" y="38"/>
                    </a:lnTo>
                    <a:lnTo>
                      <a:pt x="32" y="34"/>
                    </a:lnTo>
                    <a:lnTo>
                      <a:pt x="32" y="34"/>
                    </a:lnTo>
                    <a:lnTo>
                      <a:pt x="38" y="26"/>
                    </a:lnTo>
                    <a:lnTo>
                      <a:pt x="38" y="20"/>
                    </a:lnTo>
                    <a:lnTo>
                      <a:pt x="38" y="12"/>
                    </a:lnTo>
                    <a:lnTo>
                      <a:pt x="32" y="6"/>
                    </a:lnTo>
                    <a:lnTo>
                      <a:pt x="32" y="6"/>
                    </a:lnTo>
                    <a:lnTo>
                      <a:pt x="26" y="0"/>
                    </a:lnTo>
                    <a:lnTo>
                      <a:pt x="1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23" name="Freeform 159"/>
              <p:cNvSpPr>
                <a:spLocks/>
              </p:cNvSpPr>
              <p:nvPr userDrawn="1"/>
            </p:nvSpPr>
            <p:spPr bwMode="auto">
              <a:xfrm>
                <a:off x="4746625" y="5311775"/>
                <a:ext cx="57150" cy="57150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2" y="12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6" y="30"/>
                  </a:cxn>
                  <a:cxn ang="0">
                    <a:pos x="6" y="30"/>
                  </a:cxn>
                  <a:cxn ang="0">
                    <a:pos x="12" y="34"/>
                  </a:cxn>
                  <a:cxn ang="0">
                    <a:pos x="18" y="36"/>
                  </a:cxn>
                  <a:cxn ang="0">
                    <a:pos x="18" y="36"/>
                  </a:cxn>
                  <a:cxn ang="0">
                    <a:pos x="24" y="34"/>
                  </a:cxn>
                  <a:cxn ang="0">
                    <a:pos x="30" y="30"/>
                  </a:cxn>
                  <a:cxn ang="0">
                    <a:pos x="30" y="30"/>
                  </a:cxn>
                  <a:cxn ang="0">
                    <a:pos x="34" y="24"/>
                  </a:cxn>
                  <a:cxn ang="0">
                    <a:pos x="36" y="18"/>
                  </a:cxn>
                  <a:cxn ang="0">
                    <a:pos x="34" y="12"/>
                  </a:cxn>
                  <a:cxn ang="0">
                    <a:pos x="30" y="6"/>
                  </a:cxn>
                  <a:cxn ang="0">
                    <a:pos x="30" y="6"/>
                  </a:cxn>
                  <a:cxn ang="0">
                    <a:pos x="24" y="2"/>
                  </a:cxn>
                  <a:cxn ang="0">
                    <a:pos x="18" y="0"/>
                  </a:cxn>
                </a:cxnLst>
                <a:rect l="0" t="0" r="r" b="b"/>
                <a:pathLst>
                  <a:path w="36" h="36">
                    <a:moveTo>
                      <a:pt x="18" y="0"/>
                    </a:moveTo>
                    <a:lnTo>
                      <a:pt x="18" y="0"/>
                    </a:lnTo>
                    <a:lnTo>
                      <a:pt x="12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2" y="12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12" y="34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24" y="34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4" y="24"/>
                    </a:lnTo>
                    <a:lnTo>
                      <a:pt x="36" y="18"/>
                    </a:lnTo>
                    <a:lnTo>
                      <a:pt x="34" y="12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24" y="2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24" name="Freeform 160"/>
              <p:cNvSpPr>
                <a:spLocks/>
              </p:cNvSpPr>
              <p:nvPr userDrawn="1"/>
            </p:nvSpPr>
            <p:spPr bwMode="auto">
              <a:xfrm>
                <a:off x="4746625" y="5311775"/>
                <a:ext cx="57150" cy="57150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2" y="12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6" y="30"/>
                  </a:cxn>
                  <a:cxn ang="0">
                    <a:pos x="6" y="30"/>
                  </a:cxn>
                  <a:cxn ang="0">
                    <a:pos x="12" y="34"/>
                  </a:cxn>
                  <a:cxn ang="0">
                    <a:pos x="18" y="36"/>
                  </a:cxn>
                  <a:cxn ang="0">
                    <a:pos x="18" y="36"/>
                  </a:cxn>
                  <a:cxn ang="0">
                    <a:pos x="24" y="34"/>
                  </a:cxn>
                  <a:cxn ang="0">
                    <a:pos x="30" y="30"/>
                  </a:cxn>
                  <a:cxn ang="0">
                    <a:pos x="30" y="30"/>
                  </a:cxn>
                  <a:cxn ang="0">
                    <a:pos x="34" y="24"/>
                  </a:cxn>
                  <a:cxn ang="0">
                    <a:pos x="36" y="18"/>
                  </a:cxn>
                  <a:cxn ang="0">
                    <a:pos x="34" y="12"/>
                  </a:cxn>
                  <a:cxn ang="0">
                    <a:pos x="30" y="6"/>
                  </a:cxn>
                  <a:cxn ang="0">
                    <a:pos x="30" y="6"/>
                  </a:cxn>
                  <a:cxn ang="0">
                    <a:pos x="24" y="2"/>
                  </a:cxn>
                  <a:cxn ang="0">
                    <a:pos x="18" y="0"/>
                  </a:cxn>
                </a:cxnLst>
                <a:rect l="0" t="0" r="r" b="b"/>
                <a:pathLst>
                  <a:path w="36" h="36">
                    <a:moveTo>
                      <a:pt x="18" y="0"/>
                    </a:moveTo>
                    <a:lnTo>
                      <a:pt x="18" y="0"/>
                    </a:lnTo>
                    <a:lnTo>
                      <a:pt x="12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2" y="12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12" y="34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24" y="34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4" y="24"/>
                    </a:lnTo>
                    <a:lnTo>
                      <a:pt x="36" y="18"/>
                    </a:lnTo>
                    <a:lnTo>
                      <a:pt x="34" y="12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24" y="2"/>
                    </a:lnTo>
                    <a:lnTo>
                      <a:pt x="1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25" name="Freeform 161"/>
              <p:cNvSpPr>
                <a:spLocks/>
              </p:cNvSpPr>
              <p:nvPr userDrawn="1"/>
            </p:nvSpPr>
            <p:spPr bwMode="auto">
              <a:xfrm>
                <a:off x="4876800" y="5495925"/>
                <a:ext cx="50800" cy="5080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2"/>
                  </a:cxn>
                  <a:cxn ang="0">
                    <a:pos x="4" y="28"/>
                  </a:cxn>
                  <a:cxn ang="0">
                    <a:pos x="4" y="28"/>
                  </a:cxn>
                  <a:cxn ang="0">
                    <a:pos x="10" y="32"/>
                  </a:cxn>
                  <a:cxn ang="0">
                    <a:pos x="16" y="32"/>
                  </a:cxn>
                  <a:cxn ang="0">
                    <a:pos x="16" y="32"/>
                  </a:cxn>
                  <a:cxn ang="0">
                    <a:pos x="22" y="32"/>
                  </a:cxn>
                  <a:cxn ang="0">
                    <a:pos x="28" y="28"/>
                  </a:cxn>
                  <a:cxn ang="0">
                    <a:pos x="28" y="28"/>
                  </a:cxn>
                  <a:cxn ang="0">
                    <a:pos x="30" y="22"/>
                  </a:cxn>
                  <a:cxn ang="0">
                    <a:pos x="32" y="16"/>
                  </a:cxn>
                  <a:cxn ang="0">
                    <a:pos x="30" y="10"/>
                  </a:cxn>
                  <a:cxn ang="0">
                    <a:pos x="28" y="4"/>
                  </a:cxn>
                  <a:cxn ang="0">
                    <a:pos x="28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2" h="32">
                    <a:moveTo>
                      <a:pt x="16" y="0"/>
                    </a:moveTo>
                    <a:lnTo>
                      <a:pt x="16" y="0"/>
                    </a:lnTo>
                    <a:lnTo>
                      <a:pt x="10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2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10" y="32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22" y="32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30" y="22"/>
                    </a:lnTo>
                    <a:lnTo>
                      <a:pt x="32" y="16"/>
                    </a:lnTo>
                    <a:lnTo>
                      <a:pt x="30" y="10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2" y="2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26" name="Freeform 162"/>
              <p:cNvSpPr>
                <a:spLocks/>
              </p:cNvSpPr>
              <p:nvPr userDrawn="1"/>
            </p:nvSpPr>
            <p:spPr bwMode="auto">
              <a:xfrm>
                <a:off x="4876800" y="5495925"/>
                <a:ext cx="50800" cy="5080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2"/>
                  </a:cxn>
                  <a:cxn ang="0">
                    <a:pos x="4" y="28"/>
                  </a:cxn>
                  <a:cxn ang="0">
                    <a:pos x="4" y="28"/>
                  </a:cxn>
                  <a:cxn ang="0">
                    <a:pos x="10" y="32"/>
                  </a:cxn>
                  <a:cxn ang="0">
                    <a:pos x="16" y="32"/>
                  </a:cxn>
                  <a:cxn ang="0">
                    <a:pos x="16" y="32"/>
                  </a:cxn>
                  <a:cxn ang="0">
                    <a:pos x="22" y="32"/>
                  </a:cxn>
                  <a:cxn ang="0">
                    <a:pos x="28" y="28"/>
                  </a:cxn>
                  <a:cxn ang="0">
                    <a:pos x="28" y="28"/>
                  </a:cxn>
                  <a:cxn ang="0">
                    <a:pos x="30" y="22"/>
                  </a:cxn>
                  <a:cxn ang="0">
                    <a:pos x="32" y="16"/>
                  </a:cxn>
                  <a:cxn ang="0">
                    <a:pos x="30" y="10"/>
                  </a:cxn>
                  <a:cxn ang="0">
                    <a:pos x="28" y="4"/>
                  </a:cxn>
                  <a:cxn ang="0">
                    <a:pos x="28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2" h="32">
                    <a:moveTo>
                      <a:pt x="16" y="0"/>
                    </a:moveTo>
                    <a:lnTo>
                      <a:pt x="16" y="0"/>
                    </a:lnTo>
                    <a:lnTo>
                      <a:pt x="10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2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10" y="32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22" y="32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30" y="22"/>
                    </a:lnTo>
                    <a:lnTo>
                      <a:pt x="32" y="16"/>
                    </a:lnTo>
                    <a:lnTo>
                      <a:pt x="30" y="10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2" y="2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27" name="Freeform 163"/>
              <p:cNvSpPr>
                <a:spLocks/>
              </p:cNvSpPr>
              <p:nvPr userDrawn="1"/>
            </p:nvSpPr>
            <p:spPr bwMode="auto">
              <a:xfrm>
                <a:off x="5035550" y="5654675"/>
                <a:ext cx="47625" cy="4762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4" y="26"/>
                  </a:cxn>
                  <a:cxn ang="0">
                    <a:pos x="4" y="26"/>
                  </a:cxn>
                  <a:cxn ang="0">
                    <a:pos x="10" y="28"/>
                  </a:cxn>
                  <a:cxn ang="0">
                    <a:pos x="14" y="30"/>
                  </a:cxn>
                  <a:cxn ang="0">
                    <a:pos x="14" y="30"/>
                  </a:cxn>
                  <a:cxn ang="0">
                    <a:pos x="20" y="28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28" y="20"/>
                  </a:cxn>
                  <a:cxn ang="0">
                    <a:pos x="30" y="16"/>
                  </a:cxn>
                  <a:cxn ang="0">
                    <a:pos x="28" y="10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0" y="2"/>
                  </a:cxn>
                  <a:cxn ang="0">
                    <a:pos x="14" y="0"/>
                  </a:cxn>
                </a:cxnLst>
                <a:rect l="0" t="0" r="r" b="b"/>
                <a:pathLst>
                  <a:path w="30" h="30">
                    <a:moveTo>
                      <a:pt x="14" y="0"/>
                    </a:moveTo>
                    <a:lnTo>
                      <a:pt x="14" y="0"/>
                    </a:lnTo>
                    <a:lnTo>
                      <a:pt x="10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10" y="28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20" y="28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8" y="20"/>
                    </a:lnTo>
                    <a:lnTo>
                      <a:pt x="30" y="16"/>
                    </a:lnTo>
                    <a:lnTo>
                      <a:pt x="28" y="1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0" y="2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28" name="Freeform 164"/>
              <p:cNvSpPr>
                <a:spLocks/>
              </p:cNvSpPr>
              <p:nvPr userDrawn="1"/>
            </p:nvSpPr>
            <p:spPr bwMode="auto">
              <a:xfrm>
                <a:off x="5035550" y="5654675"/>
                <a:ext cx="47625" cy="4762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4" y="26"/>
                  </a:cxn>
                  <a:cxn ang="0">
                    <a:pos x="4" y="26"/>
                  </a:cxn>
                  <a:cxn ang="0">
                    <a:pos x="10" y="28"/>
                  </a:cxn>
                  <a:cxn ang="0">
                    <a:pos x="14" y="30"/>
                  </a:cxn>
                  <a:cxn ang="0">
                    <a:pos x="14" y="30"/>
                  </a:cxn>
                  <a:cxn ang="0">
                    <a:pos x="20" y="28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28" y="20"/>
                  </a:cxn>
                  <a:cxn ang="0">
                    <a:pos x="30" y="16"/>
                  </a:cxn>
                  <a:cxn ang="0">
                    <a:pos x="28" y="10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0" y="2"/>
                  </a:cxn>
                  <a:cxn ang="0">
                    <a:pos x="14" y="0"/>
                  </a:cxn>
                </a:cxnLst>
                <a:rect l="0" t="0" r="r" b="b"/>
                <a:pathLst>
                  <a:path w="30" h="30">
                    <a:moveTo>
                      <a:pt x="14" y="0"/>
                    </a:moveTo>
                    <a:lnTo>
                      <a:pt x="14" y="0"/>
                    </a:lnTo>
                    <a:lnTo>
                      <a:pt x="10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10" y="28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20" y="28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8" y="20"/>
                    </a:lnTo>
                    <a:lnTo>
                      <a:pt x="30" y="16"/>
                    </a:lnTo>
                    <a:lnTo>
                      <a:pt x="28" y="1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0" y="2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29" name="Freeform 165"/>
              <p:cNvSpPr>
                <a:spLocks/>
              </p:cNvSpPr>
              <p:nvPr userDrawn="1"/>
            </p:nvSpPr>
            <p:spPr bwMode="auto">
              <a:xfrm>
                <a:off x="4810125" y="4283075"/>
                <a:ext cx="101600" cy="101600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0"/>
                  </a:cxn>
                  <a:cxn ang="0">
                    <a:pos x="22" y="2"/>
                  </a:cxn>
                  <a:cxn ang="0">
                    <a:pos x="12" y="6"/>
                  </a:cxn>
                  <a:cxn ang="0">
                    <a:pos x="6" y="14"/>
                  </a:cxn>
                  <a:cxn ang="0">
                    <a:pos x="2" y="24"/>
                  </a:cxn>
                  <a:cxn ang="0">
                    <a:pos x="2" y="24"/>
                  </a:cxn>
                  <a:cxn ang="0">
                    <a:pos x="0" y="30"/>
                  </a:cxn>
                  <a:cxn ang="0">
                    <a:pos x="0" y="36"/>
                  </a:cxn>
                  <a:cxn ang="0">
                    <a:pos x="4" y="48"/>
                  </a:cxn>
                  <a:cxn ang="0">
                    <a:pos x="12" y="58"/>
                  </a:cxn>
                  <a:cxn ang="0">
                    <a:pos x="18" y="60"/>
                  </a:cxn>
                  <a:cxn ang="0">
                    <a:pos x="24" y="62"/>
                  </a:cxn>
                  <a:cxn ang="0">
                    <a:pos x="24" y="62"/>
                  </a:cxn>
                  <a:cxn ang="0">
                    <a:pos x="32" y="64"/>
                  </a:cxn>
                  <a:cxn ang="0">
                    <a:pos x="32" y="64"/>
                  </a:cxn>
                  <a:cxn ang="0">
                    <a:pos x="42" y="62"/>
                  </a:cxn>
                  <a:cxn ang="0">
                    <a:pos x="52" y="58"/>
                  </a:cxn>
                  <a:cxn ang="0">
                    <a:pos x="58" y="50"/>
                  </a:cxn>
                  <a:cxn ang="0">
                    <a:pos x="62" y="40"/>
                  </a:cxn>
                  <a:cxn ang="0">
                    <a:pos x="62" y="40"/>
                  </a:cxn>
                  <a:cxn ang="0">
                    <a:pos x="64" y="34"/>
                  </a:cxn>
                  <a:cxn ang="0">
                    <a:pos x="64" y="28"/>
                  </a:cxn>
                  <a:cxn ang="0">
                    <a:pos x="60" y="16"/>
                  </a:cxn>
                  <a:cxn ang="0">
                    <a:pos x="52" y="8"/>
                  </a:cxn>
                  <a:cxn ang="0">
                    <a:pos x="46" y="4"/>
                  </a:cxn>
                  <a:cxn ang="0">
                    <a:pos x="40" y="2"/>
                  </a:cxn>
                  <a:cxn ang="0">
                    <a:pos x="40" y="2"/>
                  </a:cxn>
                  <a:cxn ang="0">
                    <a:pos x="32" y="0"/>
                  </a:cxn>
                </a:cxnLst>
                <a:rect l="0" t="0" r="r" b="b"/>
                <a:pathLst>
                  <a:path w="64" h="64">
                    <a:moveTo>
                      <a:pt x="32" y="0"/>
                    </a:moveTo>
                    <a:lnTo>
                      <a:pt x="32" y="0"/>
                    </a:lnTo>
                    <a:lnTo>
                      <a:pt x="22" y="2"/>
                    </a:lnTo>
                    <a:lnTo>
                      <a:pt x="12" y="6"/>
                    </a:lnTo>
                    <a:lnTo>
                      <a:pt x="6" y="1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4" y="48"/>
                    </a:lnTo>
                    <a:lnTo>
                      <a:pt x="12" y="58"/>
                    </a:lnTo>
                    <a:lnTo>
                      <a:pt x="18" y="60"/>
                    </a:lnTo>
                    <a:lnTo>
                      <a:pt x="24" y="62"/>
                    </a:lnTo>
                    <a:lnTo>
                      <a:pt x="24" y="62"/>
                    </a:lnTo>
                    <a:lnTo>
                      <a:pt x="32" y="64"/>
                    </a:lnTo>
                    <a:lnTo>
                      <a:pt x="32" y="64"/>
                    </a:lnTo>
                    <a:lnTo>
                      <a:pt x="42" y="62"/>
                    </a:lnTo>
                    <a:lnTo>
                      <a:pt x="52" y="58"/>
                    </a:lnTo>
                    <a:lnTo>
                      <a:pt x="58" y="50"/>
                    </a:lnTo>
                    <a:lnTo>
                      <a:pt x="62" y="40"/>
                    </a:lnTo>
                    <a:lnTo>
                      <a:pt x="62" y="40"/>
                    </a:lnTo>
                    <a:lnTo>
                      <a:pt x="64" y="34"/>
                    </a:lnTo>
                    <a:lnTo>
                      <a:pt x="64" y="28"/>
                    </a:lnTo>
                    <a:lnTo>
                      <a:pt x="60" y="16"/>
                    </a:lnTo>
                    <a:lnTo>
                      <a:pt x="52" y="8"/>
                    </a:lnTo>
                    <a:lnTo>
                      <a:pt x="46" y="4"/>
                    </a:lnTo>
                    <a:lnTo>
                      <a:pt x="40" y="2"/>
                    </a:lnTo>
                    <a:lnTo>
                      <a:pt x="40" y="2"/>
                    </a:lnTo>
                    <a:lnTo>
                      <a:pt x="3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30" name="Freeform 166"/>
              <p:cNvSpPr>
                <a:spLocks/>
              </p:cNvSpPr>
              <p:nvPr userDrawn="1"/>
            </p:nvSpPr>
            <p:spPr bwMode="auto">
              <a:xfrm>
                <a:off x="4810125" y="4283075"/>
                <a:ext cx="101600" cy="101600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0"/>
                  </a:cxn>
                  <a:cxn ang="0">
                    <a:pos x="22" y="2"/>
                  </a:cxn>
                  <a:cxn ang="0">
                    <a:pos x="12" y="6"/>
                  </a:cxn>
                  <a:cxn ang="0">
                    <a:pos x="6" y="14"/>
                  </a:cxn>
                  <a:cxn ang="0">
                    <a:pos x="2" y="24"/>
                  </a:cxn>
                  <a:cxn ang="0">
                    <a:pos x="2" y="24"/>
                  </a:cxn>
                  <a:cxn ang="0">
                    <a:pos x="0" y="30"/>
                  </a:cxn>
                  <a:cxn ang="0">
                    <a:pos x="0" y="36"/>
                  </a:cxn>
                  <a:cxn ang="0">
                    <a:pos x="4" y="48"/>
                  </a:cxn>
                  <a:cxn ang="0">
                    <a:pos x="12" y="58"/>
                  </a:cxn>
                  <a:cxn ang="0">
                    <a:pos x="18" y="60"/>
                  </a:cxn>
                  <a:cxn ang="0">
                    <a:pos x="24" y="62"/>
                  </a:cxn>
                  <a:cxn ang="0">
                    <a:pos x="24" y="62"/>
                  </a:cxn>
                  <a:cxn ang="0">
                    <a:pos x="32" y="64"/>
                  </a:cxn>
                  <a:cxn ang="0">
                    <a:pos x="32" y="64"/>
                  </a:cxn>
                  <a:cxn ang="0">
                    <a:pos x="42" y="62"/>
                  </a:cxn>
                  <a:cxn ang="0">
                    <a:pos x="52" y="58"/>
                  </a:cxn>
                  <a:cxn ang="0">
                    <a:pos x="58" y="50"/>
                  </a:cxn>
                  <a:cxn ang="0">
                    <a:pos x="62" y="40"/>
                  </a:cxn>
                  <a:cxn ang="0">
                    <a:pos x="62" y="40"/>
                  </a:cxn>
                  <a:cxn ang="0">
                    <a:pos x="64" y="34"/>
                  </a:cxn>
                  <a:cxn ang="0">
                    <a:pos x="64" y="28"/>
                  </a:cxn>
                  <a:cxn ang="0">
                    <a:pos x="60" y="16"/>
                  </a:cxn>
                  <a:cxn ang="0">
                    <a:pos x="52" y="8"/>
                  </a:cxn>
                  <a:cxn ang="0">
                    <a:pos x="46" y="4"/>
                  </a:cxn>
                  <a:cxn ang="0">
                    <a:pos x="40" y="2"/>
                  </a:cxn>
                  <a:cxn ang="0">
                    <a:pos x="40" y="2"/>
                  </a:cxn>
                  <a:cxn ang="0">
                    <a:pos x="32" y="0"/>
                  </a:cxn>
                </a:cxnLst>
                <a:rect l="0" t="0" r="r" b="b"/>
                <a:pathLst>
                  <a:path w="64" h="64">
                    <a:moveTo>
                      <a:pt x="32" y="0"/>
                    </a:moveTo>
                    <a:lnTo>
                      <a:pt x="32" y="0"/>
                    </a:lnTo>
                    <a:lnTo>
                      <a:pt x="22" y="2"/>
                    </a:lnTo>
                    <a:lnTo>
                      <a:pt x="12" y="6"/>
                    </a:lnTo>
                    <a:lnTo>
                      <a:pt x="6" y="1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4" y="48"/>
                    </a:lnTo>
                    <a:lnTo>
                      <a:pt x="12" y="58"/>
                    </a:lnTo>
                    <a:lnTo>
                      <a:pt x="18" y="60"/>
                    </a:lnTo>
                    <a:lnTo>
                      <a:pt x="24" y="62"/>
                    </a:lnTo>
                    <a:lnTo>
                      <a:pt x="24" y="62"/>
                    </a:lnTo>
                    <a:lnTo>
                      <a:pt x="32" y="64"/>
                    </a:lnTo>
                    <a:lnTo>
                      <a:pt x="32" y="64"/>
                    </a:lnTo>
                    <a:lnTo>
                      <a:pt x="42" y="62"/>
                    </a:lnTo>
                    <a:lnTo>
                      <a:pt x="52" y="58"/>
                    </a:lnTo>
                    <a:lnTo>
                      <a:pt x="58" y="50"/>
                    </a:lnTo>
                    <a:lnTo>
                      <a:pt x="62" y="40"/>
                    </a:lnTo>
                    <a:lnTo>
                      <a:pt x="62" y="40"/>
                    </a:lnTo>
                    <a:lnTo>
                      <a:pt x="64" y="34"/>
                    </a:lnTo>
                    <a:lnTo>
                      <a:pt x="64" y="28"/>
                    </a:lnTo>
                    <a:lnTo>
                      <a:pt x="60" y="16"/>
                    </a:lnTo>
                    <a:lnTo>
                      <a:pt x="52" y="8"/>
                    </a:lnTo>
                    <a:lnTo>
                      <a:pt x="46" y="4"/>
                    </a:lnTo>
                    <a:lnTo>
                      <a:pt x="40" y="2"/>
                    </a:lnTo>
                    <a:lnTo>
                      <a:pt x="40" y="2"/>
                    </a:lnTo>
                    <a:lnTo>
                      <a:pt x="3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31" name="Freeform 167"/>
              <p:cNvSpPr>
                <a:spLocks/>
              </p:cNvSpPr>
              <p:nvPr userDrawn="1"/>
            </p:nvSpPr>
            <p:spPr bwMode="auto">
              <a:xfrm>
                <a:off x="4895850" y="4117975"/>
                <a:ext cx="88900" cy="92075"/>
              </a:xfrm>
              <a:custGeom>
                <a:avLst/>
                <a:gdLst/>
                <a:ahLst/>
                <a:cxnLst>
                  <a:cxn ang="0">
                    <a:pos x="28" y="0"/>
                  </a:cxn>
                  <a:cxn ang="0">
                    <a:pos x="28" y="0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4" y="12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0" y="32"/>
                  </a:cxn>
                  <a:cxn ang="0">
                    <a:pos x="4" y="42"/>
                  </a:cxn>
                  <a:cxn ang="0">
                    <a:pos x="10" y="52"/>
                  </a:cxn>
                  <a:cxn ang="0">
                    <a:pos x="20" y="56"/>
                  </a:cxn>
                  <a:cxn ang="0">
                    <a:pos x="20" y="56"/>
                  </a:cxn>
                  <a:cxn ang="0">
                    <a:pos x="28" y="58"/>
                  </a:cxn>
                  <a:cxn ang="0">
                    <a:pos x="28" y="58"/>
                  </a:cxn>
                  <a:cxn ang="0">
                    <a:pos x="38" y="56"/>
                  </a:cxn>
                  <a:cxn ang="0">
                    <a:pos x="46" y="52"/>
                  </a:cxn>
                  <a:cxn ang="0">
                    <a:pos x="52" y="44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24"/>
                  </a:cxn>
                  <a:cxn ang="0">
                    <a:pos x="52" y="14"/>
                  </a:cxn>
                  <a:cxn ang="0">
                    <a:pos x="46" y="6"/>
                  </a:cxn>
                  <a:cxn ang="0">
                    <a:pos x="36" y="2"/>
                  </a:cxn>
                  <a:cxn ang="0">
                    <a:pos x="36" y="2"/>
                  </a:cxn>
                  <a:cxn ang="0">
                    <a:pos x="28" y="0"/>
                  </a:cxn>
                </a:cxnLst>
                <a:rect l="0" t="0" r="r" b="b"/>
                <a:pathLst>
                  <a:path w="56" h="58">
                    <a:moveTo>
                      <a:pt x="28" y="0"/>
                    </a:moveTo>
                    <a:lnTo>
                      <a:pt x="28" y="0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4" y="1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32"/>
                    </a:lnTo>
                    <a:lnTo>
                      <a:pt x="4" y="42"/>
                    </a:lnTo>
                    <a:lnTo>
                      <a:pt x="10" y="52"/>
                    </a:lnTo>
                    <a:lnTo>
                      <a:pt x="20" y="56"/>
                    </a:lnTo>
                    <a:lnTo>
                      <a:pt x="20" y="56"/>
                    </a:lnTo>
                    <a:lnTo>
                      <a:pt x="28" y="58"/>
                    </a:lnTo>
                    <a:lnTo>
                      <a:pt x="28" y="58"/>
                    </a:lnTo>
                    <a:lnTo>
                      <a:pt x="38" y="56"/>
                    </a:lnTo>
                    <a:lnTo>
                      <a:pt x="46" y="52"/>
                    </a:lnTo>
                    <a:lnTo>
                      <a:pt x="52" y="44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24"/>
                    </a:lnTo>
                    <a:lnTo>
                      <a:pt x="52" y="14"/>
                    </a:lnTo>
                    <a:lnTo>
                      <a:pt x="46" y="6"/>
                    </a:lnTo>
                    <a:lnTo>
                      <a:pt x="36" y="2"/>
                    </a:lnTo>
                    <a:lnTo>
                      <a:pt x="36" y="2"/>
                    </a:lnTo>
                    <a:lnTo>
                      <a:pt x="2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32" name="Freeform 168"/>
              <p:cNvSpPr>
                <a:spLocks/>
              </p:cNvSpPr>
              <p:nvPr userDrawn="1"/>
            </p:nvSpPr>
            <p:spPr bwMode="auto">
              <a:xfrm>
                <a:off x="4895850" y="4117975"/>
                <a:ext cx="88900" cy="92075"/>
              </a:xfrm>
              <a:custGeom>
                <a:avLst/>
                <a:gdLst/>
                <a:ahLst/>
                <a:cxnLst>
                  <a:cxn ang="0">
                    <a:pos x="28" y="0"/>
                  </a:cxn>
                  <a:cxn ang="0">
                    <a:pos x="28" y="0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4" y="12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0" y="32"/>
                  </a:cxn>
                  <a:cxn ang="0">
                    <a:pos x="4" y="42"/>
                  </a:cxn>
                  <a:cxn ang="0">
                    <a:pos x="10" y="52"/>
                  </a:cxn>
                  <a:cxn ang="0">
                    <a:pos x="20" y="56"/>
                  </a:cxn>
                  <a:cxn ang="0">
                    <a:pos x="20" y="56"/>
                  </a:cxn>
                  <a:cxn ang="0">
                    <a:pos x="28" y="58"/>
                  </a:cxn>
                  <a:cxn ang="0">
                    <a:pos x="28" y="58"/>
                  </a:cxn>
                  <a:cxn ang="0">
                    <a:pos x="38" y="56"/>
                  </a:cxn>
                  <a:cxn ang="0">
                    <a:pos x="46" y="52"/>
                  </a:cxn>
                  <a:cxn ang="0">
                    <a:pos x="52" y="44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24"/>
                  </a:cxn>
                  <a:cxn ang="0">
                    <a:pos x="52" y="14"/>
                  </a:cxn>
                  <a:cxn ang="0">
                    <a:pos x="46" y="6"/>
                  </a:cxn>
                  <a:cxn ang="0">
                    <a:pos x="36" y="2"/>
                  </a:cxn>
                  <a:cxn ang="0">
                    <a:pos x="36" y="2"/>
                  </a:cxn>
                  <a:cxn ang="0">
                    <a:pos x="28" y="0"/>
                  </a:cxn>
                </a:cxnLst>
                <a:rect l="0" t="0" r="r" b="b"/>
                <a:pathLst>
                  <a:path w="56" h="58">
                    <a:moveTo>
                      <a:pt x="28" y="0"/>
                    </a:moveTo>
                    <a:lnTo>
                      <a:pt x="28" y="0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4" y="1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32"/>
                    </a:lnTo>
                    <a:lnTo>
                      <a:pt x="4" y="42"/>
                    </a:lnTo>
                    <a:lnTo>
                      <a:pt x="10" y="52"/>
                    </a:lnTo>
                    <a:lnTo>
                      <a:pt x="20" y="56"/>
                    </a:lnTo>
                    <a:lnTo>
                      <a:pt x="20" y="56"/>
                    </a:lnTo>
                    <a:lnTo>
                      <a:pt x="28" y="58"/>
                    </a:lnTo>
                    <a:lnTo>
                      <a:pt x="28" y="58"/>
                    </a:lnTo>
                    <a:lnTo>
                      <a:pt x="38" y="56"/>
                    </a:lnTo>
                    <a:lnTo>
                      <a:pt x="46" y="52"/>
                    </a:lnTo>
                    <a:lnTo>
                      <a:pt x="52" y="44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24"/>
                    </a:lnTo>
                    <a:lnTo>
                      <a:pt x="52" y="14"/>
                    </a:lnTo>
                    <a:lnTo>
                      <a:pt x="46" y="6"/>
                    </a:lnTo>
                    <a:lnTo>
                      <a:pt x="36" y="2"/>
                    </a:lnTo>
                    <a:lnTo>
                      <a:pt x="36" y="2"/>
                    </a:lnTo>
                    <a:lnTo>
                      <a:pt x="2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33" name="Freeform 169"/>
              <p:cNvSpPr>
                <a:spLocks/>
              </p:cNvSpPr>
              <p:nvPr userDrawn="1"/>
            </p:nvSpPr>
            <p:spPr bwMode="auto">
              <a:xfrm>
                <a:off x="5006975" y="3968750"/>
                <a:ext cx="82550" cy="79375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2"/>
                  </a:cxn>
                  <a:cxn ang="0">
                    <a:pos x="10" y="4"/>
                  </a:cxn>
                  <a:cxn ang="0">
                    <a:pos x="6" y="10"/>
                  </a:cxn>
                  <a:cxn ang="0">
                    <a:pos x="2" y="18"/>
                  </a:cxn>
                  <a:cxn ang="0">
                    <a:pos x="2" y="18"/>
                  </a:cxn>
                  <a:cxn ang="0">
                    <a:pos x="0" y="28"/>
                  </a:cxn>
                  <a:cxn ang="0">
                    <a:pos x="4" y="38"/>
                  </a:cxn>
                  <a:cxn ang="0">
                    <a:pos x="10" y="46"/>
                  </a:cxn>
                  <a:cxn ang="0">
                    <a:pos x="20" y="50"/>
                  </a:cxn>
                  <a:cxn ang="0">
                    <a:pos x="20" y="50"/>
                  </a:cxn>
                  <a:cxn ang="0">
                    <a:pos x="26" y="50"/>
                  </a:cxn>
                  <a:cxn ang="0">
                    <a:pos x="26" y="50"/>
                  </a:cxn>
                  <a:cxn ang="0">
                    <a:pos x="34" y="50"/>
                  </a:cxn>
                  <a:cxn ang="0">
                    <a:pos x="42" y="46"/>
                  </a:cxn>
                  <a:cxn ang="0">
                    <a:pos x="48" y="40"/>
                  </a:cxn>
                  <a:cxn ang="0">
                    <a:pos x="50" y="32"/>
                  </a:cxn>
                  <a:cxn ang="0">
                    <a:pos x="50" y="32"/>
                  </a:cxn>
                  <a:cxn ang="0">
                    <a:pos x="52" y="22"/>
                  </a:cxn>
                  <a:cxn ang="0">
                    <a:pos x="48" y="12"/>
                  </a:cxn>
                  <a:cxn ang="0">
                    <a:pos x="42" y="6"/>
                  </a:cxn>
                  <a:cxn ang="0">
                    <a:pos x="32" y="0"/>
                  </a:cxn>
                  <a:cxn ang="0">
                    <a:pos x="32" y="0"/>
                  </a:cxn>
                  <a:cxn ang="0">
                    <a:pos x="26" y="0"/>
                  </a:cxn>
                </a:cxnLst>
                <a:rect l="0" t="0" r="r" b="b"/>
                <a:pathLst>
                  <a:path w="52" h="50">
                    <a:moveTo>
                      <a:pt x="26" y="0"/>
                    </a:moveTo>
                    <a:lnTo>
                      <a:pt x="26" y="0"/>
                    </a:lnTo>
                    <a:lnTo>
                      <a:pt x="18" y="2"/>
                    </a:lnTo>
                    <a:lnTo>
                      <a:pt x="10" y="4"/>
                    </a:lnTo>
                    <a:lnTo>
                      <a:pt x="6" y="10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0" y="28"/>
                    </a:lnTo>
                    <a:lnTo>
                      <a:pt x="4" y="38"/>
                    </a:lnTo>
                    <a:lnTo>
                      <a:pt x="10" y="46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34" y="50"/>
                    </a:lnTo>
                    <a:lnTo>
                      <a:pt x="42" y="46"/>
                    </a:lnTo>
                    <a:lnTo>
                      <a:pt x="48" y="40"/>
                    </a:lnTo>
                    <a:lnTo>
                      <a:pt x="50" y="32"/>
                    </a:lnTo>
                    <a:lnTo>
                      <a:pt x="50" y="32"/>
                    </a:lnTo>
                    <a:lnTo>
                      <a:pt x="52" y="22"/>
                    </a:lnTo>
                    <a:lnTo>
                      <a:pt x="48" y="12"/>
                    </a:lnTo>
                    <a:lnTo>
                      <a:pt x="42" y="6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34" name="Freeform 170"/>
              <p:cNvSpPr>
                <a:spLocks/>
              </p:cNvSpPr>
              <p:nvPr userDrawn="1"/>
            </p:nvSpPr>
            <p:spPr bwMode="auto">
              <a:xfrm>
                <a:off x="5006975" y="3968750"/>
                <a:ext cx="82550" cy="79375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2"/>
                  </a:cxn>
                  <a:cxn ang="0">
                    <a:pos x="10" y="4"/>
                  </a:cxn>
                  <a:cxn ang="0">
                    <a:pos x="6" y="10"/>
                  </a:cxn>
                  <a:cxn ang="0">
                    <a:pos x="2" y="18"/>
                  </a:cxn>
                  <a:cxn ang="0">
                    <a:pos x="2" y="18"/>
                  </a:cxn>
                  <a:cxn ang="0">
                    <a:pos x="0" y="28"/>
                  </a:cxn>
                  <a:cxn ang="0">
                    <a:pos x="4" y="38"/>
                  </a:cxn>
                  <a:cxn ang="0">
                    <a:pos x="10" y="46"/>
                  </a:cxn>
                  <a:cxn ang="0">
                    <a:pos x="20" y="50"/>
                  </a:cxn>
                  <a:cxn ang="0">
                    <a:pos x="20" y="50"/>
                  </a:cxn>
                  <a:cxn ang="0">
                    <a:pos x="26" y="50"/>
                  </a:cxn>
                  <a:cxn ang="0">
                    <a:pos x="26" y="50"/>
                  </a:cxn>
                  <a:cxn ang="0">
                    <a:pos x="34" y="50"/>
                  </a:cxn>
                  <a:cxn ang="0">
                    <a:pos x="42" y="46"/>
                  </a:cxn>
                  <a:cxn ang="0">
                    <a:pos x="48" y="40"/>
                  </a:cxn>
                  <a:cxn ang="0">
                    <a:pos x="50" y="32"/>
                  </a:cxn>
                  <a:cxn ang="0">
                    <a:pos x="50" y="32"/>
                  </a:cxn>
                  <a:cxn ang="0">
                    <a:pos x="52" y="22"/>
                  </a:cxn>
                  <a:cxn ang="0">
                    <a:pos x="48" y="12"/>
                  </a:cxn>
                  <a:cxn ang="0">
                    <a:pos x="42" y="6"/>
                  </a:cxn>
                  <a:cxn ang="0">
                    <a:pos x="32" y="0"/>
                  </a:cxn>
                  <a:cxn ang="0">
                    <a:pos x="32" y="0"/>
                  </a:cxn>
                  <a:cxn ang="0">
                    <a:pos x="26" y="0"/>
                  </a:cxn>
                </a:cxnLst>
                <a:rect l="0" t="0" r="r" b="b"/>
                <a:pathLst>
                  <a:path w="52" h="50">
                    <a:moveTo>
                      <a:pt x="26" y="0"/>
                    </a:moveTo>
                    <a:lnTo>
                      <a:pt x="26" y="0"/>
                    </a:lnTo>
                    <a:lnTo>
                      <a:pt x="18" y="2"/>
                    </a:lnTo>
                    <a:lnTo>
                      <a:pt x="10" y="4"/>
                    </a:lnTo>
                    <a:lnTo>
                      <a:pt x="6" y="10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0" y="28"/>
                    </a:lnTo>
                    <a:lnTo>
                      <a:pt x="4" y="38"/>
                    </a:lnTo>
                    <a:lnTo>
                      <a:pt x="10" y="46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34" y="50"/>
                    </a:lnTo>
                    <a:lnTo>
                      <a:pt x="42" y="46"/>
                    </a:lnTo>
                    <a:lnTo>
                      <a:pt x="48" y="40"/>
                    </a:lnTo>
                    <a:lnTo>
                      <a:pt x="50" y="32"/>
                    </a:lnTo>
                    <a:lnTo>
                      <a:pt x="50" y="32"/>
                    </a:lnTo>
                    <a:lnTo>
                      <a:pt x="52" y="22"/>
                    </a:lnTo>
                    <a:lnTo>
                      <a:pt x="48" y="12"/>
                    </a:lnTo>
                    <a:lnTo>
                      <a:pt x="42" y="6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2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35" name="Freeform 171"/>
              <p:cNvSpPr>
                <a:spLocks/>
              </p:cNvSpPr>
              <p:nvPr userDrawn="1"/>
            </p:nvSpPr>
            <p:spPr bwMode="auto">
              <a:xfrm>
                <a:off x="5146675" y="3838575"/>
                <a:ext cx="69850" cy="73025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4" y="2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0" y="26"/>
                  </a:cxn>
                  <a:cxn ang="0">
                    <a:pos x="2" y="34"/>
                  </a:cxn>
                  <a:cxn ang="0">
                    <a:pos x="8" y="42"/>
                  </a:cxn>
                  <a:cxn ang="0">
                    <a:pos x="16" y="46"/>
                  </a:cxn>
                  <a:cxn ang="0">
                    <a:pos x="16" y="46"/>
                  </a:cxn>
                  <a:cxn ang="0">
                    <a:pos x="22" y="46"/>
                  </a:cxn>
                  <a:cxn ang="0">
                    <a:pos x="22" y="46"/>
                  </a:cxn>
                  <a:cxn ang="0">
                    <a:pos x="30" y="46"/>
                  </a:cxn>
                  <a:cxn ang="0">
                    <a:pos x="36" y="42"/>
                  </a:cxn>
                  <a:cxn ang="0">
                    <a:pos x="42" y="36"/>
                  </a:cxn>
                  <a:cxn ang="0">
                    <a:pos x="44" y="30"/>
                  </a:cxn>
                  <a:cxn ang="0">
                    <a:pos x="44" y="30"/>
                  </a:cxn>
                  <a:cxn ang="0">
                    <a:pos x="44" y="20"/>
                  </a:cxn>
                  <a:cxn ang="0">
                    <a:pos x="42" y="12"/>
                  </a:cxn>
                  <a:cxn ang="0">
                    <a:pos x="36" y="6"/>
                  </a:cxn>
                  <a:cxn ang="0">
                    <a:pos x="28" y="2"/>
                  </a:cxn>
                  <a:cxn ang="0">
                    <a:pos x="28" y="2"/>
                  </a:cxn>
                  <a:cxn ang="0">
                    <a:pos x="22" y="0"/>
                  </a:cxn>
                </a:cxnLst>
                <a:rect l="0" t="0" r="r" b="b"/>
                <a:pathLst>
                  <a:path w="44" h="46">
                    <a:moveTo>
                      <a:pt x="22" y="0"/>
                    </a:moveTo>
                    <a:lnTo>
                      <a:pt x="22" y="0"/>
                    </a:lnTo>
                    <a:lnTo>
                      <a:pt x="14" y="2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26"/>
                    </a:lnTo>
                    <a:lnTo>
                      <a:pt x="2" y="34"/>
                    </a:lnTo>
                    <a:lnTo>
                      <a:pt x="8" y="42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22" y="46"/>
                    </a:lnTo>
                    <a:lnTo>
                      <a:pt x="22" y="46"/>
                    </a:lnTo>
                    <a:lnTo>
                      <a:pt x="30" y="46"/>
                    </a:lnTo>
                    <a:lnTo>
                      <a:pt x="36" y="42"/>
                    </a:lnTo>
                    <a:lnTo>
                      <a:pt x="42" y="36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20"/>
                    </a:lnTo>
                    <a:lnTo>
                      <a:pt x="42" y="12"/>
                    </a:lnTo>
                    <a:lnTo>
                      <a:pt x="36" y="6"/>
                    </a:lnTo>
                    <a:lnTo>
                      <a:pt x="28" y="2"/>
                    </a:lnTo>
                    <a:lnTo>
                      <a:pt x="28" y="2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36" name="Freeform 172"/>
              <p:cNvSpPr>
                <a:spLocks/>
              </p:cNvSpPr>
              <p:nvPr userDrawn="1"/>
            </p:nvSpPr>
            <p:spPr bwMode="auto">
              <a:xfrm>
                <a:off x="5146675" y="3838575"/>
                <a:ext cx="69850" cy="73025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4" y="2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0" y="26"/>
                  </a:cxn>
                  <a:cxn ang="0">
                    <a:pos x="2" y="34"/>
                  </a:cxn>
                  <a:cxn ang="0">
                    <a:pos x="8" y="42"/>
                  </a:cxn>
                  <a:cxn ang="0">
                    <a:pos x="16" y="46"/>
                  </a:cxn>
                  <a:cxn ang="0">
                    <a:pos x="16" y="46"/>
                  </a:cxn>
                  <a:cxn ang="0">
                    <a:pos x="22" y="46"/>
                  </a:cxn>
                  <a:cxn ang="0">
                    <a:pos x="22" y="46"/>
                  </a:cxn>
                  <a:cxn ang="0">
                    <a:pos x="30" y="46"/>
                  </a:cxn>
                  <a:cxn ang="0">
                    <a:pos x="36" y="42"/>
                  </a:cxn>
                  <a:cxn ang="0">
                    <a:pos x="42" y="36"/>
                  </a:cxn>
                  <a:cxn ang="0">
                    <a:pos x="44" y="30"/>
                  </a:cxn>
                  <a:cxn ang="0">
                    <a:pos x="44" y="30"/>
                  </a:cxn>
                  <a:cxn ang="0">
                    <a:pos x="44" y="20"/>
                  </a:cxn>
                  <a:cxn ang="0">
                    <a:pos x="42" y="12"/>
                  </a:cxn>
                  <a:cxn ang="0">
                    <a:pos x="36" y="6"/>
                  </a:cxn>
                  <a:cxn ang="0">
                    <a:pos x="28" y="2"/>
                  </a:cxn>
                  <a:cxn ang="0">
                    <a:pos x="28" y="2"/>
                  </a:cxn>
                  <a:cxn ang="0">
                    <a:pos x="22" y="0"/>
                  </a:cxn>
                </a:cxnLst>
                <a:rect l="0" t="0" r="r" b="b"/>
                <a:pathLst>
                  <a:path w="44" h="46">
                    <a:moveTo>
                      <a:pt x="22" y="0"/>
                    </a:moveTo>
                    <a:lnTo>
                      <a:pt x="22" y="0"/>
                    </a:lnTo>
                    <a:lnTo>
                      <a:pt x="14" y="2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26"/>
                    </a:lnTo>
                    <a:lnTo>
                      <a:pt x="2" y="34"/>
                    </a:lnTo>
                    <a:lnTo>
                      <a:pt x="8" y="42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22" y="46"/>
                    </a:lnTo>
                    <a:lnTo>
                      <a:pt x="22" y="46"/>
                    </a:lnTo>
                    <a:lnTo>
                      <a:pt x="30" y="46"/>
                    </a:lnTo>
                    <a:lnTo>
                      <a:pt x="36" y="42"/>
                    </a:lnTo>
                    <a:lnTo>
                      <a:pt x="42" y="36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20"/>
                    </a:lnTo>
                    <a:lnTo>
                      <a:pt x="42" y="12"/>
                    </a:lnTo>
                    <a:lnTo>
                      <a:pt x="36" y="6"/>
                    </a:lnTo>
                    <a:lnTo>
                      <a:pt x="28" y="2"/>
                    </a:lnTo>
                    <a:lnTo>
                      <a:pt x="28" y="2"/>
                    </a:lnTo>
                    <a:lnTo>
                      <a:pt x="2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37" name="Freeform 173"/>
              <p:cNvSpPr>
                <a:spLocks/>
              </p:cNvSpPr>
              <p:nvPr userDrawn="1"/>
            </p:nvSpPr>
            <p:spPr bwMode="auto">
              <a:xfrm>
                <a:off x="5302250" y="3733800"/>
                <a:ext cx="66675" cy="66675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4" y="2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0" y="24"/>
                  </a:cxn>
                  <a:cxn ang="0">
                    <a:pos x="4" y="32"/>
                  </a:cxn>
                  <a:cxn ang="0">
                    <a:pos x="8" y="38"/>
                  </a:cxn>
                  <a:cxn ang="0">
                    <a:pos x="16" y="42"/>
                  </a:cxn>
                  <a:cxn ang="0">
                    <a:pos x="16" y="42"/>
                  </a:cxn>
                  <a:cxn ang="0">
                    <a:pos x="22" y="42"/>
                  </a:cxn>
                  <a:cxn ang="0">
                    <a:pos x="22" y="42"/>
                  </a:cxn>
                  <a:cxn ang="0">
                    <a:pos x="28" y="40"/>
                  </a:cxn>
                  <a:cxn ang="0">
                    <a:pos x="34" y="38"/>
                  </a:cxn>
                  <a:cxn ang="0">
                    <a:pos x="38" y="32"/>
                  </a:cxn>
                  <a:cxn ang="0">
                    <a:pos x="42" y="26"/>
                  </a:cxn>
                  <a:cxn ang="0">
                    <a:pos x="42" y="26"/>
                  </a:cxn>
                  <a:cxn ang="0">
                    <a:pos x="42" y="18"/>
                  </a:cxn>
                  <a:cxn ang="0">
                    <a:pos x="40" y="10"/>
                  </a:cxn>
                  <a:cxn ang="0">
                    <a:pos x="34" y="4"/>
                  </a:cxn>
                  <a:cxn ang="0">
                    <a:pos x="26" y="2"/>
                  </a:cxn>
                  <a:cxn ang="0">
                    <a:pos x="26" y="2"/>
                  </a:cxn>
                  <a:cxn ang="0">
                    <a:pos x="22" y="0"/>
                  </a:cxn>
                </a:cxnLst>
                <a:rect l="0" t="0" r="r" b="b"/>
                <a:pathLst>
                  <a:path w="42" h="42">
                    <a:moveTo>
                      <a:pt x="22" y="0"/>
                    </a:moveTo>
                    <a:lnTo>
                      <a:pt x="22" y="0"/>
                    </a:lnTo>
                    <a:lnTo>
                      <a:pt x="14" y="2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0" y="24"/>
                    </a:lnTo>
                    <a:lnTo>
                      <a:pt x="4" y="32"/>
                    </a:lnTo>
                    <a:lnTo>
                      <a:pt x="8" y="38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8" y="40"/>
                    </a:lnTo>
                    <a:lnTo>
                      <a:pt x="34" y="38"/>
                    </a:lnTo>
                    <a:lnTo>
                      <a:pt x="38" y="32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18"/>
                    </a:lnTo>
                    <a:lnTo>
                      <a:pt x="40" y="10"/>
                    </a:lnTo>
                    <a:lnTo>
                      <a:pt x="34" y="4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38" name="Freeform 174"/>
              <p:cNvSpPr>
                <a:spLocks/>
              </p:cNvSpPr>
              <p:nvPr userDrawn="1"/>
            </p:nvSpPr>
            <p:spPr bwMode="auto">
              <a:xfrm>
                <a:off x="5302250" y="3733800"/>
                <a:ext cx="66675" cy="66675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4" y="2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0" y="24"/>
                  </a:cxn>
                  <a:cxn ang="0">
                    <a:pos x="4" y="32"/>
                  </a:cxn>
                  <a:cxn ang="0">
                    <a:pos x="8" y="38"/>
                  </a:cxn>
                  <a:cxn ang="0">
                    <a:pos x="16" y="42"/>
                  </a:cxn>
                  <a:cxn ang="0">
                    <a:pos x="16" y="42"/>
                  </a:cxn>
                  <a:cxn ang="0">
                    <a:pos x="22" y="42"/>
                  </a:cxn>
                  <a:cxn ang="0">
                    <a:pos x="22" y="42"/>
                  </a:cxn>
                  <a:cxn ang="0">
                    <a:pos x="28" y="40"/>
                  </a:cxn>
                  <a:cxn ang="0">
                    <a:pos x="34" y="38"/>
                  </a:cxn>
                  <a:cxn ang="0">
                    <a:pos x="38" y="32"/>
                  </a:cxn>
                  <a:cxn ang="0">
                    <a:pos x="42" y="26"/>
                  </a:cxn>
                  <a:cxn ang="0">
                    <a:pos x="42" y="26"/>
                  </a:cxn>
                  <a:cxn ang="0">
                    <a:pos x="42" y="18"/>
                  </a:cxn>
                  <a:cxn ang="0">
                    <a:pos x="40" y="10"/>
                  </a:cxn>
                  <a:cxn ang="0">
                    <a:pos x="34" y="4"/>
                  </a:cxn>
                  <a:cxn ang="0">
                    <a:pos x="26" y="2"/>
                  </a:cxn>
                  <a:cxn ang="0">
                    <a:pos x="26" y="2"/>
                  </a:cxn>
                  <a:cxn ang="0">
                    <a:pos x="22" y="0"/>
                  </a:cxn>
                </a:cxnLst>
                <a:rect l="0" t="0" r="r" b="b"/>
                <a:pathLst>
                  <a:path w="42" h="42">
                    <a:moveTo>
                      <a:pt x="22" y="0"/>
                    </a:moveTo>
                    <a:lnTo>
                      <a:pt x="22" y="0"/>
                    </a:lnTo>
                    <a:lnTo>
                      <a:pt x="14" y="2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0" y="24"/>
                    </a:lnTo>
                    <a:lnTo>
                      <a:pt x="4" y="32"/>
                    </a:lnTo>
                    <a:lnTo>
                      <a:pt x="8" y="38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8" y="40"/>
                    </a:lnTo>
                    <a:lnTo>
                      <a:pt x="34" y="38"/>
                    </a:lnTo>
                    <a:lnTo>
                      <a:pt x="38" y="32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18"/>
                    </a:lnTo>
                    <a:lnTo>
                      <a:pt x="40" y="10"/>
                    </a:lnTo>
                    <a:lnTo>
                      <a:pt x="34" y="4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39" name="Freeform 175"/>
              <p:cNvSpPr>
                <a:spLocks/>
              </p:cNvSpPr>
              <p:nvPr userDrawn="1"/>
            </p:nvSpPr>
            <p:spPr bwMode="auto">
              <a:xfrm>
                <a:off x="5476875" y="3657600"/>
                <a:ext cx="60325" cy="60325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2"/>
                  </a:cxn>
                  <a:cxn ang="0">
                    <a:pos x="8" y="4"/>
                  </a:cxn>
                  <a:cxn ang="0">
                    <a:pos x="4" y="8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2" y="28"/>
                  </a:cxn>
                  <a:cxn ang="0">
                    <a:pos x="8" y="34"/>
                  </a:cxn>
                  <a:cxn ang="0">
                    <a:pos x="14" y="38"/>
                  </a:cxn>
                  <a:cxn ang="0">
                    <a:pos x="14" y="38"/>
                  </a:cxn>
                  <a:cxn ang="0">
                    <a:pos x="20" y="38"/>
                  </a:cxn>
                  <a:cxn ang="0">
                    <a:pos x="20" y="38"/>
                  </a:cxn>
                  <a:cxn ang="0">
                    <a:pos x="26" y="36"/>
                  </a:cxn>
                  <a:cxn ang="0">
                    <a:pos x="30" y="34"/>
                  </a:cxn>
                  <a:cxn ang="0">
                    <a:pos x="34" y="30"/>
                  </a:cxn>
                  <a:cxn ang="0">
                    <a:pos x="38" y="24"/>
                  </a:cxn>
                  <a:cxn ang="0">
                    <a:pos x="38" y="24"/>
                  </a:cxn>
                  <a:cxn ang="0">
                    <a:pos x="38" y="16"/>
                  </a:cxn>
                  <a:cxn ang="0">
                    <a:pos x="36" y="10"/>
                  </a:cxn>
                  <a:cxn ang="0">
                    <a:pos x="30" y="4"/>
                  </a:cxn>
                  <a:cxn ang="0">
                    <a:pos x="24" y="2"/>
                  </a:cxn>
                  <a:cxn ang="0">
                    <a:pos x="24" y="2"/>
                  </a:cxn>
                  <a:cxn ang="0">
                    <a:pos x="20" y="0"/>
                  </a:cxn>
                </a:cxnLst>
                <a:rect l="0" t="0" r="r" b="b"/>
                <a:pathLst>
                  <a:path w="38" h="38">
                    <a:moveTo>
                      <a:pt x="20" y="0"/>
                    </a:moveTo>
                    <a:lnTo>
                      <a:pt x="20" y="0"/>
                    </a:lnTo>
                    <a:lnTo>
                      <a:pt x="14" y="2"/>
                    </a:lnTo>
                    <a:lnTo>
                      <a:pt x="8" y="4"/>
                    </a:lnTo>
                    <a:lnTo>
                      <a:pt x="4" y="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2" y="28"/>
                    </a:lnTo>
                    <a:lnTo>
                      <a:pt x="8" y="34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6" y="36"/>
                    </a:lnTo>
                    <a:lnTo>
                      <a:pt x="30" y="34"/>
                    </a:lnTo>
                    <a:lnTo>
                      <a:pt x="34" y="30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16"/>
                    </a:lnTo>
                    <a:lnTo>
                      <a:pt x="36" y="10"/>
                    </a:lnTo>
                    <a:lnTo>
                      <a:pt x="30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40" name="Freeform 176"/>
              <p:cNvSpPr>
                <a:spLocks/>
              </p:cNvSpPr>
              <p:nvPr userDrawn="1"/>
            </p:nvSpPr>
            <p:spPr bwMode="auto">
              <a:xfrm>
                <a:off x="5476875" y="3657600"/>
                <a:ext cx="60325" cy="60325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2"/>
                  </a:cxn>
                  <a:cxn ang="0">
                    <a:pos x="8" y="4"/>
                  </a:cxn>
                  <a:cxn ang="0">
                    <a:pos x="4" y="8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2" y="28"/>
                  </a:cxn>
                  <a:cxn ang="0">
                    <a:pos x="8" y="34"/>
                  </a:cxn>
                  <a:cxn ang="0">
                    <a:pos x="14" y="38"/>
                  </a:cxn>
                  <a:cxn ang="0">
                    <a:pos x="14" y="38"/>
                  </a:cxn>
                  <a:cxn ang="0">
                    <a:pos x="20" y="38"/>
                  </a:cxn>
                  <a:cxn ang="0">
                    <a:pos x="20" y="38"/>
                  </a:cxn>
                  <a:cxn ang="0">
                    <a:pos x="26" y="36"/>
                  </a:cxn>
                  <a:cxn ang="0">
                    <a:pos x="30" y="34"/>
                  </a:cxn>
                  <a:cxn ang="0">
                    <a:pos x="34" y="30"/>
                  </a:cxn>
                  <a:cxn ang="0">
                    <a:pos x="38" y="24"/>
                  </a:cxn>
                  <a:cxn ang="0">
                    <a:pos x="38" y="24"/>
                  </a:cxn>
                  <a:cxn ang="0">
                    <a:pos x="38" y="16"/>
                  </a:cxn>
                  <a:cxn ang="0">
                    <a:pos x="36" y="10"/>
                  </a:cxn>
                  <a:cxn ang="0">
                    <a:pos x="30" y="4"/>
                  </a:cxn>
                  <a:cxn ang="0">
                    <a:pos x="24" y="2"/>
                  </a:cxn>
                  <a:cxn ang="0">
                    <a:pos x="24" y="2"/>
                  </a:cxn>
                  <a:cxn ang="0">
                    <a:pos x="20" y="0"/>
                  </a:cxn>
                </a:cxnLst>
                <a:rect l="0" t="0" r="r" b="b"/>
                <a:pathLst>
                  <a:path w="38" h="38">
                    <a:moveTo>
                      <a:pt x="20" y="0"/>
                    </a:moveTo>
                    <a:lnTo>
                      <a:pt x="20" y="0"/>
                    </a:lnTo>
                    <a:lnTo>
                      <a:pt x="14" y="2"/>
                    </a:lnTo>
                    <a:lnTo>
                      <a:pt x="8" y="4"/>
                    </a:lnTo>
                    <a:lnTo>
                      <a:pt x="4" y="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2" y="28"/>
                    </a:lnTo>
                    <a:lnTo>
                      <a:pt x="8" y="34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6" y="36"/>
                    </a:lnTo>
                    <a:lnTo>
                      <a:pt x="30" y="34"/>
                    </a:lnTo>
                    <a:lnTo>
                      <a:pt x="34" y="30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16"/>
                    </a:lnTo>
                    <a:lnTo>
                      <a:pt x="36" y="10"/>
                    </a:lnTo>
                    <a:lnTo>
                      <a:pt x="30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2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41" name="Freeform 177"/>
              <p:cNvSpPr>
                <a:spLocks/>
              </p:cNvSpPr>
              <p:nvPr userDrawn="1"/>
            </p:nvSpPr>
            <p:spPr bwMode="auto">
              <a:xfrm>
                <a:off x="5664200" y="3613150"/>
                <a:ext cx="50800" cy="5397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6" y="30"/>
                  </a:cxn>
                  <a:cxn ang="0">
                    <a:pos x="12" y="32"/>
                  </a:cxn>
                  <a:cxn ang="0">
                    <a:pos x="12" y="32"/>
                  </a:cxn>
                  <a:cxn ang="0">
                    <a:pos x="16" y="34"/>
                  </a:cxn>
                  <a:cxn ang="0">
                    <a:pos x="16" y="34"/>
                  </a:cxn>
                  <a:cxn ang="0">
                    <a:pos x="22" y="32"/>
                  </a:cxn>
                  <a:cxn ang="0">
                    <a:pos x="26" y="30"/>
                  </a:cxn>
                  <a:cxn ang="0">
                    <a:pos x="30" y="26"/>
                  </a:cxn>
                  <a:cxn ang="0">
                    <a:pos x="32" y="20"/>
                  </a:cxn>
                  <a:cxn ang="0">
                    <a:pos x="32" y="20"/>
                  </a:cxn>
                  <a:cxn ang="0">
                    <a:pos x="32" y="14"/>
                  </a:cxn>
                  <a:cxn ang="0">
                    <a:pos x="30" y="8"/>
                  </a:cxn>
                  <a:cxn ang="0">
                    <a:pos x="26" y="4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6" y="0"/>
                  </a:cxn>
                </a:cxnLst>
                <a:rect l="0" t="0" r="r" b="b"/>
                <a:pathLst>
                  <a:path w="32" h="34">
                    <a:moveTo>
                      <a:pt x="16" y="0"/>
                    </a:moveTo>
                    <a:lnTo>
                      <a:pt x="16" y="0"/>
                    </a:lnTo>
                    <a:lnTo>
                      <a:pt x="10" y="0"/>
                    </a:lnTo>
                    <a:lnTo>
                      <a:pt x="6" y="2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6" y="30"/>
                    </a:lnTo>
                    <a:lnTo>
                      <a:pt x="12" y="32"/>
                    </a:lnTo>
                    <a:lnTo>
                      <a:pt x="12" y="32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22" y="32"/>
                    </a:lnTo>
                    <a:lnTo>
                      <a:pt x="26" y="30"/>
                    </a:lnTo>
                    <a:lnTo>
                      <a:pt x="30" y="26"/>
                    </a:lnTo>
                    <a:lnTo>
                      <a:pt x="32" y="20"/>
                    </a:lnTo>
                    <a:lnTo>
                      <a:pt x="32" y="20"/>
                    </a:lnTo>
                    <a:lnTo>
                      <a:pt x="32" y="14"/>
                    </a:lnTo>
                    <a:lnTo>
                      <a:pt x="30" y="8"/>
                    </a:lnTo>
                    <a:lnTo>
                      <a:pt x="26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42" name="Freeform 178"/>
              <p:cNvSpPr>
                <a:spLocks/>
              </p:cNvSpPr>
              <p:nvPr userDrawn="1"/>
            </p:nvSpPr>
            <p:spPr bwMode="auto">
              <a:xfrm>
                <a:off x="5664200" y="3613150"/>
                <a:ext cx="50800" cy="5397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6" y="30"/>
                  </a:cxn>
                  <a:cxn ang="0">
                    <a:pos x="12" y="32"/>
                  </a:cxn>
                  <a:cxn ang="0">
                    <a:pos x="12" y="32"/>
                  </a:cxn>
                  <a:cxn ang="0">
                    <a:pos x="16" y="34"/>
                  </a:cxn>
                  <a:cxn ang="0">
                    <a:pos x="16" y="34"/>
                  </a:cxn>
                  <a:cxn ang="0">
                    <a:pos x="22" y="32"/>
                  </a:cxn>
                  <a:cxn ang="0">
                    <a:pos x="26" y="30"/>
                  </a:cxn>
                  <a:cxn ang="0">
                    <a:pos x="30" y="26"/>
                  </a:cxn>
                  <a:cxn ang="0">
                    <a:pos x="32" y="20"/>
                  </a:cxn>
                  <a:cxn ang="0">
                    <a:pos x="32" y="20"/>
                  </a:cxn>
                  <a:cxn ang="0">
                    <a:pos x="32" y="14"/>
                  </a:cxn>
                  <a:cxn ang="0">
                    <a:pos x="30" y="8"/>
                  </a:cxn>
                  <a:cxn ang="0">
                    <a:pos x="26" y="4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6" y="0"/>
                  </a:cxn>
                </a:cxnLst>
                <a:rect l="0" t="0" r="r" b="b"/>
                <a:pathLst>
                  <a:path w="32" h="34">
                    <a:moveTo>
                      <a:pt x="16" y="0"/>
                    </a:moveTo>
                    <a:lnTo>
                      <a:pt x="16" y="0"/>
                    </a:lnTo>
                    <a:lnTo>
                      <a:pt x="10" y="0"/>
                    </a:lnTo>
                    <a:lnTo>
                      <a:pt x="6" y="2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6" y="30"/>
                    </a:lnTo>
                    <a:lnTo>
                      <a:pt x="12" y="32"/>
                    </a:lnTo>
                    <a:lnTo>
                      <a:pt x="12" y="32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22" y="32"/>
                    </a:lnTo>
                    <a:lnTo>
                      <a:pt x="26" y="30"/>
                    </a:lnTo>
                    <a:lnTo>
                      <a:pt x="30" y="26"/>
                    </a:lnTo>
                    <a:lnTo>
                      <a:pt x="32" y="20"/>
                    </a:lnTo>
                    <a:lnTo>
                      <a:pt x="32" y="20"/>
                    </a:lnTo>
                    <a:lnTo>
                      <a:pt x="32" y="14"/>
                    </a:lnTo>
                    <a:lnTo>
                      <a:pt x="30" y="8"/>
                    </a:lnTo>
                    <a:lnTo>
                      <a:pt x="26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43" name="Freeform 179"/>
              <p:cNvSpPr>
                <a:spLocks/>
              </p:cNvSpPr>
              <p:nvPr userDrawn="1"/>
            </p:nvSpPr>
            <p:spPr bwMode="auto">
              <a:xfrm>
                <a:off x="5851525" y="3597275"/>
                <a:ext cx="47625" cy="5080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2"/>
                  </a:cxn>
                  <a:cxn ang="0">
                    <a:pos x="6" y="4"/>
                  </a:cxn>
                  <a:cxn ang="0">
                    <a:pos x="4" y="8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6" y="28"/>
                  </a:cxn>
                  <a:cxn ang="0">
                    <a:pos x="12" y="30"/>
                  </a:cxn>
                  <a:cxn ang="0">
                    <a:pos x="12" y="30"/>
                  </a:cxn>
                  <a:cxn ang="0">
                    <a:pos x="16" y="32"/>
                  </a:cxn>
                  <a:cxn ang="0">
                    <a:pos x="16" y="32"/>
                  </a:cxn>
                  <a:cxn ang="0">
                    <a:pos x="20" y="30"/>
                  </a:cxn>
                  <a:cxn ang="0">
                    <a:pos x="26" y="28"/>
                  </a:cxn>
                  <a:cxn ang="0">
                    <a:pos x="28" y="24"/>
                  </a:cxn>
                  <a:cxn ang="0">
                    <a:pos x="30" y="20"/>
                  </a:cxn>
                  <a:cxn ang="0">
                    <a:pos x="30" y="20"/>
                  </a:cxn>
                  <a:cxn ang="0">
                    <a:pos x="30" y="14"/>
                  </a:cxn>
                  <a:cxn ang="0">
                    <a:pos x="30" y="8"/>
                  </a:cxn>
                  <a:cxn ang="0">
                    <a:pos x="26" y="4"/>
                  </a:cxn>
                  <a:cxn ang="0">
                    <a:pos x="20" y="2"/>
                  </a:cxn>
                  <a:cxn ang="0">
                    <a:pos x="20" y="2"/>
                  </a:cxn>
                  <a:cxn ang="0">
                    <a:pos x="16" y="0"/>
                  </a:cxn>
                </a:cxnLst>
                <a:rect l="0" t="0" r="r" b="b"/>
                <a:pathLst>
                  <a:path w="30" h="32">
                    <a:moveTo>
                      <a:pt x="16" y="0"/>
                    </a:moveTo>
                    <a:lnTo>
                      <a:pt x="16" y="0"/>
                    </a:lnTo>
                    <a:lnTo>
                      <a:pt x="12" y="2"/>
                    </a:lnTo>
                    <a:lnTo>
                      <a:pt x="6" y="4"/>
                    </a:lnTo>
                    <a:lnTo>
                      <a:pt x="4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6" y="28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20" y="30"/>
                    </a:lnTo>
                    <a:lnTo>
                      <a:pt x="26" y="28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14"/>
                    </a:lnTo>
                    <a:lnTo>
                      <a:pt x="30" y="8"/>
                    </a:lnTo>
                    <a:lnTo>
                      <a:pt x="26" y="4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44" name="Freeform 180"/>
              <p:cNvSpPr>
                <a:spLocks/>
              </p:cNvSpPr>
              <p:nvPr userDrawn="1"/>
            </p:nvSpPr>
            <p:spPr bwMode="auto">
              <a:xfrm>
                <a:off x="5851525" y="3597275"/>
                <a:ext cx="47625" cy="5080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2"/>
                  </a:cxn>
                  <a:cxn ang="0">
                    <a:pos x="6" y="4"/>
                  </a:cxn>
                  <a:cxn ang="0">
                    <a:pos x="4" y="8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6" y="28"/>
                  </a:cxn>
                  <a:cxn ang="0">
                    <a:pos x="12" y="30"/>
                  </a:cxn>
                  <a:cxn ang="0">
                    <a:pos x="12" y="30"/>
                  </a:cxn>
                  <a:cxn ang="0">
                    <a:pos x="16" y="32"/>
                  </a:cxn>
                  <a:cxn ang="0">
                    <a:pos x="16" y="32"/>
                  </a:cxn>
                  <a:cxn ang="0">
                    <a:pos x="20" y="30"/>
                  </a:cxn>
                  <a:cxn ang="0">
                    <a:pos x="26" y="28"/>
                  </a:cxn>
                  <a:cxn ang="0">
                    <a:pos x="28" y="24"/>
                  </a:cxn>
                  <a:cxn ang="0">
                    <a:pos x="30" y="20"/>
                  </a:cxn>
                  <a:cxn ang="0">
                    <a:pos x="30" y="20"/>
                  </a:cxn>
                  <a:cxn ang="0">
                    <a:pos x="30" y="14"/>
                  </a:cxn>
                  <a:cxn ang="0">
                    <a:pos x="30" y="8"/>
                  </a:cxn>
                  <a:cxn ang="0">
                    <a:pos x="26" y="4"/>
                  </a:cxn>
                  <a:cxn ang="0">
                    <a:pos x="20" y="2"/>
                  </a:cxn>
                  <a:cxn ang="0">
                    <a:pos x="20" y="2"/>
                  </a:cxn>
                  <a:cxn ang="0">
                    <a:pos x="16" y="0"/>
                  </a:cxn>
                </a:cxnLst>
                <a:rect l="0" t="0" r="r" b="b"/>
                <a:pathLst>
                  <a:path w="30" h="32">
                    <a:moveTo>
                      <a:pt x="16" y="0"/>
                    </a:moveTo>
                    <a:lnTo>
                      <a:pt x="16" y="0"/>
                    </a:lnTo>
                    <a:lnTo>
                      <a:pt x="12" y="2"/>
                    </a:lnTo>
                    <a:lnTo>
                      <a:pt x="6" y="4"/>
                    </a:lnTo>
                    <a:lnTo>
                      <a:pt x="4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6" y="28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20" y="30"/>
                    </a:lnTo>
                    <a:lnTo>
                      <a:pt x="26" y="28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14"/>
                    </a:lnTo>
                    <a:lnTo>
                      <a:pt x="30" y="8"/>
                    </a:lnTo>
                    <a:lnTo>
                      <a:pt x="26" y="4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45" name="Freeform 181"/>
              <p:cNvSpPr>
                <a:spLocks/>
              </p:cNvSpPr>
              <p:nvPr userDrawn="1"/>
            </p:nvSpPr>
            <p:spPr bwMode="auto">
              <a:xfrm>
                <a:off x="6042025" y="3616325"/>
                <a:ext cx="44450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4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2"/>
                  </a:cxn>
                  <a:cxn ang="0">
                    <a:pos x="6" y="26"/>
                  </a:cxn>
                  <a:cxn ang="0">
                    <a:pos x="10" y="28"/>
                  </a:cxn>
                  <a:cxn ang="0">
                    <a:pos x="10" y="28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18" y="28"/>
                  </a:cxn>
                  <a:cxn ang="0">
                    <a:pos x="22" y="26"/>
                  </a:cxn>
                  <a:cxn ang="0">
                    <a:pos x="26" y="22"/>
                  </a:cxn>
                  <a:cxn ang="0">
                    <a:pos x="28" y="18"/>
                  </a:cxn>
                  <a:cxn ang="0">
                    <a:pos x="28" y="18"/>
                  </a:cxn>
                  <a:cxn ang="0">
                    <a:pos x="28" y="12"/>
                  </a:cxn>
                  <a:cxn ang="0">
                    <a:pos x="26" y="8"/>
                  </a:cxn>
                  <a:cxn ang="0">
                    <a:pos x="22" y="4"/>
                  </a:cxn>
                  <a:cxn ang="0">
                    <a:pos x="18" y="2"/>
                  </a:cxn>
                  <a:cxn ang="0">
                    <a:pos x="18" y="2"/>
                  </a:cxn>
                  <a:cxn ang="0">
                    <a:pos x="14" y="0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lnTo>
                      <a:pt x="14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4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2"/>
                    </a:lnTo>
                    <a:lnTo>
                      <a:pt x="6" y="26"/>
                    </a:lnTo>
                    <a:lnTo>
                      <a:pt x="10" y="28"/>
                    </a:lnTo>
                    <a:lnTo>
                      <a:pt x="10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8" y="28"/>
                    </a:lnTo>
                    <a:lnTo>
                      <a:pt x="22" y="26"/>
                    </a:lnTo>
                    <a:lnTo>
                      <a:pt x="26" y="22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8" y="12"/>
                    </a:lnTo>
                    <a:lnTo>
                      <a:pt x="26" y="8"/>
                    </a:lnTo>
                    <a:lnTo>
                      <a:pt x="22" y="4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46" name="Freeform 182"/>
              <p:cNvSpPr>
                <a:spLocks/>
              </p:cNvSpPr>
              <p:nvPr userDrawn="1"/>
            </p:nvSpPr>
            <p:spPr bwMode="auto">
              <a:xfrm>
                <a:off x="6042025" y="3616325"/>
                <a:ext cx="44450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4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2"/>
                  </a:cxn>
                  <a:cxn ang="0">
                    <a:pos x="6" y="26"/>
                  </a:cxn>
                  <a:cxn ang="0">
                    <a:pos x="10" y="28"/>
                  </a:cxn>
                  <a:cxn ang="0">
                    <a:pos x="10" y="28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18" y="28"/>
                  </a:cxn>
                  <a:cxn ang="0">
                    <a:pos x="22" y="26"/>
                  </a:cxn>
                  <a:cxn ang="0">
                    <a:pos x="26" y="22"/>
                  </a:cxn>
                  <a:cxn ang="0">
                    <a:pos x="28" y="18"/>
                  </a:cxn>
                  <a:cxn ang="0">
                    <a:pos x="28" y="18"/>
                  </a:cxn>
                  <a:cxn ang="0">
                    <a:pos x="28" y="12"/>
                  </a:cxn>
                  <a:cxn ang="0">
                    <a:pos x="26" y="8"/>
                  </a:cxn>
                  <a:cxn ang="0">
                    <a:pos x="22" y="4"/>
                  </a:cxn>
                  <a:cxn ang="0">
                    <a:pos x="18" y="2"/>
                  </a:cxn>
                  <a:cxn ang="0">
                    <a:pos x="18" y="2"/>
                  </a:cxn>
                  <a:cxn ang="0">
                    <a:pos x="14" y="0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lnTo>
                      <a:pt x="14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4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2"/>
                    </a:lnTo>
                    <a:lnTo>
                      <a:pt x="6" y="26"/>
                    </a:lnTo>
                    <a:lnTo>
                      <a:pt x="10" y="28"/>
                    </a:lnTo>
                    <a:lnTo>
                      <a:pt x="10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8" y="28"/>
                    </a:lnTo>
                    <a:lnTo>
                      <a:pt x="22" y="26"/>
                    </a:lnTo>
                    <a:lnTo>
                      <a:pt x="26" y="22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8" y="12"/>
                    </a:lnTo>
                    <a:lnTo>
                      <a:pt x="26" y="8"/>
                    </a:lnTo>
                    <a:lnTo>
                      <a:pt x="22" y="4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47" name="Freeform 183"/>
              <p:cNvSpPr>
                <a:spLocks/>
              </p:cNvSpPr>
              <p:nvPr userDrawn="1"/>
            </p:nvSpPr>
            <p:spPr bwMode="auto">
              <a:xfrm>
                <a:off x="6226175" y="3667125"/>
                <a:ext cx="41275" cy="4127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2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0" y="14"/>
                  </a:cxn>
                  <a:cxn ang="0">
                    <a:pos x="2" y="20"/>
                  </a:cxn>
                  <a:cxn ang="0">
                    <a:pos x="6" y="22"/>
                  </a:cxn>
                  <a:cxn ang="0">
                    <a:pos x="10" y="24"/>
                  </a:cxn>
                  <a:cxn ang="0">
                    <a:pos x="10" y="24"/>
                  </a:cxn>
                  <a:cxn ang="0">
                    <a:pos x="12" y="26"/>
                  </a:cxn>
                  <a:cxn ang="0">
                    <a:pos x="12" y="26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4" y="20"/>
                  </a:cxn>
                  <a:cxn ang="0">
                    <a:pos x="24" y="16"/>
                  </a:cxn>
                  <a:cxn ang="0">
                    <a:pos x="24" y="16"/>
                  </a:cxn>
                  <a:cxn ang="0">
                    <a:pos x="26" y="12"/>
                  </a:cxn>
                  <a:cxn ang="0">
                    <a:pos x="24" y="6"/>
                  </a:cxn>
                  <a:cxn ang="0">
                    <a:pos x="20" y="4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2" y="0"/>
                  </a:cxn>
                </a:cxnLst>
                <a:rect l="0" t="0" r="r" b="b"/>
                <a:pathLst>
                  <a:path w="26" h="26">
                    <a:moveTo>
                      <a:pt x="12" y="0"/>
                    </a:moveTo>
                    <a:lnTo>
                      <a:pt x="12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2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0" y="14"/>
                    </a:lnTo>
                    <a:lnTo>
                      <a:pt x="2" y="20"/>
                    </a:lnTo>
                    <a:lnTo>
                      <a:pt x="6" y="22"/>
                    </a:lnTo>
                    <a:lnTo>
                      <a:pt x="10" y="24"/>
                    </a:lnTo>
                    <a:lnTo>
                      <a:pt x="10" y="24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4" y="20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6" y="12"/>
                    </a:lnTo>
                    <a:lnTo>
                      <a:pt x="24" y="6"/>
                    </a:lnTo>
                    <a:lnTo>
                      <a:pt x="20" y="4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48" name="Freeform 184"/>
              <p:cNvSpPr>
                <a:spLocks/>
              </p:cNvSpPr>
              <p:nvPr userDrawn="1"/>
            </p:nvSpPr>
            <p:spPr bwMode="auto">
              <a:xfrm>
                <a:off x="6226175" y="3667125"/>
                <a:ext cx="41275" cy="4127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2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0" y="14"/>
                  </a:cxn>
                  <a:cxn ang="0">
                    <a:pos x="2" y="20"/>
                  </a:cxn>
                  <a:cxn ang="0">
                    <a:pos x="6" y="22"/>
                  </a:cxn>
                  <a:cxn ang="0">
                    <a:pos x="10" y="24"/>
                  </a:cxn>
                  <a:cxn ang="0">
                    <a:pos x="10" y="24"/>
                  </a:cxn>
                  <a:cxn ang="0">
                    <a:pos x="12" y="26"/>
                  </a:cxn>
                  <a:cxn ang="0">
                    <a:pos x="12" y="26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4" y="20"/>
                  </a:cxn>
                  <a:cxn ang="0">
                    <a:pos x="24" y="16"/>
                  </a:cxn>
                  <a:cxn ang="0">
                    <a:pos x="24" y="16"/>
                  </a:cxn>
                  <a:cxn ang="0">
                    <a:pos x="26" y="12"/>
                  </a:cxn>
                  <a:cxn ang="0">
                    <a:pos x="24" y="6"/>
                  </a:cxn>
                  <a:cxn ang="0">
                    <a:pos x="20" y="4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2" y="0"/>
                  </a:cxn>
                </a:cxnLst>
                <a:rect l="0" t="0" r="r" b="b"/>
                <a:pathLst>
                  <a:path w="26" h="26">
                    <a:moveTo>
                      <a:pt x="12" y="0"/>
                    </a:moveTo>
                    <a:lnTo>
                      <a:pt x="12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2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0" y="14"/>
                    </a:lnTo>
                    <a:lnTo>
                      <a:pt x="2" y="20"/>
                    </a:lnTo>
                    <a:lnTo>
                      <a:pt x="6" y="22"/>
                    </a:lnTo>
                    <a:lnTo>
                      <a:pt x="10" y="24"/>
                    </a:lnTo>
                    <a:lnTo>
                      <a:pt x="10" y="24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4" y="20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6" y="12"/>
                    </a:lnTo>
                    <a:lnTo>
                      <a:pt x="24" y="6"/>
                    </a:lnTo>
                    <a:lnTo>
                      <a:pt x="20" y="4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49" name="Freeform 185"/>
              <p:cNvSpPr>
                <a:spLocks/>
              </p:cNvSpPr>
              <p:nvPr userDrawn="1"/>
            </p:nvSpPr>
            <p:spPr bwMode="auto">
              <a:xfrm>
                <a:off x="4762500" y="4467225"/>
                <a:ext cx="98425" cy="98425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0"/>
                  </a:cxn>
                  <a:cxn ang="0">
                    <a:pos x="22" y="0"/>
                  </a:cxn>
                  <a:cxn ang="0">
                    <a:pos x="12" y="6"/>
                  </a:cxn>
                  <a:cxn ang="0">
                    <a:pos x="6" y="14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0" y="30"/>
                  </a:cxn>
                  <a:cxn ang="0">
                    <a:pos x="0" y="36"/>
                  </a:cxn>
                  <a:cxn ang="0">
                    <a:pos x="4" y="46"/>
                  </a:cxn>
                  <a:cxn ang="0">
                    <a:pos x="12" y="56"/>
                  </a:cxn>
                  <a:cxn ang="0">
                    <a:pos x="16" y="60"/>
                  </a:cxn>
                  <a:cxn ang="0">
                    <a:pos x="22" y="62"/>
                  </a:cxn>
                  <a:cxn ang="0">
                    <a:pos x="22" y="62"/>
                  </a:cxn>
                  <a:cxn ang="0">
                    <a:pos x="32" y="62"/>
                  </a:cxn>
                  <a:cxn ang="0">
                    <a:pos x="32" y="62"/>
                  </a:cxn>
                  <a:cxn ang="0">
                    <a:pos x="42" y="60"/>
                  </a:cxn>
                  <a:cxn ang="0">
                    <a:pos x="50" y="56"/>
                  </a:cxn>
                  <a:cxn ang="0">
                    <a:pos x="58" y="48"/>
                  </a:cxn>
                  <a:cxn ang="0">
                    <a:pos x="62" y="40"/>
                  </a:cxn>
                  <a:cxn ang="0">
                    <a:pos x="62" y="40"/>
                  </a:cxn>
                  <a:cxn ang="0">
                    <a:pos x="62" y="32"/>
                  </a:cxn>
                  <a:cxn ang="0">
                    <a:pos x="62" y="26"/>
                  </a:cxn>
                  <a:cxn ang="0">
                    <a:pos x="58" y="16"/>
                  </a:cxn>
                  <a:cxn ang="0">
                    <a:pos x="50" y="6"/>
                  </a:cxn>
                  <a:cxn ang="0">
                    <a:pos x="46" y="2"/>
                  </a:cxn>
                  <a:cxn ang="0">
                    <a:pos x="40" y="0"/>
                  </a:cxn>
                  <a:cxn ang="0">
                    <a:pos x="40" y="0"/>
                  </a:cxn>
                  <a:cxn ang="0">
                    <a:pos x="32" y="0"/>
                  </a:cxn>
                </a:cxnLst>
                <a:rect l="0" t="0" r="r" b="b"/>
                <a:pathLst>
                  <a:path w="62" h="62">
                    <a:moveTo>
                      <a:pt x="32" y="0"/>
                    </a:moveTo>
                    <a:lnTo>
                      <a:pt x="32" y="0"/>
                    </a:lnTo>
                    <a:lnTo>
                      <a:pt x="22" y="0"/>
                    </a:lnTo>
                    <a:lnTo>
                      <a:pt x="12" y="6"/>
                    </a:lnTo>
                    <a:lnTo>
                      <a:pt x="6" y="14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4" y="46"/>
                    </a:lnTo>
                    <a:lnTo>
                      <a:pt x="12" y="56"/>
                    </a:lnTo>
                    <a:lnTo>
                      <a:pt x="16" y="60"/>
                    </a:lnTo>
                    <a:lnTo>
                      <a:pt x="22" y="62"/>
                    </a:lnTo>
                    <a:lnTo>
                      <a:pt x="22" y="62"/>
                    </a:lnTo>
                    <a:lnTo>
                      <a:pt x="32" y="62"/>
                    </a:lnTo>
                    <a:lnTo>
                      <a:pt x="32" y="62"/>
                    </a:lnTo>
                    <a:lnTo>
                      <a:pt x="42" y="60"/>
                    </a:lnTo>
                    <a:lnTo>
                      <a:pt x="50" y="56"/>
                    </a:lnTo>
                    <a:lnTo>
                      <a:pt x="58" y="48"/>
                    </a:lnTo>
                    <a:lnTo>
                      <a:pt x="62" y="40"/>
                    </a:lnTo>
                    <a:lnTo>
                      <a:pt x="62" y="40"/>
                    </a:lnTo>
                    <a:lnTo>
                      <a:pt x="62" y="32"/>
                    </a:lnTo>
                    <a:lnTo>
                      <a:pt x="62" y="26"/>
                    </a:lnTo>
                    <a:lnTo>
                      <a:pt x="58" y="16"/>
                    </a:lnTo>
                    <a:lnTo>
                      <a:pt x="50" y="6"/>
                    </a:lnTo>
                    <a:lnTo>
                      <a:pt x="46" y="2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3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50" name="Freeform 186"/>
              <p:cNvSpPr>
                <a:spLocks/>
              </p:cNvSpPr>
              <p:nvPr userDrawn="1"/>
            </p:nvSpPr>
            <p:spPr bwMode="auto">
              <a:xfrm>
                <a:off x="4762500" y="4467225"/>
                <a:ext cx="98425" cy="98425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0"/>
                  </a:cxn>
                  <a:cxn ang="0">
                    <a:pos x="22" y="0"/>
                  </a:cxn>
                  <a:cxn ang="0">
                    <a:pos x="12" y="6"/>
                  </a:cxn>
                  <a:cxn ang="0">
                    <a:pos x="6" y="14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0" y="30"/>
                  </a:cxn>
                  <a:cxn ang="0">
                    <a:pos x="0" y="36"/>
                  </a:cxn>
                  <a:cxn ang="0">
                    <a:pos x="4" y="46"/>
                  </a:cxn>
                  <a:cxn ang="0">
                    <a:pos x="12" y="56"/>
                  </a:cxn>
                  <a:cxn ang="0">
                    <a:pos x="16" y="60"/>
                  </a:cxn>
                  <a:cxn ang="0">
                    <a:pos x="22" y="62"/>
                  </a:cxn>
                  <a:cxn ang="0">
                    <a:pos x="22" y="62"/>
                  </a:cxn>
                  <a:cxn ang="0">
                    <a:pos x="32" y="62"/>
                  </a:cxn>
                  <a:cxn ang="0">
                    <a:pos x="32" y="62"/>
                  </a:cxn>
                  <a:cxn ang="0">
                    <a:pos x="42" y="60"/>
                  </a:cxn>
                  <a:cxn ang="0">
                    <a:pos x="50" y="56"/>
                  </a:cxn>
                  <a:cxn ang="0">
                    <a:pos x="58" y="48"/>
                  </a:cxn>
                  <a:cxn ang="0">
                    <a:pos x="62" y="40"/>
                  </a:cxn>
                  <a:cxn ang="0">
                    <a:pos x="62" y="40"/>
                  </a:cxn>
                  <a:cxn ang="0">
                    <a:pos x="62" y="32"/>
                  </a:cxn>
                  <a:cxn ang="0">
                    <a:pos x="62" y="26"/>
                  </a:cxn>
                  <a:cxn ang="0">
                    <a:pos x="58" y="16"/>
                  </a:cxn>
                  <a:cxn ang="0">
                    <a:pos x="50" y="6"/>
                  </a:cxn>
                  <a:cxn ang="0">
                    <a:pos x="46" y="2"/>
                  </a:cxn>
                  <a:cxn ang="0">
                    <a:pos x="40" y="0"/>
                  </a:cxn>
                  <a:cxn ang="0">
                    <a:pos x="40" y="0"/>
                  </a:cxn>
                  <a:cxn ang="0">
                    <a:pos x="32" y="0"/>
                  </a:cxn>
                </a:cxnLst>
                <a:rect l="0" t="0" r="r" b="b"/>
                <a:pathLst>
                  <a:path w="62" h="62">
                    <a:moveTo>
                      <a:pt x="32" y="0"/>
                    </a:moveTo>
                    <a:lnTo>
                      <a:pt x="32" y="0"/>
                    </a:lnTo>
                    <a:lnTo>
                      <a:pt x="22" y="0"/>
                    </a:lnTo>
                    <a:lnTo>
                      <a:pt x="12" y="6"/>
                    </a:lnTo>
                    <a:lnTo>
                      <a:pt x="6" y="14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4" y="46"/>
                    </a:lnTo>
                    <a:lnTo>
                      <a:pt x="12" y="56"/>
                    </a:lnTo>
                    <a:lnTo>
                      <a:pt x="16" y="60"/>
                    </a:lnTo>
                    <a:lnTo>
                      <a:pt x="22" y="62"/>
                    </a:lnTo>
                    <a:lnTo>
                      <a:pt x="22" y="62"/>
                    </a:lnTo>
                    <a:lnTo>
                      <a:pt x="32" y="62"/>
                    </a:lnTo>
                    <a:lnTo>
                      <a:pt x="32" y="62"/>
                    </a:lnTo>
                    <a:lnTo>
                      <a:pt x="42" y="60"/>
                    </a:lnTo>
                    <a:lnTo>
                      <a:pt x="50" y="56"/>
                    </a:lnTo>
                    <a:lnTo>
                      <a:pt x="58" y="48"/>
                    </a:lnTo>
                    <a:lnTo>
                      <a:pt x="62" y="40"/>
                    </a:lnTo>
                    <a:lnTo>
                      <a:pt x="62" y="40"/>
                    </a:lnTo>
                    <a:lnTo>
                      <a:pt x="62" y="32"/>
                    </a:lnTo>
                    <a:lnTo>
                      <a:pt x="62" y="26"/>
                    </a:lnTo>
                    <a:lnTo>
                      <a:pt x="58" y="16"/>
                    </a:lnTo>
                    <a:lnTo>
                      <a:pt x="50" y="6"/>
                    </a:lnTo>
                    <a:lnTo>
                      <a:pt x="46" y="2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3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51" name="Freeform 187"/>
              <p:cNvSpPr>
                <a:spLocks/>
              </p:cNvSpPr>
              <p:nvPr userDrawn="1"/>
            </p:nvSpPr>
            <p:spPr bwMode="auto">
              <a:xfrm>
                <a:off x="4749800" y="4657725"/>
                <a:ext cx="92075" cy="92075"/>
              </a:xfrm>
              <a:custGeom>
                <a:avLst/>
                <a:gdLst/>
                <a:ahLst/>
                <a:cxnLst>
                  <a:cxn ang="0">
                    <a:pos x="28" y="0"/>
                  </a:cxn>
                  <a:cxn ang="0">
                    <a:pos x="28" y="0"/>
                  </a:cxn>
                  <a:cxn ang="0">
                    <a:pos x="20" y="2"/>
                  </a:cxn>
                  <a:cxn ang="0">
                    <a:pos x="12" y="6"/>
                  </a:cxn>
                  <a:cxn ang="0">
                    <a:pos x="6" y="14"/>
                  </a:cxn>
                  <a:cxn ang="0">
                    <a:pos x="2" y="22"/>
                  </a:cxn>
                  <a:cxn ang="0">
                    <a:pos x="2" y="22"/>
                  </a:cxn>
                  <a:cxn ang="0">
                    <a:pos x="0" y="34"/>
                  </a:cxn>
                  <a:cxn ang="0">
                    <a:pos x="4" y="44"/>
                  </a:cxn>
                  <a:cxn ang="0">
                    <a:pos x="12" y="52"/>
                  </a:cxn>
                  <a:cxn ang="0">
                    <a:pos x="22" y="56"/>
                  </a:cxn>
                  <a:cxn ang="0">
                    <a:pos x="22" y="56"/>
                  </a:cxn>
                  <a:cxn ang="0">
                    <a:pos x="28" y="58"/>
                  </a:cxn>
                  <a:cxn ang="0">
                    <a:pos x="28" y="58"/>
                  </a:cxn>
                  <a:cxn ang="0">
                    <a:pos x="38" y="56"/>
                  </a:cxn>
                  <a:cxn ang="0">
                    <a:pos x="46" y="52"/>
                  </a:cxn>
                  <a:cxn ang="0">
                    <a:pos x="52" y="46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8" y="26"/>
                  </a:cxn>
                  <a:cxn ang="0">
                    <a:pos x="54" y="14"/>
                  </a:cxn>
                  <a:cxn ang="0">
                    <a:pos x="46" y="6"/>
                  </a:cxn>
                  <a:cxn ang="0">
                    <a:pos x="36" y="2"/>
                  </a:cxn>
                  <a:cxn ang="0">
                    <a:pos x="36" y="2"/>
                  </a:cxn>
                  <a:cxn ang="0">
                    <a:pos x="28" y="0"/>
                  </a:cxn>
                </a:cxnLst>
                <a:rect l="0" t="0" r="r" b="b"/>
                <a:pathLst>
                  <a:path w="58" h="58">
                    <a:moveTo>
                      <a:pt x="28" y="0"/>
                    </a:moveTo>
                    <a:lnTo>
                      <a:pt x="28" y="0"/>
                    </a:lnTo>
                    <a:lnTo>
                      <a:pt x="20" y="2"/>
                    </a:lnTo>
                    <a:lnTo>
                      <a:pt x="12" y="6"/>
                    </a:lnTo>
                    <a:lnTo>
                      <a:pt x="6" y="14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0" y="34"/>
                    </a:lnTo>
                    <a:lnTo>
                      <a:pt x="4" y="44"/>
                    </a:lnTo>
                    <a:lnTo>
                      <a:pt x="12" y="52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8" y="58"/>
                    </a:lnTo>
                    <a:lnTo>
                      <a:pt x="28" y="58"/>
                    </a:lnTo>
                    <a:lnTo>
                      <a:pt x="38" y="56"/>
                    </a:lnTo>
                    <a:lnTo>
                      <a:pt x="46" y="52"/>
                    </a:lnTo>
                    <a:lnTo>
                      <a:pt x="52" y="4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8" y="26"/>
                    </a:lnTo>
                    <a:lnTo>
                      <a:pt x="54" y="14"/>
                    </a:lnTo>
                    <a:lnTo>
                      <a:pt x="46" y="6"/>
                    </a:lnTo>
                    <a:lnTo>
                      <a:pt x="36" y="2"/>
                    </a:lnTo>
                    <a:lnTo>
                      <a:pt x="36" y="2"/>
                    </a:lnTo>
                    <a:lnTo>
                      <a:pt x="2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52" name="Freeform 188"/>
              <p:cNvSpPr>
                <a:spLocks/>
              </p:cNvSpPr>
              <p:nvPr userDrawn="1"/>
            </p:nvSpPr>
            <p:spPr bwMode="auto">
              <a:xfrm>
                <a:off x="4749800" y="4657725"/>
                <a:ext cx="92075" cy="92075"/>
              </a:xfrm>
              <a:custGeom>
                <a:avLst/>
                <a:gdLst/>
                <a:ahLst/>
                <a:cxnLst>
                  <a:cxn ang="0">
                    <a:pos x="28" y="0"/>
                  </a:cxn>
                  <a:cxn ang="0">
                    <a:pos x="28" y="0"/>
                  </a:cxn>
                  <a:cxn ang="0">
                    <a:pos x="20" y="2"/>
                  </a:cxn>
                  <a:cxn ang="0">
                    <a:pos x="12" y="6"/>
                  </a:cxn>
                  <a:cxn ang="0">
                    <a:pos x="6" y="14"/>
                  </a:cxn>
                  <a:cxn ang="0">
                    <a:pos x="2" y="22"/>
                  </a:cxn>
                  <a:cxn ang="0">
                    <a:pos x="2" y="22"/>
                  </a:cxn>
                  <a:cxn ang="0">
                    <a:pos x="0" y="34"/>
                  </a:cxn>
                  <a:cxn ang="0">
                    <a:pos x="4" y="44"/>
                  </a:cxn>
                  <a:cxn ang="0">
                    <a:pos x="12" y="52"/>
                  </a:cxn>
                  <a:cxn ang="0">
                    <a:pos x="22" y="56"/>
                  </a:cxn>
                  <a:cxn ang="0">
                    <a:pos x="22" y="56"/>
                  </a:cxn>
                  <a:cxn ang="0">
                    <a:pos x="28" y="58"/>
                  </a:cxn>
                  <a:cxn ang="0">
                    <a:pos x="28" y="58"/>
                  </a:cxn>
                  <a:cxn ang="0">
                    <a:pos x="38" y="56"/>
                  </a:cxn>
                  <a:cxn ang="0">
                    <a:pos x="46" y="52"/>
                  </a:cxn>
                  <a:cxn ang="0">
                    <a:pos x="52" y="46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8" y="26"/>
                  </a:cxn>
                  <a:cxn ang="0">
                    <a:pos x="54" y="14"/>
                  </a:cxn>
                  <a:cxn ang="0">
                    <a:pos x="46" y="6"/>
                  </a:cxn>
                  <a:cxn ang="0">
                    <a:pos x="36" y="2"/>
                  </a:cxn>
                  <a:cxn ang="0">
                    <a:pos x="36" y="2"/>
                  </a:cxn>
                  <a:cxn ang="0">
                    <a:pos x="28" y="0"/>
                  </a:cxn>
                </a:cxnLst>
                <a:rect l="0" t="0" r="r" b="b"/>
                <a:pathLst>
                  <a:path w="58" h="58">
                    <a:moveTo>
                      <a:pt x="28" y="0"/>
                    </a:moveTo>
                    <a:lnTo>
                      <a:pt x="28" y="0"/>
                    </a:lnTo>
                    <a:lnTo>
                      <a:pt x="20" y="2"/>
                    </a:lnTo>
                    <a:lnTo>
                      <a:pt x="12" y="6"/>
                    </a:lnTo>
                    <a:lnTo>
                      <a:pt x="6" y="14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0" y="34"/>
                    </a:lnTo>
                    <a:lnTo>
                      <a:pt x="4" y="44"/>
                    </a:lnTo>
                    <a:lnTo>
                      <a:pt x="12" y="52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8" y="58"/>
                    </a:lnTo>
                    <a:lnTo>
                      <a:pt x="28" y="58"/>
                    </a:lnTo>
                    <a:lnTo>
                      <a:pt x="38" y="56"/>
                    </a:lnTo>
                    <a:lnTo>
                      <a:pt x="46" y="52"/>
                    </a:lnTo>
                    <a:lnTo>
                      <a:pt x="52" y="4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8" y="26"/>
                    </a:lnTo>
                    <a:lnTo>
                      <a:pt x="54" y="14"/>
                    </a:lnTo>
                    <a:lnTo>
                      <a:pt x="46" y="6"/>
                    </a:lnTo>
                    <a:lnTo>
                      <a:pt x="36" y="2"/>
                    </a:lnTo>
                    <a:lnTo>
                      <a:pt x="36" y="2"/>
                    </a:lnTo>
                    <a:lnTo>
                      <a:pt x="2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53" name="Freeform 189"/>
              <p:cNvSpPr>
                <a:spLocks/>
              </p:cNvSpPr>
              <p:nvPr userDrawn="1"/>
            </p:nvSpPr>
            <p:spPr bwMode="auto">
              <a:xfrm>
                <a:off x="4772025" y="4851400"/>
                <a:ext cx="79375" cy="8255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6" y="2"/>
                  </a:cxn>
                  <a:cxn ang="0">
                    <a:pos x="10" y="6"/>
                  </a:cxn>
                  <a:cxn ang="0">
                    <a:pos x="4" y="12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0" y="28"/>
                  </a:cxn>
                  <a:cxn ang="0">
                    <a:pos x="2" y="38"/>
                  </a:cxn>
                  <a:cxn ang="0">
                    <a:pos x="10" y="46"/>
                  </a:cxn>
                  <a:cxn ang="0">
                    <a:pos x="18" y="50"/>
                  </a:cxn>
                  <a:cxn ang="0">
                    <a:pos x="18" y="50"/>
                  </a:cxn>
                  <a:cxn ang="0">
                    <a:pos x="26" y="52"/>
                  </a:cxn>
                  <a:cxn ang="0">
                    <a:pos x="26" y="52"/>
                  </a:cxn>
                  <a:cxn ang="0">
                    <a:pos x="34" y="50"/>
                  </a:cxn>
                  <a:cxn ang="0">
                    <a:pos x="40" y="46"/>
                  </a:cxn>
                  <a:cxn ang="0">
                    <a:pos x="46" y="40"/>
                  </a:cxn>
                  <a:cxn ang="0">
                    <a:pos x="50" y="32"/>
                  </a:cxn>
                  <a:cxn ang="0">
                    <a:pos x="50" y="32"/>
                  </a:cxn>
                  <a:cxn ang="0">
                    <a:pos x="50" y="22"/>
                  </a:cxn>
                  <a:cxn ang="0">
                    <a:pos x="48" y="12"/>
                  </a:cxn>
                  <a:cxn ang="0">
                    <a:pos x="40" y="6"/>
                  </a:cxn>
                  <a:cxn ang="0">
                    <a:pos x="32" y="0"/>
                  </a:cxn>
                  <a:cxn ang="0">
                    <a:pos x="32" y="0"/>
                  </a:cxn>
                  <a:cxn ang="0">
                    <a:pos x="26" y="0"/>
                  </a:cxn>
                </a:cxnLst>
                <a:rect l="0" t="0" r="r" b="b"/>
                <a:pathLst>
                  <a:path w="50" h="52">
                    <a:moveTo>
                      <a:pt x="26" y="0"/>
                    </a:moveTo>
                    <a:lnTo>
                      <a:pt x="26" y="0"/>
                    </a:lnTo>
                    <a:lnTo>
                      <a:pt x="16" y="2"/>
                    </a:lnTo>
                    <a:lnTo>
                      <a:pt x="10" y="6"/>
                    </a:lnTo>
                    <a:lnTo>
                      <a:pt x="4" y="1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28"/>
                    </a:lnTo>
                    <a:lnTo>
                      <a:pt x="2" y="38"/>
                    </a:lnTo>
                    <a:lnTo>
                      <a:pt x="10" y="46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34" y="50"/>
                    </a:lnTo>
                    <a:lnTo>
                      <a:pt x="40" y="46"/>
                    </a:lnTo>
                    <a:lnTo>
                      <a:pt x="46" y="40"/>
                    </a:lnTo>
                    <a:lnTo>
                      <a:pt x="50" y="32"/>
                    </a:lnTo>
                    <a:lnTo>
                      <a:pt x="50" y="32"/>
                    </a:lnTo>
                    <a:lnTo>
                      <a:pt x="50" y="22"/>
                    </a:lnTo>
                    <a:lnTo>
                      <a:pt x="48" y="12"/>
                    </a:lnTo>
                    <a:lnTo>
                      <a:pt x="40" y="6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54" name="Freeform 190"/>
              <p:cNvSpPr>
                <a:spLocks/>
              </p:cNvSpPr>
              <p:nvPr userDrawn="1"/>
            </p:nvSpPr>
            <p:spPr bwMode="auto">
              <a:xfrm>
                <a:off x="4772025" y="4851400"/>
                <a:ext cx="79375" cy="8255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6" y="2"/>
                  </a:cxn>
                  <a:cxn ang="0">
                    <a:pos x="10" y="6"/>
                  </a:cxn>
                  <a:cxn ang="0">
                    <a:pos x="4" y="12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0" y="28"/>
                  </a:cxn>
                  <a:cxn ang="0">
                    <a:pos x="2" y="38"/>
                  </a:cxn>
                  <a:cxn ang="0">
                    <a:pos x="10" y="46"/>
                  </a:cxn>
                  <a:cxn ang="0">
                    <a:pos x="18" y="50"/>
                  </a:cxn>
                  <a:cxn ang="0">
                    <a:pos x="18" y="50"/>
                  </a:cxn>
                  <a:cxn ang="0">
                    <a:pos x="26" y="52"/>
                  </a:cxn>
                  <a:cxn ang="0">
                    <a:pos x="26" y="52"/>
                  </a:cxn>
                  <a:cxn ang="0">
                    <a:pos x="34" y="50"/>
                  </a:cxn>
                  <a:cxn ang="0">
                    <a:pos x="40" y="46"/>
                  </a:cxn>
                  <a:cxn ang="0">
                    <a:pos x="46" y="40"/>
                  </a:cxn>
                  <a:cxn ang="0">
                    <a:pos x="50" y="32"/>
                  </a:cxn>
                  <a:cxn ang="0">
                    <a:pos x="50" y="32"/>
                  </a:cxn>
                  <a:cxn ang="0">
                    <a:pos x="50" y="22"/>
                  </a:cxn>
                  <a:cxn ang="0">
                    <a:pos x="48" y="12"/>
                  </a:cxn>
                  <a:cxn ang="0">
                    <a:pos x="40" y="6"/>
                  </a:cxn>
                  <a:cxn ang="0">
                    <a:pos x="32" y="0"/>
                  </a:cxn>
                  <a:cxn ang="0">
                    <a:pos x="32" y="0"/>
                  </a:cxn>
                  <a:cxn ang="0">
                    <a:pos x="26" y="0"/>
                  </a:cxn>
                </a:cxnLst>
                <a:rect l="0" t="0" r="r" b="b"/>
                <a:pathLst>
                  <a:path w="50" h="52">
                    <a:moveTo>
                      <a:pt x="26" y="0"/>
                    </a:moveTo>
                    <a:lnTo>
                      <a:pt x="26" y="0"/>
                    </a:lnTo>
                    <a:lnTo>
                      <a:pt x="16" y="2"/>
                    </a:lnTo>
                    <a:lnTo>
                      <a:pt x="10" y="6"/>
                    </a:lnTo>
                    <a:lnTo>
                      <a:pt x="4" y="1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28"/>
                    </a:lnTo>
                    <a:lnTo>
                      <a:pt x="2" y="38"/>
                    </a:lnTo>
                    <a:lnTo>
                      <a:pt x="10" y="46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34" y="50"/>
                    </a:lnTo>
                    <a:lnTo>
                      <a:pt x="40" y="46"/>
                    </a:lnTo>
                    <a:lnTo>
                      <a:pt x="46" y="40"/>
                    </a:lnTo>
                    <a:lnTo>
                      <a:pt x="50" y="32"/>
                    </a:lnTo>
                    <a:lnTo>
                      <a:pt x="50" y="32"/>
                    </a:lnTo>
                    <a:lnTo>
                      <a:pt x="50" y="22"/>
                    </a:lnTo>
                    <a:lnTo>
                      <a:pt x="48" y="12"/>
                    </a:lnTo>
                    <a:lnTo>
                      <a:pt x="40" y="6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2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55" name="Freeform 191"/>
              <p:cNvSpPr>
                <a:spLocks/>
              </p:cNvSpPr>
              <p:nvPr userDrawn="1"/>
            </p:nvSpPr>
            <p:spPr bwMode="auto">
              <a:xfrm>
                <a:off x="4826000" y="5038725"/>
                <a:ext cx="69850" cy="73025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0" y="26"/>
                  </a:cxn>
                  <a:cxn ang="0">
                    <a:pos x="2" y="34"/>
                  </a:cxn>
                  <a:cxn ang="0">
                    <a:pos x="8" y="40"/>
                  </a:cxn>
                  <a:cxn ang="0">
                    <a:pos x="16" y="44"/>
                  </a:cxn>
                  <a:cxn ang="0">
                    <a:pos x="16" y="44"/>
                  </a:cxn>
                  <a:cxn ang="0">
                    <a:pos x="22" y="46"/>
                  </a:cxn>
                  <a:cxn ang="0">
                    <a:pos x="22" y="46"/>
                  </a:cxn>
                  <a:cxn ang="0">
                    <a:pos x="30" y="44"/>
                  </a:cxn>
                  <a:cxn ang="0">
                    <a:pos x="36" y="40"/>
                  </a:cxn>
                  <a:cxn ang="0">
                    <a:pos x="40" y="36"/>
                  </a:cxn>
                  <a:cxn ang="0">
                    <a:pos x="44" y="28"/>
                  </a:cxn>
                  <a:cxn ang="0">
                    <a:pos x="44" y="28"/>
                  </a:cxn>
                  <a:cxn ang="0">
                    <a:pos x="44" y="18"/>
                  </a:cxn>
                  <a:cxn ang="0">
                    <a:pos x="42" y="10"/>
                  </a:cxn>
                  <a:cxn ang="0">
                    <a:pos x="36" y="4"/>
                  </a:cxn>
                  <a:cxn ang="0">
                    <a:pos x="28" y="0"/>
                  </a:cxn>
                  <a:cxn ang="0">
                    <a:pos x="28" y="0"/>
                  </a:cxn>
                  <a:cxn ang="0">
                    <a:pos x="22" y="0"/>
                  </a:cxn>
                </a:cxnLst>
                <a:rect l="0" t="0" r="r" b="b"/>
                <a:pathLst>
                  <a:path w="44" h="46">
                    <a:moveTo>
                      <a:pt x="22" y="0"/>
                    </a:moveTo>
                    <a:lnTo>
                      <a:pt x="22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26"/>
                    </a:lnTo>
                    <a:lnTo>
                      <a:pt x="2" y="34"/>
                    </a:lnTo>
                    <a:lnTo>
                      <a:pt x="8" y="40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22" y="46"/>
                    </a:lnTo>
                    <a:lnTo>
                      <a:pt x="22" y="46"/>
                    </a:lnTo>
                    <a:lnTo>
                      <a:pt x="30" y="44"/>
                    </a:lnTo>
                    <a:lnTo>
                      <a:pt x="36" y="40"/>
                    </a:lnTo>
                    <a:lnTo>
                      <a:pt x="40" y="36"/>
                    </a:lnTo>
                    <a:lnTo>
                      <a:pt x="44" y="28"/>
                    </a:lnTo>
                    <a:lnTo>
                      <a:pt x="44" y="28"/>
                    </a:lnTo>
                    <a:lnTo>
                      <a:pt x="44" y="18"/>
                    </a:lnTo>
                    <a:lnTo>
                      <a:pt x="42" y="10"/>
                    </a:lnTo>
                    <a:lnTo>
                      <a:pt x="36" y="4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56" name="Freeform 192"/>
              <p:cNvSpPr>
                <a:spLocks/>
              </p:cNvSpPr>
              <p:nvPr userDrawn="1"/>
            </p:nvSpPr>
            <p:spPr bwMode="auto">
              <a:xfrm>
                <a:off x="4826000" y="5038725"/>
                <a:ext cx="69850" cy="73025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0" y="26"/>
                  </a:cxn>
                  <a:cxn ang="0">
                    <a:pos x="2" y="34"/>
                  </a:cxn>
                  <a:cxn ang="0">
                    <a:pos x="8" y="40"/>
                  </a:cxn>
                  <a:cxn ang="0">
                    <a:pos x="16" y="44"/>
                  </a:cxn>
                  <a:cxn ang="0">
                    <a:pos x="16" y="44"/>
                  </a:cxn>
                  <a:cxn ang="0">
                    <a:pos x="22" y="46"/>
                  </a:cxn>
                  <a:cxn ang="0">
                    <a:pos x="22" y="46"/>
                  </a:cxn>
                  <a:cxn ang="0">
                    <a:pos x="30" y="44"/>
                  </a:cxn>
                  <a:cxn ang="0">
                    <a:pos x="36" y="40"/>
                  </a:cxn>
                  <a:cxn ang="0">
                    <a:pos x="40" y="36"/>
                  </a:cxn>
                  <a:cxn ang="0">
                    <a:pos x="44" y="28"/>
                  </a:cxn>
                  <a:cxn ang="0">
                    <a:pos x="44" y="28"/>
                  </a:cxn>
                  <a:cxn ang="0">
                    <a:pos x="44" y="18"/>
                  </a:cxn>
                  <a:cxn ang="0">
                    <a:pos x="42" y="10"/>
                  </a:cxn>
                  <a:cxn ang="0">
                    <a:pos x="36" y="4"/>
                  </a:cxn>
                  <a:cxn ang="0">
                    <a:pos x="28" y="0"/>
                  </a:cxn>
                  <a:cxn ang="0">
                    <a:pos x="28" y="0"/>
                  </a:cxn>
                  <a:cxn ang="0">
                    <a:pos x="22" y="0"/>
                  </a:cxn>
                </a:cxnLst>
                <a:rect l="0" t="0" r="r" b="b"/>
                <a:pathLst>
                  <a:path w="44" h="46">
                    <a:moveTo>
                      <a:pt x="22" y="0"/>
                    </a:moveTo>
                    <a:lnTo>
                      <a:pt x="22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26"/>
                    </a:lnTo>
                    <a:lnTo>
                      <a:pt x="2" y="34"/>
                    </a:lnTo>
                    <a:lnTo>
                      <a:pt x="8" y="40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22" y="46"/>
                    </a:lnTo>
                    <a:lnTo>
                      <a:pt x="22" y="46"/>
                    </a:lnTo>
                    <a:lnTo>
                      <a:pt x="30" y="44"/>
                    </a:lnTo>
                    <a:lnTo>
                      <a:pt x="36" y="40"/>
                    </a:lnTo>
                    <a:lnTo>
                      <a:pt x="40" y="36"/>
                    </a:lnTo>
                    <a:lnTo>
                      <a:pt x="44" y="28"/>
                    </a:lnTo>
                    <a:lnTo>
                      <a:pt x="44" y="28"/>
                    </a:lnTo>
                    <a:lnTo>
                      <a:pt x="44" y="18"/>
                    </a:lnTo>
                    <a:lnTo>
                      <a:pt x="42" y="10"/>
                    </a:lnTo>
                    <a:lnTo>
                      <a:pt x="36" y="4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57" name="Freeform 193"/>
              <p:cNvSpPr>
                <a:spLocks/>
              </p:cNvSpPr>
              <p:nvPr userDrawn="1"/>
            </p:nvSpPr>
            <p:spPr bwMode="auto">
              <a:xfrm>
                <a:off x="4908550" y="5213350"/>
                <a:ext cx="63500" cy="63500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2" y="8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2" y="30"/>
                  </a:cxn>
                  <a:cxn ang="0">
                    <a:pos x="8" y="36"/>
                  </a:cxn>
                  <a:cxn ang="0">
                    <a:pos x="14" y="40"/>
                  </a:cxn>
                  <a:cxn ang="0">
                    <a:pos x="14" y="40"/>
                  </a:cxn>
                  <a:cxn ang="0">
                    <a:pos x="20" y="40"/>
                  </a:cxn>
                  <a:cxn ang="0">
                    <a:pos x="20" y="40"/>
                  </a:cxn>
                  <a:cxn ang="0">
                    <a:pos x="26" y="40"/>
                  </a:cxn>
                  <a:cxn ang="0">
                    <a:pos x="32" y="36"/>
                  </a:cxn>
                  <a:cxn ang="0">
                    <a:pos x="38" y="32"/>
                  </a:cxn>
                  <a:cxn ang="0">
                    <a:pos x="40" y="26"/>
                  </a:cxn>
                  <a:cxn ang="0">
                    <a:pos x="40" y="26"/>
                  </a:cxn>
                  <a:cxn ang="0">
                    <a:pos x="40" y="16"/>
                  </a:cxn>
                  <a:cxn ang="0">
                    <a:pos x="38" y="10"/>
                  </a:cxn>
                  <a:cxn ang="0">
                    <a:pos x="32" y="4"/>
                  </a:cxn>
                  <a:cxn ang="0">
                    <a:pos x="26" y="0"/>
                  </a:cxn>
                  <a:cxn ang="0">
                    <a:pos x="26" y="0"/>
                  </a:cxn>
                  <a:cxn ang="0">
                    <a:pos x="20" y="0"/>
                  </a:cxn>
                </a:cxnLst>
                <a:rect l="0" t="0" r="r" b="b"/>
                <a:pathLst>
                  <a:path w="40" h="40">
                    <a:moveTo>
                      <a:pt x="20" y="0"/>
                    </a:moveTo>
                    <a:lnTo>
                      <a:pt x="20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2" y="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2" y="30"/>
                    </a:lnTo>
                    <a:lnTo>
                      <a:pt x="8" y="36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6" y="40"/>
                    </a:lnTo>
                    <a:lnTo>
                      <a:pt x="32" y="36"/>
                    </a:lnTo>
                    <a:lnTo>
                      <a:pt x="38" y="32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16"/>
                    </a:lnTo>
                    <a:lnTo>
                      <a:pt x="38" y="10"/>
                    </a:lnTo>
                    <a:lnTo>
                      <a:pt x="32" y="4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58" name="Freeform 194"/>
              <p:cNvSpPr>
                <a:spLocks/>
              </p:cNvSpPr>
              <p:nvPr userDrawn="1"/>
            </p:nvSpPr>
            <p:spPr bwMode="auto">
              <a:xfrm>
                <a:off x="4908550" y="5213350"/>
                <a:ext cx="63500" cy="63500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2" y="8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2" y="30"/>
                  </a:cxn>
                  <a:cxn ang="0">
                    <a:pos x="8" y="36"/>
                  </a:cxn>
                  <a:cxn ang="0">
                    <a:pos x="14" y="40"/>
                  </a:cxn>
                  <a:cxn ang="0">
                    <a:pos x="14" y="40"/>
                  </a:cxn>
                  <a:cxn ang="0">
                    <a:pos x="20" y="40"/>
                  </a:cxn>
                  <a:cxn ang="0">
                    <a:pos x="20" y="40"/>
                  </a:cxn>
                  <a:cxn ang="0">
                    <a:pos x="26" y="40"/>
                  </a:cxn>
                  <a:cxn ang="0">
                    <a:pos x="32" y="36"/>
                  </a:cxn>
                  <a:cxn ang="0">
                    <a:pos x="38" y="32"/>
                  </a:cxn>
                  <a:cxn ang="0">
                    <a:pos x="40" y="26"/>
                  </a:cxn>
                  <a:cxn ang="0">
                    <a:pos x="40" y="26"/>
                  </a:cxn>
                  <a:cxn ang="0">
                    <a:pos x="40" y="16"/>
                  </a:cxn>
                  <a:cxn ang="0">
                    <a:pos x="38" y="10"/>
                  </a:cxn>
                  <a:cxn ang="0">
                    <a:pos x="32" y="4"/>
                  </a:cxn>
                  <a:cxn ang="0">
                    <a:pos x="26" y="0"/>
                  </a:cxn>
                  <a:cxn ang="0">
                    <a:pos x="26" y="0"/>
                  </a:cxn>
                  <a:cxn ang="0">
                    <a:pos x="20" y="0"/>
                  </a:cxn>
                </a:cxnLst>
                <a:rect l="0" t="0" r="r" b="b"/>
                <a:pathLst>
                  <a:path w="40" h="40">
                    <a:moveTo>
                      <a:pt x="20" y="0"/>
                    </a:moveTo>
                    <a:lnTo>
                      <a:pt x="20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2" y="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2" y="30"/>
                    </a:lnTo>
                    <a:lnTo>
                      <a:pt x="8" y="36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6" y="40"/>
                    </a:lnTo>
                    <a:lnTo>
                      <a:pt x="32" y="36"/>
                    </a:lnTo>
                    <a:lnTo>
                      <a:pt x="38" y="32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16"/>
                    </a:lnTo>
                    <a:lnTo>
                      <a:pt x="38" y="10"/>
                    </a:lnTo>
                    <a:lnTo>
                      <a:pt x="32" y="4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59" name="Freeform 195"/>
              <p:cNvSpPr>
                <a:spLocks/>
              </p:cNvSpPr>
              <p:nvPr userDrawn="1"/>
            </p:nvSpPr>
            <p:spPr bwMode="auto">
              <a:xfrm>
                <a:off x="5019675" y="5368925"/>
                <a:ext cx="57150" cy="60325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2"/>
                  </a:cxn>
                  <a:cxn ang="0">
                    <a:pos x="6" y="4"/>
                  </a:cxn>
                  <a:cxn ang="0">
                    <a:pos x="2" y="8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2" y="28"/>
                  </a:cxn>
                  <a:cxn ang="0">
                    <a:pos x="6" y="34"/>
                  </a:cxn>
                  <a:cxn ang="0">
                    <a:pos x="14" y="38"/>
                  </a:cxn>
                  <a:cxn ang="0">
                    <a:pos x="14" y="38"/>
                  </a:cxn>
                  <a:cxn ang="0">
                    <a:pos x="18" y="38"/>
                  </a:cxn>
                  <a:cxn ang="0">
                    <a:pos x="18" y="38"/>
                  </a:cxn>
                  <a:cxn ang="0">
                    <a:pos x="24" y="36"/>
                  </a:cxn>
                  <a:cxn ang="0">
                    <a:pos x="30" y="34"/>
                  </a:cxn>
                  <a:cxn ang="0">
                    <a:pos x="34" y="30"/>
                  </a:cxn>
                  <a:cxn ang="0">
                    <a:pos x="36" y="24"/>
                  </a:cxn>
                  <a:cxn ang="0">
                    <a:pos x="36" y="24"/>
                  </a:cxn>
                  <a:cxn ang="0">
                    <a:pos x="36" y="16"/>
                  </a:cxn>
                  <a:cxn ang="0">
                    <a:pos x="34" y="10"/>
                  </a:cxn>
                  <a:cxn ang="0">
                    <a:pos x="30" y="4"/>
                  </a:cxn>
                  <a:cxn ang="0">
                    <a:pos x="24" y="0"/>
                  </a:cxn>
                  <a:cxn ang="0">
                    <a:pos x="24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8">
                    <a:moveTo>
                      <a:pt x="18" y="0"/>
                    </a:moveTo>
                    <a:lnTo>
                      <a:pt x="18" y="0"/>
                    </a:lnTo>
                    <a:lnTo>
                      <a:pt x="12" y="2"/>
                    </a:lnTo>
                    <a:lnTo>
                      <a:pt x="6" y="4"/>
                    </a:lnTo>
                    <a:lnTo>
                      <a:pt x="2" y="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2" y="28"/>
                    </a:lnTo>
                    <a:lnTo>
                      <a:pt x="6" y="34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24" y="36"/>
                    </a:lnTo>
                    <a:lnTo>
                      <a:pt x="30" y="34"/>
                    </a:lnTo>
                    <a:lnTo>
                      <a:pt x="34" y="30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16"/>
                    </a:lnTo>
                    <a:lnTo>
                      <a:pt x="34" y="10"/>
                    </a:lnTo>
                    <a:lnTo>
                      <a:pt x="30" y="4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60" name="Freeform 196"/>
              <p:cNvSpPr>
                <a:spLocks/>
              </p:cNvSpPr>
              <p:nvPr userDrawn="1"/>
            </p:nvSpPr>
            <p:spPr bwMode="auto">
              <a:xfrm>
                <a:off x="5019675" y="5368925"/>
                <a:ext cx="57150" cy="60325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2"/>
                  </a:cxn>
                  <a:cxn ang="0">
                    <a:pos x="6" y="4"/>
                  </a:cxn>
                  <a:cxn ang="0">
                    <a:pos x="2" y="8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2" y="28"/>
                  </a:cxn>
                  <a:cxn ang="0">
                    <a:pos x="6" y="34"/>
                  </a:cxn>
                  <a:cxn ang="0">
                    <a:pos x="14" y="38"/>
                  </a:cxn>
                  <a:cxn ang="0">
                    <a:pos x="14" y="38"/>
                  </a:cxn>
                  <a:cxn ang="0">
                    <a:pos x="18" y="38"/>
                  </a:cxn>
                  <a:cxn ang="0">
                    <a:pos x="18" y="38"/>
                  </a:cxn>
                  <a:cxn ang="0">
                    <a:pos x="24" y="36"/>
                  </a:cxn>
                  <a:cxn ang="0">
                    <a:pos x="30" y="34"/>
                  </a:cxn>
                  <a:cxn ang="0">
                    <a:pos x="34" y="30"/>
                  </a:cxn>
                  <a:cxn ang="0">
                    <a:pos x="36" y="24"/>
                  </a:cxn>
                  <a:cxn ang="0">
                    <a:pos x="36" y="24"/>
                  </a:cxn>
                  <a:cxn ang="0">
                    <a:pos x="36" y="16"/>
                  </a:cxn>
                  <a:cxn ang="0">
                    <a:pos x="34" y="10"/>
                  </a:cxn>
                  <a:cxn ang="0">
                    <a:pos x="30" y="4"/>
                  </a:cxn>
                  <a:cxn ang="0">
                    <a:pos x="24" y="0"/>
                  </a:cxn>
                  <a:cxn ang="0">
                    <a:pos x="24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8">
                    <a:moveTo>
                      <a:pt x="18" y="0"/>
                    </a:moveTo>
                    <a:lnTo>
                      <a:pt x="18" y="0"/>
                    </a:lnTo>
                    <a:lnTo>
                      <a:pt x="12" y="2"/>
                    </a:lnTo>
                    <a:lnTo>
                      <a:pt x="6" y="4"/>
                    </a:lnTo>
                    <a:lnTo>
                      <a:pt x="2" y="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2" y="28"/>
                    </a:lnTo>
                    <a:lnTo>
                      <a:pt x="6" y="34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24" y="36"/>
                    </a:lnTo>
                    <a:lnTo>
                      <a:pt x="30" y="34"/>
                    </a:lnTo>
                    <a:lnTo>
                      <a:pt x="34" y="30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16"/>
                    </a:lnTo>
                    <a:lnTo>
                      <a:pt x="34" y="10"/>
                    </a:lnTo>
                    <a:lnTo>
                      <a:pt x="30" y="4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61" name="Freeform 197"/>
              <p:cNvSpPr>
                <a:spLocks/>
              </p:cNvSpPr>
              <p:nvPr userDrawn="1"/>
            </p:nvSpPr>
            <p:spPr bwMode="auto">
              <a:xfrm>
                <a:off x="5156200" y="5505450"/>
                <a:ext cx="50800" cy="5397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20"/>
                  </a:cxn>
                  <a:cxn ang="0">
                    <a:pos x="2" y="26"/>
                  </a:cxn>
                  <a:cxn ang="0">
                    <a:pos x="6" y="30"/>
                  </a:cxn>
                  <a:cxn ang="0">
                    <a:pos x="12" y="34"/>
                  </a:cxn>
                  <a:cxn ang="0">
                    <a:pos x="12" y="34"/>
                  </a:cxn>
                  <a:cxn ang="0">
                    <a:pos x="16" y="34"/>
                  </a:cxn>
                  <a:cxn ang="0">
                    <a:pos x="16" y="34"/>
                  </a:cxn>
                  <a:cxn ang="0">
                    <a:pos x="22" y="32"/>
                  </a:cxn>
                  <a:cxn ang="0">
                    <a:pos x="26" y="30"/>
                  </a:cxn>
                  <a:cxn ang="0">
                    <a:pos x="30" y="26"/>
                  </a:cxn>
                  <a:cxn ang="0">
                    <a:pos x="32" y="22"/>
                  </a:cxn>
                  <a:cxn ang="0">
                    <a:pos x="32" y="22"/>
                  </a:cxn>
                  <a:cxn ang="0">
                    <a:pos x="32" y="14"/>
                  </a:cxn>
                  <a:cxn ang="0">
                    <a:pos x="30" y="8"/>
                  </a:cxn>
                  <a:cxn ang="0">
                    <a:pos x="26" y="4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6" y="0"/>
                  </a:cxn>
                </a:cxnLst>
                <a:rect l="0" t="0" r="r" b="b"/>
                <a:pathLst>
                  <a:path w="32" h="34">
                    <a:moveTo>
                      <a:pt x="16" y="0"/>
                    </a:moveTo>
                    <a:lnTo>
                      <a:pt x="16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20"/>
                    </a:lnTo>
                    <a:lnTo>
                      <a:pt x="2" y="26"/>
                    </a:lnTo>
                    <a:lnTo>
                      <a:pt x="6" y="30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22" y="32"/>
                    </a:lnTo>
                    <a:lnTo>
                      <a:pt x="26" y="30"/>
                    </a:lnTo>
                    <a:lnTo>
                      <a:pt x="30" y="26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32" y="14"/>
                    </a:lnTo>
                    <a:lnTo>
                      <a:pt x="30" y="8"/>
                    </a:lnTo>
                    <a:lnTo>
                      <a:pt x="26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62" name="Freeform 198"/>
              <p:cNvSpPr>
                <a:spLocks/>
              </p:cNvSpPr>
              <p:nvPr userDrawn="1"/>
            </p:nvSpPr>
            <p:spPr bwMode="auto">
              <a:xfrm>
                <a:off x="5156200" y="5505450"/>
                <a:ext cx="50800" cy="5397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20"/>
                  </a:cxn>
                  <a:cxn ang="0">
                    <a:pos x="2" y="26"/>
                  </a:cxn>
                  <a:cxn ang="0">
                    <a:pos x="6" y="30"/>
                  </a:cxn>
                  <a:cxn ang="0">
                    <a:pos x="12" y="34"/>
                  </a:cxn>
                  <a:cxn ang="0">
                    <a:pos x="12" y="34"/>
                  </a:cxn>
                  <a:cxn ang="0">
                    <a:pos x="16" y="34"/>
                  </a:cxn>
                  <a:cxn ang="0">
                    <a:pos x="16" y="34"/>
                  </a:cxn>
                  <a:cxn ang="0">
                    <a:pos x="22" y="32"/>
                  </a:cxn>
                  <a:cxn ang="0">
                    <a:pos x="26" y="30"/>
                  </a:cxn>
                  <a:cxn ang="0">
                    <a:pos x="30" y="26"/>
                  </a:cxn>
                  <a:cxn ang="0">
                    <a:pos x="32" y="22"/>
                  </a:cxn>
                  <a:cxn ang="0">
                    <a:pos x="32" y="22"/>
                  </a:cxn>
                  <a:cxn ang="0">
                    <a:pos x="32" y="14"/>
                  </a:cxn>
                  <a:cxn ang="0">
                    <a:pos x="30" y="8"/>
                  </a:cxn>
                  <a:cxn ang="0">
                    <a:pos x="26" y="4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6" y="0"/>
                  </a:cxn>
                </a:cxnLst>
                <a:rect l="0" t="0" r="r" b="b"/>
                <a:pathLst>
                  <a:path w="32" h="34">
                    <a:moveTo>
                      <a:pt x="16" y="0"/>
                    </a:moveTo>
                    <a:lnTo>
                      <a:pt x="16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20"/>
                    </a:lnTo>
                    <a:lnTo>
                      <a:pt x="2" y="26"/>
                    </a:lnTo>
                    <a:lnTo>
                      <a:pt x="6" y="30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22" y="32"/>
                    </a:lnTo>
                    <a:lnTo>
                      <a:pt x="26" y="30"/>
                    </a:lnTo>
                    <a:lnTo>
                      <a:pt x="30" y="26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32" y="14"/>
                    </a:lnTo>
                    <a:lnTo>
                      <a:pt x="30" y="8"/>
                    </a:lnTo>
                    <a:lnTo>
                      <a:pt x="26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63" name="Freeform 199"/>
              <p:cNvSpPr>
                <a:spLocks/>
              </p:cNvSpPr>
              <p:nvPr userDrawn="1"/>
            </p:nvSpPr>
            <p:spPr bwMode="auto">
              <a:xfrm>
                <a:off x="5311775" y="5616575"/>
                <a:ext cx="47625" cy="4762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0"/>
                  </a:cxn>
                  <a:cxn ang="0">
                    <a:pos x="6" y="4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6" y="28"/>
                  </a:cxn>
                  <a:cxn ang="0">
                    <a:pos x="12" y="30"/>
                  </a:cxn>
                  <a:cxn ang="0">
                    <a:pos x="12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20" y="30"/>
                  </a:cxn>
                  <a:cxn ang="0">
                    <a:pos x="24" y="28"/>
                  </a:cxn>
                  <a:cxn ang="0">
                    <a:pos x="28" y="24"/>
                  </a:cxn>
                  <a:cxn ang="0">
                    <a:pos x="30" y="20"/>
                  </a:cxn>
                  <a:cxn ang="0">
                    <a:pos x="30" y="20"/>
                  </a:cxn>
                  <a:cxn ang="0">
                    <a:pos x="30" y="12"/>
                  </a:cxn>
                  <a:cxn ang="0">
                    <a:pos x="28" y="8"/>
                  </a:cxn>
                  <a:cxn ang="0">
                    <a:pos x="24" y="4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6" y="0"/>
                  </a:cxn>
                </a:cxnLst>
                <a:rect l="0" t="0" r="r" b="b"/>
                <a:pathLst>
                  <a:path w="30" h="30">
                    <a:moveTo>
                      <a:pt x="16" y="0"/>
                    </a:moveTo>
                    <a:lnTo>
                      <a:pt x="16" y="0"/>
                    </a:lnTo>
                    <a:lnTo>
                      <a:pt x="10" y="0"/>
                    </a:lnTo>
                    <a:lnTo>
                      <a:pt x="6" y="4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6" y="28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20" y="30"/>
                    </a:lnTo>
                    <a:lnTo>
                      <a:pt x="24" y="28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12"/>
                    </a:lnTo>
                    <a:lnTo>
                      <a:pt x="28" y="8"/>
                    </a:lnTo>
                    <a:lnTo>
                      <a:pt x="24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64" name="Freeform 200"/>
              <p:cNvSpPr>
                <a:spLocks/>
              </p:cNvSpPr>
              <p:nvPr userDrawn="1"/>
            </p:nvSpPr>
            <p:spPr bwMode="auto">
              <a:xfrm>
                <a:off x="5311775" y="5616575"/>
                <a:ext cx="47625" cy="4762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0"/>
                  </a:cxn>
                  <a:cxn ang="0">
                    <a:pos x="6" y="4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6" y="28"/>
                  </a:cxn>
                  <a:cxn ang="0">
                    <a:pos x="12" y="30"/>
                  </a:cxn>
                  <a:cxn ang="0">
                    <a:pos x="12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20" y="30"/>
                  </a:cxn>
                  <a:cxn ang="0">
                    <a:pos x="24" y="28"/>
                  </a:cxn>
                  <a:cxn ang="0">
                    <a:pos x="28" y="24"/>
                  </a:cxn>
                  <a:cxn ang="0">
                    <a:pos x="30" y="20"/>
                  </a:cxn>
                  <a:cxn ang="0">
                    <a:pos x="30" y="20"/>
                  </a:cxn>
                  <a:cxn ang="0">
                    <a:pos x="30" y="12"/>
                  </a:cxn>
                  <a:cxn ang="0">
                    <a:pos x="28" y="8"/>
                  </a:cxn>
                  <a:cxn ang="0">
                    <a:pos x="24" y="4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6" y="0"/>
                  </a:cxn>
                </a:cxnLst>
                <a:rect l="0" t="0" r="r" b="b"/>
                <a:pathLst>
                  <a:path w="30" h="30">
                    <a:moveTo>
                      <a:pt x="16" y="0"/>
                    </a:moveTo>
                    <a:lnTo>
                      <a:pt x="16" y="0"/>
                    </a:lnTo>
                    <a:lnTo>
                      <a:pt x="10" y="0"/>
                    </a:lnTo>
                    <a:lnTo>
                      <a:pt x="6" y="4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6" y="28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20" y="30"/>
                    </a:lnTo>
                    <a:lnTo>
                      <a:pt x="24" y="28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12"/>
                    </a:lnTo>
                    <a:lnTo>
                      <a:pt x="28" y="8"/>
                    </a:lnTo>
                    <a:lnTo>
                      <a:pt x="24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65" name="Freeform 201"/>
              <p:cNvSpPr>
                <a:spLocks/>
              </p:cNvSpPr>
              <p:nvPr userDrawn="1"/>
            </p:nvSpPr>
            <p:spPr bwMode="auto">
              <a:xfrm>
                <a:off x="5486400" y="5699125"/>
                <a:ext cx="41275" cy="4127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4" y="24"/>
                  </a:cxn>
                  <a:cxn ang="0">
                    <a:pos x="10" y="26"/>
                  </a:cxn>
                  <a:cxn ang="0">
                    <a:pos x="10" y="26"/>
                  </a:cxn>
                  <a:cxn ang="0">
                    <a:pos x="14" y="26"/>
                  </a:cxn>
                  <a:cxn ang="0">
                    <a:pos x="14" y="26"/>
                  </a:cxn>
                  <a:cxn ang="0">
                    <a:pos x="18" y="26"/>
                  </a:cxn>
                  <a:cxn ang="0">
                    <a:pos x="22" y="24"/>
                  </a:cxn>
                  <a:cxn ang="0">
                    <a:pos x="24" y="20"/>
                  </a:cxn>
                  <a:cxn ang="0">
                    <a:pos x="26" y="16"/>
                  </a:cxn>
                  <a:cxn ang="0">
                    <a:pos x="26" y="16"/>
                  </a:cxn>
                  <a:cxn ang="0">
                    <a:pos x="26" y="12"/>
                  </a:cxn>
                  <a:cxn ang="0">
                    <a:pos x="24" y="6"/>
                  </a:cxn>
                  <a:cxn ang="0">
                    <a:pos x="22" y="2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14" y="0"/>
                  </a:cxn>
                </a:cxnLst>
                <a:rect l="0" t="0" r="r" b="b"/>
                <a:pathLst>
                  <a:path w="26" h="26">
                    <a:moveTo>
                      <a:pt x="14" y="0"/>
                    </a:moveTo>
                    <a:lnTo>
                      <a:pt x="14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4" y="24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8" y="26"/>
                    </a:lnTo>
                    <a:lnTo>
                      <a:pt x="22" y="24"/>
                    </a:lnTo>
                    <a:lnTo>
                      <a:pt x="24" y="20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2"/>
                    </a:lnTo>
                    <a:lnTo>
                      <a:pt x="24" y="6"/>
                    </a:lnTo>
                    <a:lnTo>
                      <a:pt x="22" y="2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66" name="Freeform 202"/>
              <p:cNvSpPr>
                <a:spLocks/>
              </p:cNvSpPr>
              <p:nvPr userDrawn="1"/>
            </p:nvSpPr>
            <p:spPr bwMode="auto">
              <a:xfrm>
                <a:off x="5486400" y="5699125"/>
                <a:ext cx="41275" cy="4127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4" y="24"/>
                  </a:cxn>
                  <a:cxn ang="0">
                    <a:pos x="10" y="26"/>
                  </a:cxn>
                  <a:cxn ang="0">
                    <a:pos x="10" y="26"/>
                  </a:cxn>
                  <a:cxn ang="0">
                    <a:pos x="14" y="26"/>
                  </a:cxn>
                  <a:cxn ang="0">
                    <a:pos x="14" y="26"/>
                  </a:cxn>
                  <a:cxn ang="0">
                    <a:pos x="18" y="26"/>
                  </a:cxn>
                  <a:cxn ang="0">
                    <a:pos x="22" y="24"/>
                  </a:cxn>
                  <a:cxn ang="0">
                    <a:pos x="24" y="20"/>
                  </a:cxn>
                  <a:cxn ang="0">
                    <a:pos x="26" y="16"/>
                  </a:cxn>
                  <a:cxn ang="0">
                    <a:pos x="26" y="16"/>
                  </a:cxn>
                  <a:cxn ang="0">
                    <a:pos x="26" y="12"/>
                  </a:cxn>
                  <a:cxn ang="0">
                    <a:pos x="24" y="6"/>
                  </a:cxn>
                  <a:cxn ang="0">
                    <a:pos x="22" y="2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14" y="0"/>
                  </a:cxn>
                </a:cxnLst>
                <a:rect l="0" t="0" r="r" b="b"/>
                <a:pathLst>
                  <a:path w="26" h="26">
                    <a:moveTo>
                      <a:pt x="14" y="0"/>
                    </a:moveTo>
                    <a:lnTo>
                      <a:pt x="14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4" y="24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8" y="26"/>
                    </a:lnTo>
                    <a:lnTo>
                      <a:pt x="22" y="24"/>
                    </a:lnTo>
                    <a:lnTo>
                      <a:pt x="24" y="20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2"/>
                    </a:lnTo>
                    <a:lnTo>
                      <a:pt x="24" y="6"/>
                    </a:lnTo>
                    <a:lnTo>
                      <a:pt x="22" y="2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67" name="Freeform 203"/>
              <p:cNvSpPr>
                <a:spLocks/>
              </p:cNvSpPr>
              <p:nvPr userDrawn="1"/>
            </p:nvSpPr>
            <p:spPr bwMode="auto">
              <a:xfrm>
                <a:off x="5670550" y="5749925"/>
                <a:ext cx="38100" cy="3810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4" y="22"/>
                  </a:cxn>
                  <a:cxn ang="0">
                    <a:pos x="8" y="24"/>
                  </a:cxn>
                  <a:cxn ang="0">
                    <a:pos x="8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2" y="18"/>
                  </a:cxn>
                  <a:cxn ang="0">
                    <a:pos x="24" y="16"/>
                  </a:cxn>
                  <a:cxn ang="0">
                    <a:pos x="24" y="16"/>
                  </a:cxn>
                  <a:cxn ang="0">
                    <a:pos x="24" y="10"/>
                  </a:cxn>
                  <a:cxn ang="0">
                    <a:pos x="22" y="6"/>
                  </a:cxn>
                  <a:cxn ang="0">
                    <a:pos x="20" y="2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4" y="22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2" y="18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0"/>
                    </a:lnTo>
                    <a:lnTo>
                      <a:pt x="22" y="6"/>
                    </a:lnTo>
                    <a:lnTo>
                      <a:pt x="20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68" name="Freeform 204"/>
              <p:cNvSpPr>
                <a:spLocks/>
              </p:cNvSpPr>
              <p:nvPr userDrawn="1"/>
            </p:nvSpPr>
            <p:spPr bwMode="auto">
              <a:xfrm>
                <a:off x="5670550" y="5749925"/>
                <a:ext cx="38100" cy="3810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4" y="22"/>
                  </a:cxn>
                  <a:cxn ang="0">
                    <a:pos x="8" y="24"/>
                  </a:cxn>
                  <a:cxn ang="0">
                    <a:pos x="8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2" y="18"/>
                  </a:cxn>
                  <a:cxn ang="0">
                    <a:pos x="24" y="16"/>
                  </a:cxn>
                  <a:cxn ang="0">
                    <a:pos x="24" y="16"/>
                  </a:cxn>
                  <a:cxn ang="0">
                    <a:pos x="24" y="10"/>
                  </a:cxn>
                  <a:cxn ang="0">
                    <a:pos x="22" y="6"/>
                  </a:cxn>
                  <a:cxn ang="0">
                    <a:pos x="20" y="2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4" y="22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2" y="18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0"/>
                    </a:lnTo>
                    <a:lnTo>
                      <a:pt x="22" y="6"/>
                    </a:lnTo>
                    <a:lnTo>
                      <a:pt x="20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7" name="Groupe 578"/>
            <p:cNvGrpSpPr/>
            <p:nvPr userDrawn="1"/>
          </p:nvGrpSpPr>
          <p:grpSpPr>
            <a:xfrm>
              <a:off x="4789478" y="3781423"/>
              <a:ext cx="1754193" cy="1863724"/>
              <a:chOff x="4789481" y="3781425"/>
              <a:chExt cx="1754194" cy="1863725"/>
            </a:xfrm>
            <a:grpFill/>
          </p:grpSpPr>
          <p:sp>
            <p:nvSpPr>
              <p:cNvPr id="169" name="Freeform 206"/>
              <p:cNvSpPr>
                <a:spLocks/>
              </p:cNvSpPr>
              <p:nvPr userDrawn="1"/>
            </p:nvSpPr>
            <p:spPr bwMode="auto">
              <a:xfrm>
                <a:off x="4930775" y="4819650"/>
                <a:ext cx="82550" cy="85725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2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2" y="14"/>
                  </a:cxn>
                  <a:cxn ang="0">
                    <a:pos x="0" y="24"/>
                  </a:cxn>
                  <a:cxn ang="0">
                    <a:pos x="0" y="34"/>
                  </a:cxn>
                  <a:cxn ang="0">
                    <a:pos x="0" y="34"/>
                  </a:cxn>
                  <a:cxn ang="0">
                    <a:pos x="4" y="42"/>
                  </a:cxn>
                  <a:cxn ang="0">
                    <a:pos x="10" y="50"/>
                  </a:cxn>
                  <a:cxn ang="0">
                    <a:pos x="18" y="54"/>
                  </a:cxn>
                  <a:cxn ang="0">
                    <a:pos x="26" y="54"/>
                  </a:cxn>
                  <a:cxn ang="0">
                    <a:pos x="26" y="54"/>
                  </a:cxn>
                  <a:cxn ang="0">
                    <a:pos x="32" y="54"/>
                  </a:cxn>
                  <a:cxn ang="0">
                    <a:pos x="32" y="54"/>
                  </a:cxn>
                  <a:cxn ang="0">
                    <a:pos x="42" y="48"/>
                  </a:cxn>
                  <a:cxn ang="0">
                    <a:pos x="50" y="42"/>
                  </a:cxn>
                  <a:cxn ang="0">
                    <a:pos x="52" y="32"/>
                  </a:cxn>
                  <a:cxn ang="0">
                    <a:pos x="52" y="20"/>
                  </a:cxn>
                  <a:cxn ang="0">
                    <a:pos x="52" y="20"/>
                  </a:cxn>
                  <a:cxn ang="0">
                    <a:pos x="48" y="12"/>
                  </a:cxn>
                  <a:cxn ang="0">
                    <a:pos x="42" y="6"/>
                  </a:cxn>
                  <a:cxn ang="0">
                    <a:pos x="34" y="2"/>
                  </a:cxn>
                  <a:cxn ang="0">
                    <a:pos x="26" y="0"/>
                  </a:cxn>
                </a:cxnLst>
                <a:rect l="0" t="0" r="r" b="b"/>
                <a:pathLst>
                  <a:path w="52" h="54">
                    <a:moveTo>
                      <a:pt x="26" y="0"/>
                    </a:moveTo>
                    <a:lnTo>
                      <a:pt x="26" y="0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2" y="14"/>
                    </a:lnTo>
                    <a:lnTo>
                      <a:pt x="0" y="2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4" y="42"/>
                    </a:lnTo>
                    <a:lnTo>
                      <a:pt x="10" y="50"/>
                    </a:lnTo>
                    <a:lnTo>
                      <a:pt x="18" y="54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32" y="54"/>
                    </a:lnTo>
                    <a:lnTo>
                      <a:pt x="32" y="54"/>
                    </a:lnTo>
                    <a:lnTo>
                      <a:pt x="42" y="48"/>
                    </a:lnTo>
                    <a:lnTo>
                      <a:pt x="50" y="42"/>
                    </a:lnTo>
                    <a:lnTo>
                      <a:pt x="52" y="32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48" y="12"/>
                    </a:lnTo>
                    <a:lnTo>
                      <a:pt x="42" y="6"/>
                    </a:lnTo>
                    <a:lnTo>
                      <a:pt x="34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0" name="Freeform 207"/>
              <p:cNvSpPr>
                <a:spLocks/>
              </p:cNvSpPr>
              <p:nvPr userDrawn="1"/>
            </p:nvSpPr>
            <p:spPr bwMode="auto">
              <a:xfrm>
                <a:off x="4789481" y="5187471"/>
                <a:ext cx="82550" cy="85724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2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2" y="14"/>
                  </a:cxn>
                  <a:cxn ang="0">
                    <a:pos x="0" y="24"/>
                  </a:cxn>
                  <a:cxn ang="0">
                    <a:pos x="0" y="34"/>
                  </a:cxn>
                  <a:cxn ang="0">
                    <a:pos x="0" y="34"/>
                  </a:cxn>
                  <a:cxn ang="0">
                    <a:pos x="4" y="42"/>
                  </a:cxn>
                  <a:cxn ang="0">
                    <a:pos x="10" y="50"/>
                  </a:cxn>
                  <a:cxn ang="0">
                    <a:pos x="18" y="54"/>
                  </a:cxn>
                  <a:cxn ang="0">
                    <a:pos x="26" y="54"/>
                  </a:cxn>
                  <a:cxn ang="0">
                    <a:pos x="26" y="54"/>
                  </a:cxn>
                  <a:cxn ang="0">
                    <a:pos x="32" y="54"/>
                  </a:cxn>
                  <a:cxn ang="0">
                    <a:pos x="32" y="54"/>
                  </a:cxn>
                  <a:cxn ang="0">
                    <a:pos x="42" y="48"/>
                  </a:cxn>
                  <a:cxn ang="0">
                    <a:pos x="50" y="42"/>
                  </a:cxn>
                  <a:cxn ang="0">
                    <a:pos x="52" y="32"/>
                  </a:cxn>
                  <a:cxn ang="0">
                    <a:pos x="52" y="20"/>
                  </a:cxn>
                  <a:cxn ang="0">
                    <a:pos x="52" y="20"/>
                  </a:cxn>
                  <a:cxn ang="0">
                    <a:pos x="48" y="12"/>
                  </a:cxn>
                  <a:cxn ang="0">
                    <a:pos x="42" y="6"/>
                  </a:cxn>
                  <a:cxn ang="0">
                    <a:pos x="34" y="2"/>
                  </a:cxn>
                  <a:cxn ang="0">
                    <a:pos x="26" y="0"/>
                  </a:cxn>
                </a:cxnLst>
                <a:rect l="0" t="0" r="r" b="b"/>
                <a:pathLst>
                  <a:path w="52" h="54">
                    <a:moveTo>
                      <a:pt x="26" y="0"/>
                    </a:moveTo>
                    <a:lnTo>
                      <a:pt x="26" y="0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2" y="14"/>
                    </a:lnTo>
                    <a:lnTo>
                      <a:pt x="0" y="2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4" y="42"/>
                    </a:lnTo>
                    <a:lnTo>
                      <a:pt x="10" y="50"/>
                    </a:lnTo>
                    <a:lnTo>
                      <a:pt x="18" y="54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32" y="54"/>
                    </a:lnTo>
                    <a:lnTo>
                      <a:pt x="32" y="54"/>
                    </a:lnTo>
                    <a:lnTo>
                      <a:pt x="42" y="48"/>
                    </a:lnTo>
                    <a:lnTo>
                      <a:pt x="50" y="42"/>
                    </a:lnTo>
                    <a:lnTo>
                      <a:pt x="52" y="32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48" y="12"/>
                    </a:lnTo>
                    <a:lnTo>
                      <a:pt x="42" y="6"/>
                    </a:lnTo>
                    <a:lnTo>
                      <a:pt x="34" y="2"/>
                    </a:lnTo>
                    <a:lnTo>
                      <a:pt x="2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1" name="Freeform 208"/>
              <p:cNvSpPr>
                <a:spLocks/>
              </p:cNvSpPr>
              <p:nvPr userDrawn="1"/>
            </p:nvSpPr>
            <p:spPr bwMode="auto">
              <a:xfrm>
                <a:off x="4921250" y="4664075"/>
                <a:ext cx="73025" cy="79375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8" y="6"/>
                  </a:cxn>
                  <a:cxn ang="0">
                    <a:pos x="2" y="14"/>
                  </a:cxn>
                  <a:cxn ang="0">
                    <a:pos x="0" y="22"/>
                  </a:cxn>
                  <a:cxn ang="0">
                    <a:pos x="0" y="32"/>
                  </a:cxn>
                  <a:cxn ang="0">
                    <a:pos x="0" y="32"/>
                  </a:cxn>
                  <a:cxn ang="0">
                    <a:pos x="2" y="38"/>
                  </a:cxn>
                  <a:cxn ang="0">
                    <a:pos x="8" y="44"/>
                  </a:cxn>
                  <a:cxn ang="0">
                    <a:pos x="16" y="48"/>
                  </a:cxn>
                  <a:cxn ang="0">
                    <a:pos x="22" y="50"/>
                  </a:cxn>
                  <a:cxn ang="0">
                    <a:pos x="22" y="50"/>
                  </a:cxn>
                  <a:cxn ang="0">
                    <a:pos x="30" y="48"/>
                  </a:cxn>
                  <a:cxn ang="0">
                    <a:pos x="30" y="48"/>
                  </a:cxn>
                  <a:cxn ang="0">
                    <a:pos x="38" y="44"/>
                  </a:cxn>
                  <a:cxn ang="0">
                    <a:pos x="44" y="38"/>
                  </a:cxn>
                  <a:cxn ang="0">
                    <a:pos x="46" y="28"/>
                  </a:cxn>
                  <a:cxn ang="0">
                    <a:pos x="46" y="18"/>
                  </a:cxn>
                  <a:cxn ang="0">
                    <a:pos x="46" y="18"/>
                  </a:cxn>
                  <a:cxn ang="0">
                    <a:pos x="44" y="12"/>
                  </a:cxn>
                  <a:cxn ang="0">
                    <a:pos x="38" y="6"/>
                  </a:cxn>
                  <a:cxn ang="0">
                    <a:pos x="30" y="2"/>
                  </a:cxn>
                  <a:cxn ang="0">
                    <a:pos x="24" y="0"/>
                  </a:cxn>
                </a:cxnLst>
                <a:rect l="0" t="0" r="r" b="b"/>
                <a:pathLst>
                  <a:path w="46" h="50">
                    <a:moveTo>
                      <a:pt x="24" y="0"/>
                    </a:moveTo>
                    <a:lnTo>
                      <a:pt x="24" y="0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8" y="6"/>
                    </a:lnTo>
                    <a:lnTo>
                      <a:pt x="2" y="14"/>
                    </a:lnTo>
                    <a:lnTo>
                      <a:pt x="0" y="22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2" y="38"/>
                    </a:lnTo>
                    <a:lnTo>
                      <a:pt x="8" y="44"/>
                    </a:lnTo>
                    <a:lnTo>
                      <a:pt x="16" y="48"/>
                    </a:lnTo>
                    <a:lnTo>
                      <a:pt x="22" y="50"/>
                    </a:lnTo>
                    <a:lnTo>
                      <a:pt x="22" y="50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38" y="44"/>
                    </a:lnTo>
                    <a:lnTo>
                      <a:pt x="44" y="38"/>
                    </a:lnTo>
                    <a:lnTo>
                      <a:pt x="46" y="28"/>
                    </a:lnTo>
                    <a:lnTo>
                      <a:pt x="46" y="18"/>
                    </a:lnTo>
                    <a:lnTo>
                      <a:pt x="46" y="18"/>
                    </a:lnTo>
                    <a:lnTo>
                      <a:pt x="44" y="12"/>
                    </a:lnTo>
                    <a:lnTo>
                      <a:pt x="38" y="6"/>
                    </a:lnTo>
                    <a:lnTo>
                      <a:pt x="30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2" name="Freeform 209"/>
              <p:cNvSpPr>
                <a:spLocks/>
              </p:cNvSpPr>
              <p:nvPr userDrawn="1"/>
            </p:nvSpPr>
            <p:spPr bwMode="auto">
              <a:xfrm>
                <a:off x="4921250" y="4664075"/>
                <a:ext cx="73025" cy="79375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8" y="6"/>
                  </a:cxn>
                  <a:cxn ang="0">
                    <a:pos x="2" y="14"/>
                  </a:cxn>
                  <a:cxn ang="0">
                    <a:pos x="0" y="22"/>
                  </a:cxn>
                  <a:cxn ang="0">
                    <a:pos x="0" y="32"/>
                  </a:cxn>
                  <a:cxn ang="0">
                    <a:pos x="0" y="32"/>
                  </a:cxn>
                  <a:cxn ang="0">
                    <a:pos x="2" y="38"/>
                  </a:cxn>
                  <a:cxn ang="0">
                    <a:pos x="8" y="44"/>
                  </a:cxn>
                  <a:cxn ang="0">
                    <a:pos x="16" y="48"/>
                  </a:cxn>
                  <a:cxn ang="0">
                    <a:pos x="22" y="50"/>
                  </a:cxn>
                  <a:cxn ang="0">
                    <a:pos x="22" y="50"/>
                  </a:cxn>
                  <a:cxn ang="0">
                    <a:pos x="30" y="48"/>
                  </a:cxn>
                  <a:cxn ang="0">
                    <a:pos x="30" y="48"/>
                  </a:cxn>
                  <a:cxn ang="0">
                    <a:pos x="38" y="44"/>
                  </a:cxn>
                  <a:cxn ang="0">
                    <a:pos x="44" y="38"/>
                  </a:cxn>
                  <a:cxn ang="0">
                    <a:pos x="46" y="28"/>
                  </a:cxn>
                  <a:cxn ang="0">
                    <a:pos x="46" y="18"/>
                  </a:cxn>
                  <a:cxn ang="0">
                    <a:pos x="46" y="18"/>
                  </a:cxn>
                  <a:cxn ang="0">
                    <a:pos x="44" y="12"/>
                  </a:cxn>
                  <a:cxn ang="0">
                    <a:pos x="38" y="6"/>
                  </a:cxn>
                  <a:cxn ang="0">
                    <a:pos x="30" y="2"/>
                  </a:cxn>
                  <a:cxn ang="0">
                    <a:pos x="24" y="0"/>
                  </a:cxn>
                </a:cxnLst>
                <a:rect l="0" t="0" r="r" b="b"/>
                <a:pathLst>
                  <a:path w="46" h="50">
                    <a:moveTo>
                      <a:pt x="24" y="0"/>
                    </a:moveTo>
                    <a:lnTo>
                      <a:pt x="24" y="0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8" y="6"/>
                    </a:lnTo>
                    <a:lnTo>
                      <a:pt x="2" y="14"/>
                    </a:lnTo>
                    <a:lnTo>
                      <a:pt x="0" y="22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2" y="38"/>
                    </a:lnTo>
                    <a:lnTo>
                      <a:pt x="8" y="44"/>
                    </a:lnTo>
                    <a:lnTo>
                      <a:pt x="16" y="48"/>
                    </a:lnTo>
                    <a:lnTo>
                      <a:pt x="22" y="50"/>
                    </a:lnTo>
                    <a:lnTo>
                      <a:pt x="22" y="50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38" y="44"/>
                    </a:lnTo>
                    <a:lnTo>
                      <a:pt x="44" y="38"/>
                    </a:lnTo>
                    <a:lnTo>
                      <a:pt x="46" y="28"/>
                    </a:lnTo>
                    <a:lnTo>
                      <a:pt x="46" y="18"/>
                    </a:lnTo>
                    <a:lnTo>
                      <a:pt x="46" y="18"/>
                    </a:lnTo>
                    <a:lnTo>
                      <a:pt x="44" y="12"/>
                    </a:lnTo>
                    <a:lnTo>
                      <a:pt x="38" y="6"/>
                    </a:lnTo>
                    <a:lnTo>
                      <a:pt x="30" y="2"/>
                    </a:lnTo>
                    <a:lnTo>
                      <a:pt x="2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3" name="Freeform 210"/>
              <p:cNvSpPr>
                <a:spLocks/>
              </p:cNvSpPr>
              <p:nvPr userDrawn="1"/>
            </p:nvSpPr>
            <p:spPr bwMode="auto">
              <a:xfrm>
                <a:off x="4937125" y="4508500"/>
                <a:ext cx="69850" cy="69850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8" y="6"/>
                  </a:cxn>
                  <a:cxn ang="0">
                    <a:pos x="2" y="12"/>
                  </a:cxn>
                  <a:cxn ang="0">
                    <a:pos x="0" y="20"/>
                  </a:cxn>
                  <a:cxn ang="0">
                    <a:pos x="0" y="28"/>
                  </a:cxn>
                  <a:cxn ang="0">
                    <a:pos x="0" y="28"/>
                  </a:cxn>
                  <a:cxn ang="0">
                    <a:pos x="4" y="34"/>
                  </a:cxn>
                  <a:cxn ang="0">
                    <a:pos x="8" y="40"/>
                  </a:cxn>
                  <a:cxn ang="0">
                    <a:pos x="14" y="44"/>
                  </a:cxn>
                  <a:cxn ang="0">
                    <a:pos x="22" y="44"/>
                  </a:cxn>
                  <a:cxn ang="0">
                    <a:pos x="22" y="44"/>
                  </a:cxn>
                  <a:cxn ang="0">
                    <a:pos x="28" y="44"/>
                  </a:cxn>
                  <a:cxn ang="0">
                    <a:pos x="28" y="44"/>
                  </a:cxn>
                  <a:cxn ang="0">
                    <a:pos x="36" y="40"/>
                  </a:cxn>
                  <a:cxn ang="0">
                    <a:pos x="40" y="34"/>
                  </a:cxn>
                  <a:cxn ang="0">
                    <a:pos x="44" y="26"/>
                  </a:cxn>
                  <a:cxn ang="0">
                    <a:pos x="42" y="18"/>
                  </a:cxn>
                  <a:cxn ang="0">
                    <a:pos x="42" y="18"/>
                  </a:cxn>
                  <a:cxn ang="0">
                    <a:pos x="40" y="10"/>
                  </a:cxn>
                  <a:cxn ang="0">
                    <a:pos x="34" y="6"/>
                  </a:cxn>
                  <a:cxn ang="0">
                    <a:pos x="28" y="2"/>
                  </a:cxn>
                  <a:cxn ang="0">
                    <a:pos x="22" y="0"/>
                  </a:cxn>
                </a:cxnLst>
                <a:rect l="0" t="0" r="r" b="b"/>
                <a:pathLst>
                  <a:path w="44" h="44">
                    <a:moveTo>
                      <a:pt x="22" y="0"/>
                    </a:moveTo>
                    <a:lnTo>
                      <a:pt x="22" y="0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8" y="6"/>
                    </a:lnTo>
                    <a:lnTo>
                      <a:pt x="2" y="12"/>
                    </a:lnTo>
                    <a:lnTo>
                      <a:pt x="0" y="20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4" y="34"/>
                    </a:lnTo>
                    <a:lnTo>
                      <a:pt x="8" y="40"/>
                    </a:lnTo>
                    <a:lnTo>
                      <a:pt x="14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8" y="44"/>
                    </a:lnTo>
                    <a:lnTo>
                      <a:pt x="28" y="44"/>
                    </a:lnTo>
                    <a:lnTo>
                      <a:pt x="36" y="40"/>
                    </a:lnTo>
                    <a:lnTo>
                      <a:pt x="40" y="34"/>
                    </a:lnTo>
                    <a:lnTo>
                      <a:pt x="44" y="26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40" y="10"/>
                    </a:lnTo>
                    <a:lnTo>
                      <a:pt x="34" y="6"/>
                    </a:lnTo>
                    <a:lnTo>
                      <a:pt x="28" y="2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4" name="Freeform 211"/>
              <p:cNvSpPr>
                <a:spLocks/>
              </p:cNvSpPr>
              <p:nvPr userDrawn="1"/>
            </p:nvSpPr>
            <p:spPr bwMode="auto">
              <a:xfrm>
                <a:off x="4937125" y="4508500"/>
                <a:ext cx="69850" cy="69850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8" y="6"/>
                  </a:cxn>
                  <a:cxn ang="0">
                    <a:pos x="2" y="12"/>
                  </a:cxn>
                  <a:cxn ang="0">
                    <a:pos x="0" y="20"/>
                  </a:cxn>
                  <a:cxn ang="0">
                    <a:pos x="0" y="28"/>
                  </a:cxn>
                  <a:cxn ang="0">
                    <a:pos x="0" y="28"/>
                  </a:cxn>
                  <a:cxn ang="0">
                    <a:pos x="4" y="34"/>
                  </a:cxn>
                  <a:cxn ang="0">
                    <a:pos x="8" y="40"/>
                  </a:cxn>
                  <a:cxn ang="0">
                    <a:pos x="14" y="44"/>
                  </a:cxn>
                  <a:cxn ang="0">
                    <a:pos x="22" y="44"/>
                  </a:cxn>
                  <a:cxn ang="0">
                    <a:pos x="22" y="44"/>
                  </a:cxn>
                  <a:cxn ang="0">
                    <a:pos x="28" y="44"/>
                  </a:cxn>
                  <a:cxn ang="0">
                    <a:pos x="28" y="44"/>
                  </a:cxn>
                  <a:cxn ang="0">
                    <a:pos x="36" y="40"/>
                  </a:cxn>
                  <a:cxn ang="0">
                    <a:pos x="40" y="34"/>
                  </a:cxn>
                  <a:cxn ang="0">
                    <a:pos x="44" y="26"/>
                  </a:cxn>
                  <a:cxn ang="0">
                    <a:pos x="42" y="18"/>
                  </a:cxn>
                  <a:cxn ang="0">
                    <a:pos x="42" y="18"/>
                  </a:cxn>
                  <a:cxn ang="0">
                    <a:pos x="40" y="10"/>
                  </a:cxn>
                  <a:cxn ang="0">
                    <a:pos x="34" y="6"/>
                  </a:cxn>
                  <a:cxn ang="0">
                    <a:pos x="28" y="2"/>
                  </a:cxn>
                  <a:cxn ang="0">
                    <a:pos x="22" y="0"/>
                  </a:cxn>
                </a:cxnLst>
                <a:rect l="0" t="0" r="r" b="b"/>
                <a:pathLst>
                  <a:path w="44" h="44">
                    <a:moveTo>
                      <a:pt x="22" y="0"/>
                    </a:moveTo>
                    <a:lnTo>
                      <a:pt x="22" y="0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8" y="6"/>
                    </a:lnTo>
                    <a:lnTo>
                      <a:pt x="2" y="12"/>
                    </a:lnTo>
                    <a:lnTo>
                      <a:pt x="0" y="20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4" y="34"/>
                    </a:lnTo>
                    <a:lnTo>
                      <a:pt x="8" y="40"/>
                    </a:lnTo>
                    <a:lnTo>
                      <a:pt x="14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8" y="44"/>
                    </a:lnTo>
                    <a:lnTo>
                      <a:pt x="28" y="44"/>
                    </a:lnTo>
                    <a:lnTo>
                      <a:pt x="36" y="40"/>
                    </a:lnTo>
                    <a:lnTo>
                      <a:pt x="40" y="34"/>
                    </a:lnTo>
                    <a:lnTo>
                      <a:pt x="44" y="26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40" y="10"/>
                    </a:lnTo>
                    <a:lnTo>
                      <a:pt x="34" y="6"/>
                    </a:lnTo>
                    <a:lnTo>
                      <a:pt x="28" y="2"/>
                    </a:lnTo>
                    <a:lnTo>
                      <a:pt x="2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5" name="Freeform 212"/>
              <p:cNvSpPr>
                <a:spLocks/>
              </p:cNvSpPr>
              <p:nvPr userDrawn="1"/>
            </p:nvSpPr>
            <p:spPr bwMode="auto">
              <a:xfrm>
                <a:off x="4981575" y="4359275"/>
                <a:ext cx="63500" cy="60325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4" y="30"/>
                  </a:cxn>
                  <a:cxn ang="0">
                    <a:pos x="8" y="34"/>
                  </a:cxn>
                  <a:cxn ang="0">
                    <a:pos x="14" y="38"/>
                  </a:cxn>
                  <a:cxn ang="0">
                    <a:pos x="20" y="38"/>
                  </a:cxn>
                  <a:cxn ang="0">
                    <a:pos x="20" y="38"/>
                  </a:cxn>
                  <a:cxn ang="0">
                    <a:pos x="26" y="38"/>
                  </a:cxn>
                  <a:cxn ang="0">
                    <a:pos x="26" y="38"/>
                  </a:cxn>
                  <a:cxn ang="0">
                    <a:pos x="32" y="34"/>
                  </a:cxn>
                  <a:cxn ang="0">
                    <a:pos x="36" y="28"/>
                  </a:cxn>
                  <a:cxn ang="0">
                    <a:pos x="40" y="22"/>
                  </a:cxn>
                  <a:cxn ang="0">
                    <a:pos x="38" y="14"/>
                  </a:cxn>
                  <a:cxn ang="0">
                    <a:pos x="38" y="14"/>
                  </a:cxn>
                  <a:cxn ang="0">
                    <a:pos x="36" y="8"/>
                  </a:cxn>
                  <a:cxn ang="0">
                    <a:pos x="32" y="4"/>
                  </a:cxn>
                  <a:cxn ang="0">
                    <a:pos x="26" y="0"/>
                  </a:cxn>
                  <a:cxn ang="0">
                    <a:pos x="20" y="0"/>
                  </a:cxn>
                </a:cxnLst>
                <a:rect l="0" t="0" r="r" b="b"/>
                <a:pathLst>
                  <a:path w="40" h="38">
                    <a:moveTo>
                      <a:pt x="20" y="0"/>
                    </a:moveTo>
                    <a:lnTo>
                      <a:pt x="2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4" y="30"/>
                    </a:lnTo>
                    <a:lnTo>
                      <a:pt x="8" y="34"/>
                    </a:lnTo>
                    <a:lnTo>
                      <a:pt x="14" y="38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32" y="34"/>
                    </a:lnTo>
                    <a:lnTo>
                      <a:pt x="36" y="28"/>
                    </a:lnTo>
                    <a:lnTo>
                      <a:pt x="40" y="22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6" y="8"/>
                    </a:lnTo>
                    <a:lnTo>
                      <a:pt x="32" y="4"/>
                    </a:lnTo>
                    <a:lnTo>
                      <a:pt x="26" y="0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6" name="Freeform 213"/>
              <p:cNvSpPr>
                <a:spLocks/>
              </p:cNvSpPr>
              <p:nvPr userDrawn="1"/>
            </p:nvSpPr>
            <p:spPr bwMode="auto">
              <a:xfrm>
                <a:off x="4981575" y="4359275"/>
                <a:ext cx="63500" cy="60325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4" y="30"/>
                  </a:cxn>
                  <a:cxn ang="0">
                    <a:pos x="8" y="34"/>
                  </a:cxn>
                  <a:cxn ang="0">
                    <a:pos x="14" y="38"/>
                  </a:cxn>
                  <a:cxn ang="0">
                    <a:pos x="20" y="38"/>
                  </a:cxn>
                  <a:cxn ang="0">
                    <a:pos x="20" y="38"/>
                  </a:cxn>
                  <a:cxn ang="0">
                    <a:pos x="26" y="38"/>
                  </a:cxn>
                  <a:cxn ang="0">
                    <a:pos x="26" y="38"/>
                  </a:cxn>
                  <a:cxn ang="0">
                    <a:pos x="32" y="34"/>
                  </a:cxn>
                  <a:cxn ang="0">
                    <a:pos x="36" y="28"/>
                  </a:cxn>
                  <a:cxn ang="0">
                    <a:pos x="40" y="22"/>
                  </a:cxn>
                  <a:cxn ang="0">
                    <a:pos x="38" y="14"/>
                  </a:cxn>
                  <a:cxn ang="0">
                    <a:pos x="38" y="14"/>
                  </a:cxn>
                  <a:cxn ang="0">
                    <a:pos x="36" y="8"/>
                  </a:cxn>
                  <a:cxn ang="0">
                    <a:pos x="32" y="4"/>
                  </a:cxn>
                  <a:cxn ang="0">
                    <a:pos x="26" y="0"/>
                  </a:cxn>
                  <a:cxn ang="0">
                    <a:pos x="20" y="0"/>
                  </a:cxn>
                </a:cxnLst>
                <a:rect l="0" t="0" r="r" b="b"/>
                <a:pathLst>
                  <a:path w="40" h="38">
                    <a:moveTo>
                      <a:pt x="20" y="0"/>
                    </a:moveTo>
                    <a:lnTo>
                      <a:pt x="2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4" y="30"/>
                    </a:lnTo>
                    <a:lnTo>
                      <a:pt x="8" y="34"/>
                    </a:lnTo>
                    <a:lnTo>
                      <a:pt x="14" y="38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32" y="34"/>
                    </a:lnTo>
                    <a:lnTo>
                      <a:pt x="36" y="28"/>
                    </a:lnTo>
                    <a:lnTo>
                      <a:pt x="40" y="22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6" y="8"/>
                    </a:lnTo>
                    <a:lnTo>
                      <a:pt x="32" y="4"/>
                    </a:lnTo>
                    <a:lnTo>
                      <a:pt x="26" y="0"/>
                    </a:lnTo>
                    <a:lnTo>
                      <a:pt x="2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7" name="Freeform 214"/>
              <p:cNvSpPr>
                <a:spLocks/>
              </p:cNvSpPr>
              <p:nvPr userDrawn="1"/>
            </p:nvSpPr>
            <p:spPr bwMode="auto">
              <a:xfrm>
                <a:off x="5054600" y="4216400"/>
                <a:ext cx="53975" cy="5715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6" y="4"/>
                  </a:cxn>
                  <a:cxn ang="0">
                    <a:pos x="2" y="8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2" y="28"/>
                  </a:cxn>
                  <a:cxn ang="0">
                    <a:pos x="6" y="32"/>
                  </a:cxn>
                  <a:cxn ang="0">
                    <a:pos x="10" y="34"/>
                  </a:cxn>
                  <a:cxn ang="0">
                    <a:pos x="16" y="36"/>
                  </a:cxn>
                  <a:cxn ang="0">
                    <a:pos x="16" y="36"/>
                  </a:cxn>
                  <a:cxn ang="0">
                    <a:pos x="22" y="34"/>
                  </a:cxn>
                  <a:cxn ang="0">
                    <a:pos x="22" y="34"/>
                  </a:cxn>
                  <a:cxn ang="0">
                    <a:pos x="28" y="32"/>
                  </a:cxn>
                  <a:cxn ang="0">
                    <a:pos x="32" y="26"/>
                  </a:cxn>
                  <a:cxn ang="0">
                    <a:pos x="34" y="20"/>
                  </a:cxn>
                  <a:cxn ang="0">
                    <a:pos x="34" y="14"/>
                  </a:cxn>
                  <a:cxn ang="0">
                    <a:pos x="34" y="14"/>
                  </a:cxn>
                  <a:cxn ang="0">
                    <a:pos x="32" y="8"/>
                  </a:cxn>
                  <a:cxn ang="0">
                    <a:pos x="28" y="4"/>
                  </a:cxn>
                  <a:cxn ang="0">
                    <a:pos x="22" y="0"/>
                  </a:cxn>
                  <a:cxn ang="0">
                    <a:pos x="16" y="0"/>
                  </a:cxn>
                </a:cxnLst>
                <a:rect l="0" t="0" r="r" b="b"/>
                <a:pathLst>
                  <a:path w="34" h="36">
                    <a:moveTo>
                      <a:pt x="16" y="0"/>
                    </a:moveTo>
                    <a:lnTo>
                      <a:pt x="16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6" y="4"/>
                    </a:lnTo>
                    <a:lnTo>
                      <a:pt x="2" y="8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2" y="28"/>
                    </a:lnTo>
                    <a:lnTo>
                      <a:pt x="6" y="32"/>
                    </a:lnTo>
                    <a:lnTo>
                      <a:pt x="10" y="34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8" y="32"/>
                    </a:lnTo>
                    <a:lnTo>
                      <a:pt x="32" y="26"/>
                    </a:lnTo>
                    <a:lnTo>
                      <a:pt x="34" y="20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2" y="8"/>
                    </a:lnTo>
                    <a:lnTo>
                      <a:pt x="28" y="4"/>
                    </a:lnTo>
                    <a:lnTo>
                      <a:pt x="22" y="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8" name="Freeform 215"/>
              <p:cNvSpPr>
                <a:spLocks/>
              </p:cNvSpPr>
              <p:nvPr userDrawn="1"/>
            </p:nvSpPr>
            <p:spPr bwMode="auto">
              <a:xfrm>
                <a:off x="5054600" y="4216400"/>
                <a:ext cx="53975" cy="5715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6" y="4"/>
                  </a:cxn>
                  <a:cxn ang="0">
                    <a:pos x="2" y="8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2" y="28"/>
                  </a:cxn>
                  <a:cxn ang="0">
                    <a:pos x="6" y="32"/>
                  </a:cxn>
                  <a:cxn ang="0">
                    <a:pos x="10" y="34"/>
                  </a:cxn>
                  <a:cxn ang="0">
                    <a:pos x="16" y="36"/>
                  </a:cxn>
                  <a:cxn ang="0">
                    <a:pos x="16" y="36"/>
                  </a:cxn>
                  <a:cxn ang="0">
                    <a:pos x="22" y="34"/>
                  </a:cxn>
                  <a:cxn ang="0">
                    <a:pos x="22" y="34"/>
                  </a:cxn>
                  <a:cxn ang="0">
                    <a:pos x="28" y="32"/>
                  </a:cxn>
                  <a:cxn ang="0">
                    <a:pos x="32" y="26"/>
                  </a:cxn>
                  <a:cxn ang="0">
                    <a:pos x="34" y="20"/>
                  </a:cxn>
                  <a:cxn ang="0">
                    <a:pos x="34" y="14"/>
                  </a:cxn>
                  <a:cxn ang="0">
                    <a:pos x="34" y="14"/>
                  </a:cxn>
                  <a:cxn ang="0">
                    <a:pos x="32" y="8"/>
                  </a:cxn>
                  <a:cxn ang="0">
                    <a:pos x="28" y="4"/>
                  </a:cxn>
                  <a:cxn ang="0">
                    <a:pos x="22" y="0"/>
                  </a:cxn>
                  <a:cxn ang="0">
                    <a:pos x="16" y="0"/>
                  </a:cxn>
                </a:cxnLst>
                <a:rect l="0" t="0" r="r" b="b"/>
                <a:pathLst>
                  <a:path w="34" h="36">
                    <a:moveTo>
                      <a:pt x="16" y="0"/>
                    </a:moveTo>
                    <a:lnTo>
                      <a:pt x="16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6" y="4"/>
                    </a:lnTo>
                    <a:lnTo>
                      <a:pt x="2" y="8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2" y="28"/>
                    </a:lnTo>
                    <a:lnTo>
                      <a:pt x="6" y="32"/>
                    </a:lnTo>
                    <a:lnTo>
                      <a:pt x="10" y="34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8" y="32"/>
                    </a:lnTo>
                    <a:lnTo>
                      <a:pt x="32" y="26"/>
                    </a:lnTo>
                    <a:lnTo>
                      <a:pt x="34" y="20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2" y="8"/>
                    </a:lnTo>
                    <a:lnTo>
                      <a:pt x="28" y="4"/>
                    </a:lnTo>
                    <a:lnTo>
                      <a:pt x="22" y="0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9" name="Freeform 216"/>
              <p:cNvSpPr>
                <a:spLocks/>
              </p:cNvSpPr>
              <p:nvPr userDrawn="1"/>
            </p:nvSpPr>
            <p:spPr bwMode="auto">
              <a:xfrm>
                <a:off x="5146675" y="4089400"/>
                <a:ext cx="50800" cy="4762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6" y="2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2" y="20"/>
                  </a:cxn>
                  <a:cxn ang="0">
                    <a:pos x="2" y="20"/>
                  </a:cxn>
                  <a:cxn ang="0">
                    <a:pos x="4" y="24"/>
                  </a:cxn>
                  <a:cxn ang="0">
                    <a:pos x="6" y="28"/>
                  </a:cxn>
                  <a:cxn ang="0">
                    <a:pos x="12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20" y="30"/>
                  </a:cxn>
                  <a:cxn ang="0">
                    <a:pos x="20" y="30"/>
                  </a:cxn>
                  <a:cxn ang="0">
                    <a:pos x="26" y="28"/>
                  </a:cxn>
                  <a:cxn ang="0">
                    <a:pos x="30" y="22"/>
                  </a:cxn>
                  <a:cxn ang="0">
                    <a:pos x="32" y="18"/>
                  </a:cxn>
                  <a:cxn ang="0">
                    <a:pos x="32" y="10"/>
                  </a:cxn>
                  <a:cxn ang="0">
                    <a:pos x="32" y="10"/>
                  </a:cxn>
                  <a:cxn ang="0">
                    <a:pos x="30" y="6"/>
                  </a:cxn>
                  <a:cxn ang="0">
                    <a:pos x="26" y="2"/>
                  </a:cxn>
                  <a:cxn ang="0">
                    <a:pos x="22" y="0"/>
                  </a:cxn>
                  <a:cxn ang="0">
                    <a:pos x="16" y="0"/>
                  </a:cxn>
                </a:cxnLst>
                <a:rect l="0" t="0" r="r" b="b"/>
                <a:pathLst>
                  <a:path w="32" h="30">
                    <a:moveTo>
                      <a:pt x="16" y="0"/>
                    </a:moveTo>
                    <a:lnTo>
                      <a:pt x="16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6" y="2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4" y="24"/>
                    </a:lnTo>
                    <a:lnTo>
                      <a:pt x="6" y="28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6" y="28"/>
                    </a:lnTo>
                    <a:lnTo>
                      <a:pt x="30" y="22"/>
                    </a:lnTo>
                    <a:lnTo>
                      <a:pt x="32" y="18"/>
                    </a:lnTo>
                    <a:lnTo>
                      <a:pt x="32" y="10"/>
                    </a:lnTo>
                    <a:lnTo>
                      <a:pt x="32" y="10"/>
                    </a:lnTo>
                    <a:lnTo>
                      <a:pt x="30" y="6"/>
                    </a:lnTo>
                    <a:lnTo>
                      <a:pt x="26" y="2"/>
                    </a:lnTo>
                    <a:lnTo>
                      <a:pt x="22" y="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0" name="Freeform 217"/>
              <p:cNvSpPr>
                <a:spLocks/>
              </p:cNvSpPr>
              <p:nvPr userDrawn="1"/>
            </p:nvSpPr>
            <p:spPr bwMode="auto">
              <a:xfrm>
                <a:off x="5146675" y="4089400"/>
                <a:ext cx="50800" cy="4762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6" y="2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2" y="20"/>
                  </a:cxn>
                  <a:cxn ang="0">
                    <a:pos x="2" y="20"/>
                  </a:cxn>
                  <a:cxn ang="0">
                    <a:pos x="4" y="24"/>
                  </a:cxn>
                  <a:cxn ang="0">
                    <a:pos x="6" y="28"/>
                  </a:cxn>
                  <a:cxn ang="0">
                    <a:pos x="12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20" y="30"/>
                  </a:cxn>
                  <a:cxn ang="0">
                    <a:pos x="20" y="30"/>
                  </a:cxn>
                  <a:cxn ang="0">
                    <a:pos x="26" y="28"/>
                  </a:cxn>
                  <a:cxn ang="0">
                    <a:pos x="30" y="22"/>
                  </a:cxn>
                  <a:cxn ang="0">
                    <a:pos x="32" y="18"/>
                  </a:cxn>
                  <a:cxn ang="0">
                    <a:pos x="32" y="10"/>
                  </a:cxn>
                  <a:cxn ang="0">
                    <a:pos x="32" y="10"/>
                  </a:cxn>
                  <a:cxn ang="0">
                    <a:pos x="30" y="6"/>
                  </a:cxn>
                  <a:cxn ang="0">
                    <a:pos x="26" y="2"/>
                  </a:cxn>
                  <a:cxn ang="0">
                    <a:pos x="22" y="0"/>
                  </a:cxn>
                  <a:cxn ang="0">
                    <a:pos x="16" y="0"/>
                  </a:cxn>
                </a:cxnLst>
                <a:rect l="0" t="0" r="r" b="b"/>
                <a:pathLst>
                  <a:path w="32" h="30">
                    <a:moveTo>
                      <a:pt x="16" y="0"/>
                    </a:moveTo>
                    <a:lnTo>
                      <a:pt x="16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6" y="2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4" y="24"/>
                    </a:lnTo>
                    <a:lnTo>
                      <a:pt x="6" y="28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6" y="28"/>
                    </a:lnTo>
                    <a:lnTo>
                      <a:pt x="30" y="22"/>
                    </a:lnTo>
                    <a:lnTo>
                      <a:pt x="32" y="18"/>
                    </a:lnTo>
                    <a:lnTo>
                      <a:pt x="32" y="10"/>
                    </a:lnTo>
                    <a:lnTo>
                      <a:pt x="32" y="10"/>
                    </a:lnTo>
                    <a:lnTo>
                      <a:pt x="30" y="6"/>
                    </a:lnTo>
                    <a:lnTo>
                      <a:pt x="26" y="2"/>
                    </a:lnTo>
                    <a:lnTo>
                      <a:pt x="22" y="0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1" name="Freeform 218"/>
              <p:cNvSpPr>
                <a:spLocks/>
              </p:cNvSpPr>
              <p:nvPr userDrawn="1"/>
            </p:nvSpPr>
            <p:spPr bwMode="auto">
              <a:xfrm>
                <a:off x="5264150" y="3978275"/>
                <a:ext cx="44450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6" y="26"/>
                  </a:cxn>
                  <a:cxn ang="0">
                    <a:pos x="10" y="28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18" y="28"/>
                  </a:cxn>
                  <a:cxn ang="0">
                    <a:pos x="18" y="28"/>
                  </a:cxn>
                  <a:cxn ang="0">
                    <a:pos x="22" y="24"/>
                  </a:cxn>
                  <a:cxn ang="0">
                    <a:pos x="26" y="20"/>
                  </a:cxn>
                  <a:cxn ang="0">
                    <a:pos x="28" y="16"/>
                  </a:cxn>
                  <a:cxn ang="0">
                    <a:pos x="28" y="10"/>
                  </a:cxn>
                  <a:cxn ang="0">
                    <a:pos x="28" y="10"/>
                  </a:cxn>
                  <a:cxn ang="0">
                    <a:pos x="26" y="6"/>
                  </a:cxn>
                  <a:cxn ang="0">
                    <a:pos x="22" y="2"/>
                  </a:cxn>
                  <a:cxn ang="0">
                    <a:pos x="18" y="0"/>
                  </a:cxn>
                  <a:cxn ang="0">
                    <a:pos x="14" y="0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lnTo>
                      <a:pt x="14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6" y="2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6" y="26"/>
                    </a:lnTo>
                    <a:lnTo>
                      <a:pt x="10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8" y="28"/>
                    </a:lnTo>
                    <a:lnTo>
                      <a:pt x="18" y="28"/>
                    </a:lnTo>
                    <a:lnTo>
                      <a:pt x="22" y="24"/>
                    </a:lnTo>
                    <a:lnTo>
                      <a:pt x="26" y="20"/>
                    </a:lnTo>
                    <a:lnTo>
                      <a:pt x="28" y="16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6" y="6"/>
                    </a:lnTo>
                    <a:lnTo>
                      <a:pt x="22" y="2"/>
                    </a:lnTo>
                    <a:lnTo>
                      <a:pt x="18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2" name="Freeform 219"/>
              <p:cNvSpPr>
                <a:spLocks/>
              </p:cNvSpPr>
              <p:nvPr userDrawn="1"/>
            </p:nvSpPr>
            <p:spPr bwMode="auto">
              <a:xfrm>
                <a:off x="5264150" y="3978275"/>
                <a:ext cx="44450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6" y="26"/>
                  </a:cxn>
                  <a:cxn ang="0">
                    <a:pos x="10" y="28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18" y="28"/>
                  </a:cxn>
                  <a:cxn ang="0">
                    <a:pos x="18" y="28"/>
                  </a:cxn>
                  <a:cxn ang="0">
                    <a:pos x="22" y="24"/>
                  </a:cxn>
                  <a:cxn ang="0">
                    <a:pos x="26" y="20"/>
                  </a:cxn>
                  <a:cxn ang="0">
                    <a:pos x="28" y="16"/>
                  </a:cxn>
                  <a:cxn ang="0">
                    <a:pos x="28" y="10"/>
                  </a:cxn>
                  <a:cxn ang="0">
                    <a:pos x="28" y="10"/>
                  </a:cxn>
                  <a:cxn ang="0">
                    <a:pos x="26" y="6"/>
                  </a:cxn>
                  <a:cxn ang="0">
                    <a:pos x="22" y="2"/>
                  </a:cxn>
                  <a:cxn ang="0">
                    <a:pos x="18" y="0"/>
                  </a:cxn>
                  <a:cxn ang="0">
                    <a:pos x="14" y="0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lnTo>
                      <a:pt x="14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6" y="2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6" y="26"/>
                    </a:lnTo>
                    <a:lnTo>
                      <a:pt x="10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8" y="28"/>
                    </a:lnTo>
                    <a:lnTo>
                      <a:pt x="18" y="28"/>
                    </a:lnTo>
                    <a:lnTo>
                      <a:pt x="22" y="24"/>
                    </a:lnTo>
                    <a:lnTo>
                      <a:pt x="26" y="20"/>
                    </a:lnTo>
                    <a:lnTo>
                      <a:pt x="28" y="16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6" y="6"/>
                    </a:lnTo>
                    <a:lnTo>
                      <a:pt x="22" y="2"/>
                    </a:lnTo>
                    <a:lnTo>
                      <a:pt x="18" y="0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3" name="Freeform 220"/>
              <p:cNvSpPr>
                <a:spLocks/>
              </p:cNvSpPr>
              <p:nvPr userDrawn="1"/>
            </p:nvSpPr>
            <p:spPr bwMode="auto">
              <a:xfrm>
                <a:off x="5397500" y="3886200"/>
                <a:ext cx="41275" cy="4127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4" y="4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0"/>
                  </a:cxn>
                  <a:cxn ang="0">
                    <a:pos x="4" y="24"/>
                  </a:cxn>
                  <a:cxn ang="0">
                    <a:pos x="8" y="26"/>
                  </a:cxn>
                  <a:cxn ang="0">
                    <a:pos x="12" y="26"/>
                  </a:cxn>
                  <a:cxn ang="0">
                    <a:pos x="12" y="26"/>
                  </a:cxn>
                  <a:cxn ang="0">
                    <a:pos x="16" y="26"/>
                  </a:cxn>
                  <a:cxn ang="0">
                    <a:pos x="16" y="26"/>
                  </a:cxn>
                  <a:cxn ang="0">
                    <a:pos x="20" y="24"/>
                  </a:cxn>
                  <a:cxn ang="0">
                    <a:pos x="24" y="20"/>
                  </a:cxn>
                  <a:cxn ang="0">
                    <a:pos x="26" y="16"/>
                  </a:cxn>
                  <a:cxn ang="0">
                    <a:pos x="24" y="10"/>
                  </a:cxn>
                  <a:cxn ang="0">
                    <a:pos x="24" y="10"/>
                  </a:cxn>
                  <a:cxn ang="0">
                    <a:pos x="24" y="6"/>
                  </a:cxn>
                  <a:cxn ang="0">
                    <a:pos x="20" y="4"/>
                  </a:cxn>
                  <a:cxn ang="0">
                    <a:pos x="16" y="2"/>
                  </a:cxn>
                  <a:cxn ang="0">
                    <a:pos x="12" y="0"/>
                  </a:cxn>
                </a:cxnLst>
                <a:rect l="0" t="0" r="r" b="b"/>
                <a:pathLst>
                  <a:path w="26" h="26">
                    <a:moveTo>
                      <a:pt x="12" y="0"/>
                    </a:moveTo>
                    <a:lnTo>
                      <a:pt x="12" y="0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0"/>
                    </a:lnTo>
                    <a:lnTo>
                      <a:pt x="4" y="24"/>
                    </a:lnTo>
                    <a:lnTo>
                      <a:pt x="8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20" y="24"/>
                    </a:lnTo>
                    <a:lnTo>
                      <a:pt x="24" y="20"/>
                    </a:lnTo>
                    <a:lnTo>
                      <a:pt x="26" y="16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6"/>
                    </a:lnTo>
                    <a:lnTo>
                      <a:pt x="20" y="4"/>
                    </a:lnTo>
                    <a:lnTo>
                      <a:pt x="16" y="2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4" name="Freeform 221"/>
              <p:cNvSpPr>
                <a:spLocks/>
              </p:cNvSpPr>
              <p:nvPr userDrawn="1"/>
            </p:nvSpPr>
            <p:spPr bwMode="auto">
              <a:xfrm>
                <a:off x="5397500" y="3886200"/>
                <a:ext cx="41275" cy="4127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4" y="4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0"/>
                  </a:cxn>
                  <a:cxn ang="0">
                    <a:pos x="4" y="24"/>
                  </a:cxn>
                  <a:cxn ang="0">
                    <a:pos x="8" y="26"/>
                  </a:cxn>
                  <a:cxn ang="0">
                    <a:pos x="12" y="26"/>
                  </a:cxn>
                  <a:cxn ang="0">
                    <a:pos x="12" y="26"/>
                  </a:cxn>
                  <a:cxn ang="0">
                    <a:pos x="16" y="26"/>
                  </a:cxn>
                  <a:cxn ang="0">
                    <a:pos x="16" y="26"/>
                  </a:cxn>
                  <a:cxn ang="0">
                    <a:pos x="20" y="24"/>
                  </a:cxn>
                  <a:cxn ang="0">
                    <a:pos x="24" y="20"/>
                  </a:cxn>
                  <a:cxn ang="0">
                    <a:pos x="26" y="16"/>
                  </a:cxn>
                  <a:cxn ang="0">
                    <a:pos x="24" y="10"/>
                  </a:cxn>
                  <a:cxn ang="0">
                    <a:pos x="24" y="10"/>
                  </a:cxn>
                  <a:cxn ang="0">
                    <a:pos x="24" y="6"/>
                  </a:cxn>
                  <a:cxn ang="0">
                    <a:pos x="20" y="4"/>
                  </a:cxn>
                  <a:cxn ang="0">
                    <a:pos x="16" y="2"/>
                  </a:cxn>
                  <a:cxn ang="0">
                    <a:pos x="12" y="0"/>
                  </a:cxn>
                </a:cxnLst>
                <a:rect l="0" t="0" r="r" b="b"/>
                <a:pathLst>
                  <a:path w="26" h="26">
                    <a:moveTo>
                      <a:pt x="12" y="0"/>
                    </a:moveTo>
                    <a:lnTo>
                      <a:pt x="12" y="0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0"/>
                    </a:lnTo>
                    <a:lnTo>
                      <a:pt x="4" y="24"/>
                    </a:lnTo>
                    <a:lnTo>
                      <a:pt x="8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20" y="24"/>
                    </a:lnTo>
                    <a:lnTo>
                      <a:pt x="24" y="20"/>
                    </a:lnTo>
                    <a:lnTo>
                      <a:pt x="26" y="16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6"/>
                    </a:lnTo>
                    <a:lnTo>
                      <a:pt x="20" y="4"/>
                    </a:lnTo>
                    <a:lnTo>
                      <a:pt x="16" y="2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5" name="Freeform 222"/>
              <p:cNvSpPr>
                <a:spLocks/>
              </p:cNvSpPr>
              <p:nvPr userDrawn="1"/>
            </p:nvSpPr>
            <p:spPr bwMode="auto">
              <a:xfrm>
                <a:off x="5543550" y="3822700"/>
                <a:ext cx="38100" cy="3492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4" y="20"/>
                  </a:cxn>
                  <a:cxn ang="0">
                    <a:pos x="8" y="22"/>
                  </a:cxn>
                  <a:cxn ang="0">
                    <a:pos x="12" y="22"/>
                  </a:cxn>
                  <a:cxn ang="0">
                    <a:pos x="12" y="22"/>
                  </a:cxn>
                  <a:cxn ang="0">
                    <a:pos x="14" y="22"/>
                  </a:cxn>
                  <a:cxn ang="0">
                    <a:pos x="14" y="22"/>
                  </a:cxn>
                  <a:cxn ang="0">
                    <a:pos x="20" y="20"/>
                  </a:cxn>
                  <a:cxn ang="0">
                    <a:pos x="22" y="16"/>
                  </a:cxn>
                  <a:cxn ang="0">
                    <a:pos x="24" y="12"/>
                  </a:cxn>
                  <a:cxn ang="0">
                    <a:pos x="24" y="8"/>
                  </a:cxn>
                  <a:cxn ang="0">
                    <a:pos x="24" y="8"/>
                  </a:cxn>
                  <a:cxn ang="0">
                    <a:pos x="22" y="4"/>
                  </a:cxn>
                  <a:cxn ang="0">
                    <a:pos x="18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2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4" y="20"/>
                    </a:lnTo>
                    <a:lnTo>
                      <a:pt x="8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20" y="20"/>
                    </a:lnTo>
                    <a:lnTo>
                      <a:pt x="22" y="16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2" y="4"/>
                    </a:lnTo>
                    <a:lnTo>
                      <a:pt x="18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6" name="Freeform 223"/>
              <p:cNvSpPr>
                <a:spLocks/>
              </p:cNvSpPr>
              <p:nvPr userDrawn="1"/>
            </p:nvSpPr>
            <p:spPr bwMode="auto">
              <a:xfrm>
                <a:off x="5543550" y="3822700"/>
                <a:ext cx="38100" cy="3492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4" y="20"/>
                  </a:cxn>
                  <a:cxn ang="0">
                    <a:pos x="8" y="22"/>
                  </a:cxn>
                  <a:cxn ang="0">
                    <a:pos x="12" y="22"/>
                  </a:cxn>
                  <a:cxn ang="0">
                    <a:pos x="12" y="22"/>
                  </a:cxn>
                  <a:cxn ang="0">
                    <a:pos x="14" y="22"/>
                  </a:cxn>
                  <a:cxn ang="0">
                    <a:pos x="14" y="22"/>
                  </a:cxn>
                  <a:cxn ang="0">
                    <a:pos x="20" y="20"/>
                  </a:cxn>
                  <a:cxn ang="0">
                    <a:pos x="22" y="16"/>
                  </a:cxn>
                  <a:cxn ang="0">
                    <a:pos x="24" y="12"/>
                  </a:cxn>
                  <a:cxn ang="0">
                    <a:pos x="24" y="8"/>
                  </a:cxn>
                  <a:cxn ang="0">
                    <a:pos x="24" y="8"/>
                  </a:cxn>
                  <a:cxn ang="0">
                    <a:pos x="22" y="4"/>
                  </a:cxn>
                  <a:cxn ang="0">
                    <a:pos x="18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2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4" y="20"/>
                    </a:lnTo>
                    <a:lnTo>
                      <a:pt x="8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20" y="20"/>
                    </a:lnTo>
                    <a:lnTo>
                      <a:pt x="22" y="16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2" y="4"/>
                    </a:lnTo>
                    <a:lnTo>
                      <a:pt x="18" y="2"/>
                    </a:lnTo>
                    <a:lnTo>
                      <a:pt x="16" y="0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7" name="Freeform 224"/>
              <p:cNvSpPr>
                <a:spLocks/>
              </p:cNvSpPr>
              <p:nvPr userDrawn="1"/>
            </p:nvSpPr>
            <p:spPr bwMode="auto">
              <a:xfrm>
                <a:off x="5702300" y="3781425"/>
                <a:ext cx="31750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4" y="20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2" y="22"/>
                  </a:cxn>
                  <a:cxn ang="0">
                    <a:pos x="12" y="22"/>
                  </a:cxn>
                  <a:cxn ang="0">
                    <a:pos x="16" y="20"/>
                  </a:cxn>
                  <a:cxn ang="0">
                    <a:pos x="18" y="16"/>
                  </a:cxn>
                  <a:cxn ang="0">
                    <a:pos x="20" y="12"/>
                  </a:cxn>
                  <a:cxn ang="0">
                    <a:pos x="20" y="8"/>
                  </a:cxn>
                  <a:cxn ang="0">
                    <a:pos x="20" y="8"/>
                  </a:cxn>
                  <a:cxn ang="0">
                    <a:pos x="16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2">
                    <a:moveTo>
                      <a:pt x="10" y="0"/>
                    </a:moveTo>
                    <a:lnTo>
                      <a:pt x="10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4" y="20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0"/>
                    </a:lnTo>
                    <a:lnTo>
                      <a:pt x="18" y="16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16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8" name="Freeform 225"/>
              <p:cNvSpPr>
                <a:spLocks/>
              </p:cNvSpPr>
              <p:nvPr userDrawn="1"/>
            </p:nvSpPr>
            <p:spPr bwMode="auto">
              <a:xfrm>
                <a:off x="5702300" y="3781425"/>
                <a:ext cx="31750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4" y="20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2" y="22"/>
                  </a:cxn>
                  <a:cxn ang="0">
                    <a:pos x="12" y="22"/>
                  </a:cxn>
                  <a:cxn ang="0">
                    <a:pos x="16" y="20"/>
                  </a:cxn>
                  <a:cxn ang="0">
                    <a:pos x="18" y="16"/>
                  </a:cxn>
                  <a:cxn ang="0">
                    <a:pos x="20" y="12"/>
                  </a:cxn>
                  <a:cxn ang="0">
                    <a:pos x="20" y="8"/>
                  </a:cxn>
                  <a:cxn ang="0">
                    <a:pos x="20" y="8"/>
                  </a:cxn>
                  <a:cxn ang="0">
                    <a:pos x="16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2">
                    <a:moveTo>
                      <a:pt x="10" y="0"/>
                    </a:moveTo>
                    <a:lnTo>
                      <a:pt x="10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4" y="20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0"/>
                    </a:lnTo>
                    <a:lnTo>
                      <a:pt x="18" y="16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16" y="2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9" name="Freeform 226"/>
              <p:cNvSpPr>
                <a:spLocks/>
              </p:cNvSpPr>
              <p:nvPr userDrawn="1"/>
            </p:nvSpPr>
            <p:spPr bwMode="auto">
              <a:xfrm>
                <a:off x="4972050" y="4975225"/>
                <a:ext cx="82550" cy="85725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2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2" y="14"/>
                  </a:cxn>
                  <a:cxn ang="0">
                    <a:pos x="0" y="24"/>
                  </a:cxn>
                  <a:cxn ang="0">
                    <a:pos x="0" y="34"/>
                  </a:cxn>
                  <a:cxn ang="0">
                    <a:pos x="0" y="34"/>
                  </a:cxn>
                  <a:cxn ang="0">
                    <a:pos x="4" y="42"/>
                  </a:cxn>
                  <a:cxn ang="0">
                    <a:pos x="10" y="48"/>
                  </a:cxn>
                  <a:cxn ang="0">
                    <a:pos x="18" y="52"/>
                  </a:cxn>
                  <a:cxn ang="0">
                    <a:pos x="26" y="54"/>
                  </a:cxn>
                  <a:cxn ang="0">
                    <a:pos x="26" y="54"/>
                  </a:cxn>
                  <a:cxn ang="0">
                    <a:pos x="32" y="54"/>
                  </a:cxn>
                  <a:cxn ang="0">
                    <a:pos x="32" y="54"/>
                  </a:cxn>
                  <a:cxn ang="0">
                    <a:pos x="42" y="48"/>
                  </a:cxn>
                  <a:cxn ang="0">
                    <a:pos x="50" y="40"/>
                  </a:cxn>
                  <a:cxn ang="0">
                    <a:pos x="52" y="30"/>
                  </a:cxn>
                  <a:cxn ang="0">
                    <a:pos x="52" y="20"/>
                  </a:cxn>
                  <a:cxn ang="0">
                    <a:pos x="52" y="20"/>
                  </a:cxn>
                  <a:cxn ang="0">
                    <a:pos x="48" y="12"/>
                  </a:cxn>
                  <a:cxn ang="0">
                    <a:pos x="42" y="6"/>
                  </a:cxn>
                  <a:cxn ang="0">
                    <a:pos x="34" y="2"/>
                  </a:cxn>
                  <a:cxn ang="0">
                    <a:pos x="26" y="0"/>
                  </a:cxn>
                </a:cxnLst>
                <a:rect l="0" t="0" r="r" b="b"/>
                <a:pathLst>
                  <a:path w="52" h="54">
                    <a:moveTo>
                      <a:pt x="26" y="0"/>
                    </a:moveTo>
                    <a:lnTo>
                      <a:pt x="26" y="0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2" y="14"/>
                    </a:lnTo>
                    <a:lnTo>
                      <a:pt x="0" y="2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4" y="42"/>
                    </a:lnTo>
                    <a:lnTo>
                      <a:pt x="10" y="48"/>
                    </a:lnTo>
                    <a:lnTo>
                      <a:pt x="18" y="52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32" y="54"/>
                    </a:lnTo>
                    <a:lnTo>
                      <a:pt x="32" y="54"/>
                    </a:lnTo>
                    <a:lnTo>
                      <a:pt x="42" y="48"/>
                    </a:lnTo>
                    <a:lnTo>
                      <a:pt x="50" y="40"/>
                    </a:lnTo>
                    <a:lnTo>
                      <a:pt x="52" y="30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48" y="12"/>
                    </a:lnTo>
                    <a:lnTo>
                      <a:pt x="42" y="6"/>
                    </a:lnTo>
                    <a:lnTo>
                      <a:pt x="34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0" name="Freeform 227"/>
              <p:cNvSpPr>
                <a:spLocks/>
              </p:cNvSpPr>
              <p:nvPr userDrawn="1"/>
            </p:nvSpPr>
            <p:spPr bwMode="auto">
              <a:xfrm>
                <a:off x="4972050" y="4975225"/>
                <a:ext cx="82550" cy="85725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2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2" y="14"/>
                  </a:cxn>
                  <a:cxn ang="0">
                    <a:pos x="0" y="24"/>
                  </a:cxn>
                  <a:cxn ang="0">
                    <a:pos x="0" y="34"/>
                  </a:cxn>
                  <a:cxn ang="0">
                    <a:pos x="0" y="34"/>
                  </a:cxn>
                  <a:cxn ang="0">
                    <a:pos x="4" y="42"/>
                  </a:cxn>
                  <a:cxn ang="0">
                    <a:pos x="10" y="48"/>
                  </a:cxn>
                  <a:cxn ang="0">
                    <a:pos x="18" y="52"/>
                  </a:cxn>
                  <a:cxn ang="0">
                    <a:pos x="26" y="54"/>
                  </a:cxn>
                  <a:cxn ang="0">
                    <a:pos x="26" y="54"/>
                  </a:cxn>
                  <a:cxn ang="0">
                    <a:pos x="32" y="54"/>
                  </a:cxn>
                  <a:cxn ang="0">
                    <a:pos x="32" y="54"/>
                  </a:cxn>
                  <a:cxn ang="0">
                    <a:pos x="42" y="48"/>
                  </a:cxn>
                  <a:cxn ang="0">
                    <a:pos x="50" y="40"/>
                  </a:cxn>
                  <a:cxn ang="0">
                    <a:pos x="52" y="30"/>
                  </a:cxn>
                  <a:cxn ang="0">
                    <a:pos x="52" y="20"/>
                  </a:cxn>
                  <a:cxn ang="0">
                    <a:pos x="52" y="20"/>
                  </a:cxn>
                  <a:cxn ang="0">
                    <a:pos x="48" y="12"/>
                  </a:cxn>
                  <a:cxn ang="0">
                    <a:pos x="42" y="6"/>
                  </a:cxn>
                  <a:cxn ang="0">
                    <a:pos x="34" y="2"/>
                  </a:cxn>
                  <a:cxn ang="0">
                    <a:pos x="26" y="0"/>
                  </a:cxn>
                </a:cxnLst>
                <a:rect l="0" t="0" r="r" b="b"/>
                <a:pathLst>
                  <a:path w="52" h="54">
                    <a:moveTo>
                      <a:pt x="26" y="0"/>
                    </a:moveTo>
                    <a:lnTo>
                      <a:pt x="26" y="0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2" y="14"/>
                    </a:lnTo>
                    <a:lnTo>
                      <a:pt x="0" y="2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4" y="42"/>
                    </a:lnTo>
                    <a:lnTo>
                      <a:pt x="10" y="48"/>
                    </a:lnTo>
                    <a:lnTo>
                      <a:pt x="18" y="52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32" y="54"/>
                    </a:lnTo>
                    <a:lnTo>
                      <a:pt x="32" y="54"/>
                    </a:lnTo>
                    <a:lnTo>
                      <a:pt x="42" y="48"/>
                    </a:lnTo>
                    <a:lnTo>
                      <a:pt x="50" y="40"/>
                    </a:lnTo>
                    <a:lnTo>
                      <a:pt x="52" y="30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48" y="12"/>
                    </a:lnTo>
                    <a:lnTo>
                      <a:pt x="42" y="6"/>
                    </a:lnTo>
                    <a:lnTo>
                      <a:pt x="34" y="2"/>
                    </a:lnTo>
                    <a:lnTo>
                      <a:pt x="2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1" name="Freeform 228"/>
              <p:cNvSpPr>
                <a:spLocks/>
              </p:cNvSpPr>
              <p:nvPr userDrawn="1"/>
            </p:nvSpPr>
            <p:spPr bwMode="auto">
              <a:xfrm>
                <a:off x="5041900" y="5124450"/>
                <a:ext cx="76200" cy="76200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8" y="2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4" y="12"/>
                  </a:cxn>
                  <a:cxn ang="0">
                    <a:pos x="0" y="22"/>
                  </a:cxn>
                  <a:cxn ang="0">
                    <a:pos x="2" y="30"/>
                  </a:cxn>
                  <a:cxn ang="0">
                    <a:pos x="2" y="30"/>
                  </a:cxn>
                  <a:cxn ang="0">
                    <a:pos x="4" y="38"/>
                  </a:cxn>
                  <a:cxn ang="0">
                    <a:pos x="10" y="44"/>
                  </a:cxn>
                  <a:cxn ang="0">
                    <a:pos x="16" y="48"/>
                  </a:cxn>
                  <a:cxn ang="0">
                    <a:pos x="24" y="48"/>
                  </a:cxn>
                  <a:cxn ang="0">
                    <a:pos x="24" y="48"/>
                  </a:cxn>
                  <a:cxn ang="0">
                    <a:pos x="30" y="48"/>
                  </a:cxn>
                  <a:cxn ang="0">
                    <a:pos x="30" y="48"/>
                  </a:cxn>
                  <a:cxn ang="0">
                    <a:pos x="40" y="44"/>
                  </a:cxn>
                  <a:cxn ang="0">
                    <a:pos x="46" y="36"/>
                  </a:cxn>
                  <a:cxn ang="0">
                    <a:pos x="48" y="28"/>
                  </a:cxn>
                  <a:cxn ang="0">
                    <a:pos x="48" y="18"/>
                  </a:cxn>
                  <a:cxn ang="0">
                    <a:pos x="48" y="18"/>
                  </a:cxn>
                  <a:cxn ang="0">
                    <a:pos x="44" y="12"/>
                  </a:cxn>
                  <a:cxn ang="0">
                    <a:pos x="40" y="6"/>
                  </a:cxn>
                  <a:cxn ang="0">
                    <a:pos x="32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lnTo>
                      <a:pt x="24" y="0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4" y="12"/>
                    </a:lnTo>
                    <a:lnTo>
                      <a:pt x="0" y="22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4" y="38"/>
                    </a:lnTo>
                    <a:lnTo>
                      <a:pt x="10" y="44"/>
                    </a:lnTo>
                    <a:lnTo>
                      <a:pt x="16" y="48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40" y="44"/>
                    </a:lnTo>
                    <a:lnTo>
                      <a:pt x="46" y="36"/>
                    </a:lnTo>
                    <a:lnTo>
                      <a:pt x="48" y="2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4" y="12"/>
                    </a:lnTo>
                    <a:lnTo>
                      <a:pt x="40" y="6"/>
                    </a:lnTo>
                    <a:lnTo>
                      <a:pt x="32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2" name="Freeform 229"/>
              <p:cNvSpPr>
                <a:spLocks/>
              </p:cNvSpPr>
              <p:nvPr userDrawn="1"/>
            </p:nvSpPr>
            <p:spPr bwMode="auto">
              <a:xfrm>
                <a:off x="5041900" y="5124450"/>
                <a:ext cx="76200" cy="76200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8" y="2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4" y="12"/>
                  </a:cxn>
                  <a:cxn ang="0">
                    <a:pos x="0" y="22"/>
                  </a:cxn>
                  <a:cxn ang="0">
                    <a:pos x="2" y="30"/>
                  </a:cxn>
                  <a:cxn ang="0">
                    <a:pos x="2" y="30"/>
                  </a:cxn>
                  <a:cxn ang="0">
                    <a:pos x="4" y="38"/>
                  </a:cxn>
                  <a:cxn ang="0">
                    <a:pos x="10" y="44"/>
                  </a:cxn>
                  <a:cxn ang="0">
                    <a:pos x="16" y="48"/>
                  </a:cxn>
                  <a:cxn ang="0">
                    <a:pos x="24" y="48"/>
                  </a:cxn>
                  <a:cxn ang="0">
                    <a:pos x="24" y="48"/>
                  </a:cxn>
                  <a:cxn ang="0">
                    <a:pos x="30" y="48"/>
                  </a:cxn>
                  <a:cxn ang="0">
                    <a:pos x="30" y="48"/>
                  </a:cxn>
                  <a:cxn ang="0">
                    <a:pos x="40" y="44"/>
                  </a:cxn>
                  <a:cxn ang="0">
                    <a:pos x="46" y="36"/>
                  </a:cxn>
                  <a:cxn ang="0">
                    <a:pos x="48" y="28"/>
                  </a:cxn>
                  <a:cxn ang="0">
                    <a:pos x="48" y="18"/>
                  </a:cxn>
                  <a:cxn ang="0">
                    <a:pos x="48" y="18"/>
                  </a:cxn>
                  <a:cxn ang="0">
                    <a:pos x="44" y="12"/>
                  </a:cxn>
                  <a:cxn ang="0">
                    <a:pos x="40" y="6"/>
                  </a:cxn>
                  <a:cxn ang="0">
                    <a:pos x="32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lnTo>
                      <a:pt x="24" y="0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4" y="12"/>
                    </a:lnTo>
                    <a:lnTo>
                      <a:pt x="0" y="22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4" y="38"/>
                    </a:lnTo>
                    <a:lnTo>
                      <a:pt x="10" y="44"/>
                    </a:lnTo>
                    <a:lnTo>
                      <a:pt x="16" y="48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40" y="44"/>
                    </a:lnTo>
                    <a:lnTo>
                      <a:pt x="46" y="36"/>
                    </a:lnTo>
                    <a:lnTo>
                      <a:pt x="48" y="2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4" y="12"/>
                    </a:lnTo>
                    <a:lnTo>
                      <a:pt x="40" y="6"/>
                    </a:lnTo>
                    <a:lnTo>
                      <a:pt x="32" y="2"/>
                    </a:lnTo>
                    <a:lnTo>
                      <a:pt x="2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3" name="Freeform 230"/>
              <p:cNvSpPr>
                <a:spLocks/>
              </p:cNvSpPr>
              <p:nvPr userDrawn="1"/>
            </p:nvSpPr>
            <p:spPr bwMode="auto">
              <a:xfrm>
                <a:off x="5137150" y="5260975"/>
                <a:ext cx="69850" cy="69850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10" y="4"/>
                  </a:cxn>
                  <a:cxn ang="0">
                    <a:pos x="4" y="10"/>
                  </a:cxn>
                  <a:cxn ang="0">
                    <a:pos x="0" y="18"/>
                  </a:cxn>
                  <a:cxn ang="0">
                    <a:pos x="2" y="26"/>
                  </a:cxn>
                  <a:cxn ang="0">
                    <a:pos x="2" y="26"/>
                  </a:cxn>
                  <a:cxn ang="0">
                    <a:pos x="4" y="34"/>
                  </a:cxn>
                  <a:cxn ang="0">
                    <a:pos x="10" y="38"/>
                  </a:cxn>
                  <a:cxn ang="0">
                    <a:pos x="16" y="42"/>
                  </a:cxn>
                  <a:cxn ang="0">
                    <a:pos x="22" y="44"/>
                  </a:cxn>
                  <a:cxn ang="0">
                    <a:pos x="22" y="44"/>
                  </a:cxn>
                  <a:cxn ang="0">
                    <a:pos x="28" y="42"/>
                  </a:cxn>
                  <a:cxn ang="0">
                    <a:pos x="28" y="42"/>
                  </a:cxn>
                  <a:cxn ang="0">
                    <a:pos x="36" y="38"/>
                  </a:cxn>
                  <a:cxn ang="0">
                    <a:pos x="42" y="32"/>
                  </a:cxn>
                  <a:cxn ang="0">
                    <a:pos x="44" y="24"/>
                  </a:cxn>
                  <a:cxn ang="0">
                    <a:pos x="44" y="16"/>
                  </a:cxn>
                  <a:cxn ang="0">
                    <a:pos x="44" y="16"/>
                  </a:cxn>
                  <a:cxn ang="0">
                    <a:pos x="40" y="10"/>
                  </a:cxn>
                  <a:cxn ang="0">
                    <a:pos x="36" y="4"/>
                  </a:cxn>
                  <a:cxn ang="0">
                    <a:pos x="30" y="0"/>
                  </a:cxn>
                  <a:cxn ang="0">
                    <a:pos x="22" y="0"/>
                  </a:cxn>
                </a:cxnLst>
                <a:rect l="0" t="0" r="r" b="b"/>
                <a:pathLst>
                  <a:path w="44" h="44">
                    <a:moveTo>
                      <a:pt x="22" y="0"/>
                    </a:moveTo>
                    <a:lnTo>
                      <a:pt x="2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0" y="4"/>
                    </a:lnTo>
                    <a:lnTo>
                      <a:pt x="4" y="10"/>
                    </a:lnTo>
                    <a:lnTo>
                      <a:pt x="0" y="18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4" y="34"/>
                    </a:lnTo>
                    <a:lnTo>
                      <a:pt x="10" y="38"/>
                    </a:lnTo>
                    <a:lnTo>
                      <a:pt x="16" y="42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8" y="42"/>
                    </a:lnTo>
                    <a:lnTo>
                      <a:pt x="28" y="42"/>
                    </a:lnTo>
                    <a:lnTo>
                      <a:pt x="36" y="38"/>
                    </a:lnTo>
                    <a:lnTo>
                      <a:pt x="42" y="32"/>
                    </a:lnTo>
                    <a:lnTo>
                      <a:pt x="44" y="24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0" y="10"/>
                    </a:lnTo>
                    <a:lnTo>
                      <a:pt x="36" y="4"/>
                    </a:lnTo>
                    <a:lnTo>
                      <a:pt x="30" y="0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4" name="Freeform 231"/>
              <p:cNvSpPr>
                <a:spLocks/>
              </p:cNvSpPr>
              <p:nvPr userDrawn="1"/>
            </p:nvSpPr>
            <p:spPr bwMode="auto">
              <a:xfrm>
                <a:off x="5137150" y="5260975"/>
                <a:ext cx="69850" cy="69850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10" y="4"/>
                  </a:cxn>
                  <a:cxn ang="0">
                    <a:pos x="4" y="10"/>
                  </a:cxn>
                  <a:cxn ang="0">
                    <a:pos x="0" y="18"/>
                  </a:cxn>
                  <a:cxn ang="0">
                    <a:pos x="2" y="26"/>
                  </a:cxn>
                  <a:cxn ang="0">
                    <a:pos x="2" y="26"/>
                  </a:cxn>
                  <a:cxn ang="0">
                    <a:pos x="4" y="34"/>
                  </a:cxn>
                  <a:cxn ang="0">
                    <a:pos x="10" y="38"/>
                  </a:cxn>
                  <a:cxn ang="0">
                    <a:pos x="16" y="42"/>
                  </a:cxn>
                  <a:cxn ang="0">
                    <a:pos x="22" y="44"/>
                  </a:cxn>
                  <a:cxn ang="0">
                    <a:pos x="22" y="44"/>
                  </a:cxn>
                  <a:cxn ang="0">
                    <a:pos x="28" y="42"/>
                  </a:cxn>
                  <a:cxn ang="0">
                    <a:pos x="28" y="42"/>
                  </a:cxn>
                  <a:cxn ang="0">
                    <a:pos x="36" y="38"/>
                  </a:cxn>
                  <a:cxn ang="0">
                    <a:pos x="42" y="32"/>
                  </a:cxn>
                  <a:cxn ang="0">
                    <a:pos x="44" y="24"/>
                  </a:cxn>
                  <a:cxn ang="0">
                    <a:pos x="44" y="16"/>
                  </a:cxn>
                  <a:cxn ang="0">
                    <a:pos x="44" y="16"/>
                  </a:cxn>
                  <a:cxn ang="0">
                    <a:pos x="40" y="10"/>
                  </a:cxn>
                  <a:cxn ang="0">
                    <a:pos x="36" y="4"/>
                  </a:cxn>
                  <a:cxn ang="0">
                    <a:pos x="30" y="0"/>
                  </a:cxn>
                  <a:cxn ang="0">
                    <a:pos x="22" y="0"/>
                  </a:cxn>
                </a:cxnLst>
                <a:rect l="0" t="0" r="r" b="b"/>
                <a:pathLst>
                  <a:path w="44" h="44">
                    <a:moveTo>
                      <a:pt x="22" y="0"/>
                    </a:moveTo>
                    <a:lnTo>
                      <a:pt x="2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0" y="4"/>
                    </a:lnTo>
                    <a:lnTo>
                      <a:pt x="4" y="10"/>
                    </a:lnTo>
                    <a:lnTo>
                      <a:pt x="0" y="18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4" y="34"/>
                    </a:lnTo>
                    <a:lnTo>
                      <a:pt x="10" y="38"/>
                    </a:lnTo>
                    <a:lnTo>
                      <a:pt x="16" y="42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8" y="42"/>
                    </a:lnTo>
                    <a:lnTo>
                      <a:pt x="28" y="42"/>
                    </a:lnTo>
                    <a:lnTo>
                      <a:pt x="36" y="38"/>
                    </a:lnTo>
                    <a:lnTo>
                      <a:pt x="42" y="32"/>
                    </a:lnTo>
                    <a:lnTo>
                      <a:pt x="44" y="24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0" y="10"/>
                    </a:lnTo>
                    <a:lnTo>
                      <a:pt x="36" y="4"/>
                    </a:lnTo>
                    <a:lnTo>
                      <a:pt x="30" y="0"/>
                    </a:lnTo>
                    <a:lnTo>
                      <a:pt x="2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5" name="Freeform 232"/>
              <p:cNvSpPr>
                <a:spLocks/>
              </p:cNvSpPr>
              <p:nvPr userDrawn="1"/>
            </p:nvSpPr>
            <p:spPr bwMode="auto">
              <a:xfrm>
                <a:off x="5254625" y="5378450"/>
                <a:ext cx="63500" cy="60325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2" y="8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4" y="30"/>
                  </a:cxn>
                  <a:cxn ang="0">
                    <a:pos x="8" y="34"/>
                  </a:cxn>
                  <a:cxn ang="0">
                    <a:pos x="14" y="38"/>
                  </a:cxn>
                  <a:cxn ang="0">
                    <a:pos x="20" y="38"/>
                  </a:cxn>
                  <a:cxn ang="0">
                    <a:pos x="20" y="38"/>
                  </a:cxn>
                  <a:cxn ang="0">
                    <a:pos x="24" y="38"/>
                  </a:cxn>
                  <a:cxn ang="0">
                    <a:pos x="24" y="38"/>
                  </a:cxn>
                  <a:cxn ang="0">
                    <a:pos x="32" y="34"/>
                  </a:cxn>
                  <a:cxn ang="0">
                    <a:pos x="36" y="28"/>
                  </a:cxn>
                  <a:cxn ang="0">
                    <a:pos x="40" y="22"/>
                  </a:cxn>
                  <a:cxn ang="0">
                    <a:pos x="38" y="14"/>
                  </a:cxn>
                  <a:cxn ang="0">
                    <a:pos x="38" y="14"/>
                  </a:cxn>
                  <a:cxn ang="0">
                    <a:pos x="36" y="8"/>
                  </a:cxn>
                  <a:cxn ang="0">
                    <a:pos x="32" y="4"/>
                  </a:cxn>
                  <a:cxn ang="0">
                    <a:pos x="26" y="0"/>
                  </a:cxn>
                  <a:cxn ang="0">
                    <a:pos x="20" y="0"/>
                  </a:cxn>
                </a:cxnLst>
                <a:rect l="0" t="0" r="r" b="b"/>
                <a:pathLst>
                  <a:path w="40" h="38">
                    <a:moveTo>
                      <a:pt x="20" y="0"/>
                    </a:moveTo>
                    <a:lnTo>
                      <a:pt x="2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2" y="8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4" y="30"/>
                    </a:lnTo>
                    <a:lnTo>
                      <a:pt x="8" y="34"/>
                    </a:lnTo>
                    <a:lnTo>
                      <a:pt x="14" y="38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4" y="38"/>
                    </a:lnTo>
                    <a:lnTo>
                      <a:pt x="24" y="38"/>
                    </a:lnTo>
                    <a:lnTo>
                      <a:pt x="32" y="34"/>
                    </a:lnTo>
                    <a:lnTo>
                      <a:pt x="36" y="28"/>
                    </a:lnTo>
                    <a:lnTo>
                      <a:pt x="40" y="22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6" y="8"/>
                    </a:lnTo>
                    <a:lnTo>
                      <a:pt x="32" y="4"/>
                    </a:lnTo>
                    <a:lnTo>
                      <a:pt x="26" y="0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6" name="Freeform 233"/>
              <p:cNvSpPr>
                <a:spLocks/>
              </p:cNvSpPr>
              <p:nvPr userDrawn="1"/>
            </p:nvSpPr>
            <p:spPr bwMode="auto">
              <a:xfrm>
                <a:off x="5254625" y="5378450"/>
                <a:ext cx="63500" cy="60325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2" y="8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4" y="30"/>
                  </a:cxn>
                  <a:cxn ang="0">
                    <a:pos x="8" y="34"/>
                  </a:cxn>
                  <a:cxn ang="0">
                    <a:pos x="14" y="38"/>
                  </a:cxn>
                  <a:cxn ang="0">
                    <a:pos x="20" y="38"/>
                  </a:cxn>
                  <a:cxn ang="0">
                    <a:pos x="20" y="38"/>
                  </a:cxn>
                  <a:cxn ang="0">
                    <a:pos x="24" y="38"/>
                  </a:cxn>
                  <a:cxn ang="0">
                    <a:pos x="24" y="38"/>
                  </a:cxn>
                  <a:cxn ang="0">
                    <a:pos x="32" y="34"/>
                  </a:cxn>
                  <a:cxn ang="0">
                    <a:pos x="36" y="28"/>
                  </a:cxn>
                  <a:cxn ang="0">
                    <a:pos x="40" y="22"/>
                  </a:cxn>
                  <a:cxn ang="0">
                    <a:pos x="38" y="14"/>
                  </a:cxn>
                  <a:cxn ang="0">
                    <a:pos x="38" y="14"/>
                  </a:cxn>
                  <a:cxn ang="0">
                    <a:pos x="36" y="8"/>
                  </a:cxn>
                  <a:cxn ang="0">
                    <a:pos x="32" y="4"/>
                  </a:cxn>
                  <a:cxn ang="0">
                    <a:pos x="26" y="0"/>
                  </a:cxn>
                  <a:cxn ang="0">
                    <a:pos x="20" y="0"/>
                  </a:cxn>
                </a:cxnLst>
                <a:rect l="0" t="0" r="r" b="b"/>
                <a:pathLst>
                  <a:path w="40" h="38">
                    <a:moveTo>
                      <a:pt x="20" y="0"/>
                    </a:moveTo>
                    <a:lnTo>
                      <a:pt x="2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2" y="8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4" y="30"/>
                    </a:lnTo>
                    <a:lnTo>
                      <a:pt x="8" y="34"/>
                    </a:lnTo>
                    <a:lnTo>
                      <a:pt x="14" y="38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4" y="38"/>
                    </a:lnTo>
                    <a:lnTo>
                      <a:pt x="24" y="38"/>
                    </a:lnTo>
                    <a:lnTo>
                      <a:pt x="32" y="34"/>
                    </a:lnTo>
                    <a:lnTo>
                      <a:pt x="36" y="28"/>
                    </a:lnTo>
                    <a:lnTo>
                      <a:pt x="40" y="22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6" y="8"/>
                    </a:lnTo>
                    <a:lnTo>
                      <a:pt x="32" y="4"/>
                    </a:lnTo>
                    <a:lnTo>
                      <a:pt x="26" y="0"/>
                    </a:lnTo>
                    <a:lnTo>
                      <a:pt x="2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7" name="Freeform 234"/>
              <p:cNvSpPr>
                <a:spLocks/>
              </p:cNvSpPr>
              <p:nvPr userDrawn="1"/>
            </p:nvSpPr>
            <p:spPr bwMode="auto">
              <a:xfrm>
                <a:off x="5391150" y="5470525"/>
                <a:ext cx="53975" cy="5715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2" y="28"/>
                  </a:cxn>
                  <a:cxn ang="0">
                    <a:pos x="6" y="32"/>
                  </a:cxn>
                  <a:cxn ang="0">
                    <a:pos x="10" y="36"/>
                  </a:cxn>
                  <a:cxn ang="0">
                    <a:pos x="16" y="36"/>
                  </a:cxn>
                  <a:cxn ang="0">
                    <a:pos x="16" y="36"/>
                  </a:cxn>
                  <a:cxn ang="0">
                    <a:pos x="22" y="36"/>
                  </a:cxn>
                  <a:cxn ang="0">
                    <a:pos x="22" y="36"/>
                  </a:cxn>
                  <a:cxn ang="0">
                    <a:pos x="28" y="32"/>
                  </a:cxn>
                  <a:cxn ang="0">
                    <a:pos x="32" y="28"/>
                  </a:cxn>
                  <a:cxn ang="0">
                    <a:pos x="34" y="22"/>
                  </a:cxn>
                  <a:cxn ang="0">
                    <a:pos x="34" y="14"/>
                  </a:cxn>
                  <a:cxn ang="0">
                    <a:pos x="34" y="14"/>
                  </a:cxn>
                  <a:cxn ang="0">
                    <a:pos x="32" y="8"/>
                  </a:cxn>
                  <a:cxn ang="0">
                    <a:pos x="28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4" h="36">
                    <a:moveTo>
                      <a:pt x="16" y="0"/>
                    </a:moveTo>
                    <a:lnTo>
                      <a:pt x="16" y="0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28"/>
                    </a:lnTo>
                    <a:lnTo>
                      <a:pt x="6" y="32"/>
                    </a:lnTo>
                    <a:lnTo>
                      <a:pt x="10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8" y="32"/>
                    </a:lnTo>
                    <a:lnTo>
                      <a:pt x="32" y="28"/>
                    </a:lnTo>
                    <a:lnTo>
                      <a:pt x="34" y="22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2" y="8"/>
                    </a:lnTo>
                    <a:lnTo>
                      <a:pt x="28" y="4"/>
                    </a:lnTo>
                    <a:lnTo>
                      <a:pt x="22" y="2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8" name="Freeform 235"/>
              <p:cNvSpPr>
                <a:spLocks/>
              </p:cNvSpPr>
              <p:nvPr userDrawn="1"/>
            </p:nvSpPr>
            <p:spPr bwMode="auto">
              <a:xfrm>
                <a:off x="5391150" y="5470525"/>
                <a:ext cx="53975" cy="5715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2" y="28"/>
                  </a:cxn>
                  <a:cxn ang="0">
                    <a:pos x="6" y="32"/>
                  </a:cxn>
                  <a:cxn ang="0">
                    <a:pos x="10" y="36"/>
                  </a:cxn>
                  <a:cxn ang="0">
                    <a:pos x="16" y="36"/>
                  </a:cxn>
                  <a:cxn ang="0">
                    <a:pos x="16" y="36"/>
                  </a:cxn>
                  <a:cxn ang="0">
                    <a:pos x="22" y="36"/>
                  </a:cxn>
                  <a:cxn ang="0">
                    <a:pos x="22" y="36"/>
                  </a:cxn>
                  <a:cxn ang="0">
                    <a:pos x="28" y="32"/>
                  </a:cxn>
                  <a:cxn ang="0">
                    <a:pos x="32" y="28"/>
                  </a:cxn>
                  <a:cxn ang="0">
                    <a:pos x="34" y="22"/>
                  </a:cxn>
                  <a:cxn ang="0">
                    <a:pos x="34" y="14"/>
                  </a:cxn>
                  <a:cxn ang="0">
                    <a:pos x="34" y="14"/>
                  </a:cxn>
                  <a:cxn ang="0">
                    <a:pos x="32" y="8"/>
                  </a:cxn>
                  <a:cxn ang="0">
                    <a:pos x="28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4" h="36">
                    <a:moveTo>
                      <a:pt x="16" y="0"/>
                    </a:moveTo>
                    <a:lnTo>
                      <a:pt x="16" y="0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28"/>
                    </a:lnTo>
                    <a:lnTo>
                      <a:pt x="6" y="32"/>
                    </a:lnTo>
                    <a:lnTo>
                      <a:pt x="10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8" y="32"/>
                    </a:lnTo>
                    <a:lnTo>
                      <a:pt x="32" y="28"/>
                    </a:lnTo>
                    <a:lnTo>
                      <a:pt x="34" y="22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2" y="8"/>
                    </a:lnTo>
                    <a:lnTo>
                      <a:pt x="28" y="4"/>
                    </a:lnTo>
                    <a:lnTo>
                      <a:pt x="22" y="2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9" name="Freeform 236"/>
              <p:cNvSpPr>
                <a:spLocks/>
              </p:cNvSpPr>
              <p:nvPr userDrawn="1"/>
            </p:nvSpPr>
            <p:spPr bwMode="auto">
              <a:xfrm>
                <a:off x="5537200" y="5543550"/>
                <a:ext cx="50800" cy="5080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6" y="2"/>
                  </a:cxn>
                  <a:cxn ang="0">
                    <a:pos x="2" y="8"/>
                  </a:cxn>
                  <a:cxn ang="0">
                    <a:pos x="0" y="14"/>
                  </a:cxn>
                  <a:cxn ang="0">
                    <a:pos x="0" y="20"/>
                  </a:cxn>
                  <a:cxn ang="0">
                    <a:pos x="0" y="20"/>
                  </a:cxn>
                  <a:cxn ang="0">
                    <a:pos x="2" y="24"/>
                  </a:cxn>
                  <a:cxn ang="0">
                    <a:pos x="6" y="28"/>
                  </a:cxn>
                  <a:cxn ang="0">
                    <a:pos x="10" y="30"/>
                  </a:cxn>
                  <a:cxn ang="0">
                    <a:pos x="16" y="32"/>
                  </a:cxn>
                  <a:cxn ang="0">
                    <a:pos x="16" y="32"/>
                  </a:cxn>
                  <a:cxn ang="0">
                    <a:pos x="20" y="30"/>
                  </a:cxn>
                  <a:cxn ang="0">
                    <a:pos x="20" y="30"/>
                  </a:cxn>
                  <a:cxn ang="0">
                    <a:pos x="26" y="28"/>
                  </a:cxn>
                  <a:cxn ang="0">
                    <a:pos x="30" y="24"/>
                  </a:cxn>
                  <a:cxn ang="0">
                    <a:pos x="32" y="18"/>
                  </a:cxn>
                  <a:cxn ang="0">
                    <a:pos x="32" y="12"/>
                  </a:cxn>
                  <a:cxn ang="0">
                    <a:pos x="32" y="12"/>
                  </a:cxn>
                  <a:cxn ang="0">
                    <a:pos x="30" y="6"/>
                  </a:cxn>
                  <a:cxn ang="0">
                    <a:pos x="26" y="2"/>
                  </a:cxn>
                  <a:cxn ang="0">
                    <a:pos x="22" y="0"/>
                  </a:cxn>
                  <a:cxn ang="0">
                    <a:pos x="16" y="0"/>
                  </a:cxn>
                </a:cxnLst>
                <a:rect l="0" t="0" r="r" b="b"/>
                <a:pathLst>
                  <a:path w="32" h="32">
                    <a:moveTo>
                      <a:pt x="16" y="0"/>
                    </a:moveTo>
                    <a:lnTo>
                      <a:pt x="16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6" y="2"/>
                    </a:lnTo>
                    <a:lnTo>
                      <a:pt x="2" y="8"/>
                    </a:lnTo>
                    <a:lnTo>
                      <a:pt x="0" y="14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2" y="24"/>
                    </a:lnTo>
                    <a:lnTo>
                      <a:pt x="6" y="28"/>
                    </a:lnTo>
                    <a:lnTo>
                      <a:pt x="10" y="30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6" y="28"/>
                    </a:lnTo>
                    <a:lnTo>
                      <a:pt x="30" y="24"/>
                    </a:lnTo>
                    <a:lnTo>
                      <a:pt x="32" y="18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0" y="6"/>
                    </a:lnTo>
                    <a:lnTo>
                      <a:pt x="26" y="2"/>
                    </a:lnTo>
                    <a:lnTo>
                      <a:pt x="22" y="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0" name="Freeform 237"/>
              <p:cNvSpPr>
                <a:spLocks/>
              </p:cNvSpPr>
              <p:nvPr userDrawn="1"/>
            </p:nvSpPr>
            <p:spPr bwMode="auto">
              <a:xfrm>
                <a:off x="5537200" y="5543550"/>
                <a:ext cx="50800" cy="5080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6" y="2"/>
                  </a:cxn>
                  <a:cxn ang="0">
                    <a:pos x="2" y="8"/>
                  </a:cxn>
                  <a:cxn ang="0">
                    <a:pos x="0" y="14"/>
                  </a:cxn>
                  <a:cxn ang="0">
                    <a:pos x="0" y="20"/>
                  </a:cxn>
                  <a:cxn ang="0">
                    <a:pos x="0" y="20"/>
                  </a:cxn>
                  <a:cxn ang="0">
                    <a:pos x="2" y="24"/>
                  </a:cxn>
                  <a:cxn ang="0">
                    <a:pos x="6" y="28"/>
                  </a:cxn>
                  <a:cxn ang="0">
                    <a:pos x="10" y="30"/>
                  </a:cxn>
                  <a:cxn ang="0">
                    <a:pos x="16" y="32"/>
                  </a:cxn>
                  <a:cxn ang="0">
                    <a:pos x="16" y="32"/>
                  </a:cxn>
                  <a:cxn ang="0">
                    <a:pos x="20" y="30"/>
                  </a:cxn>
                  <a:cxn ang="0">
                    <a:pos x="20" y="30"/>
                  </a:cxn>
                  <a:cxn ang="0">
                    <a:pos x="26" y="28"/>
                  </a:cxn>
                  <a:cxn ang="0">
                    <a:pos x="30" y="24"/>
                  </a:cxn>
                  <a:cxn ang="0">
                    <a:pos x="32" y="18"/>
                  </a:cxn>
                  <a:cxn ang="0">
                    <a:pos x="32" y="12"/>
                  </a:cxn>
                  <a:cxn ang="0">
                    <a:pos x="32" y="12"/>
                  </a:cxn>
                  <a:cxn ang="0">
                    <a:pos x="30" y="6"/>
                  </a:cxn>
                  <a:cxn ang="0">
                    <a:pos x="26" y="2"/>
                  </a:cxn>
                  <a:cxn ang="0">
                    <a:pos x="22" y="0"/>
                  </a:cxn>
                  <a:cxn ang="0">
                    <a:pos x="16" y="0"/>
                  </a:cxn>
                </a:cxnLst>
                <a:rect l="0" t="0" r="r" b="b"/>
                <a:pathLst>
                  <a:path w="32" h="32">
                    <a:moveTo>
                      <a:pt x="16" y="0"/>
                    </a:moveTo>
                    <a:lnTo>
                      <a:pt x="16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6" y="2"/>
                    </a:lnTo>
                    <a:lnTo>
                      <a:pt x="2" y="8"/>
                    </a:lnTo>
                    <a:lnTo>
                      <a:pt x="0" y="14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2" y="24"/>
                    </a:lnTo>
                    <a:lnTo>
                      <a:pt x="6" y="28"/>
                    </a:lnTo>
                    <a:lnTo>
                      <a:pt x="10" y="30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6" y="28"/>
                    </a:lnTo>
                    <a:lnTo>
                      <a:pt x="30" y="24"/>
                    </a:lnTo>
                    <a:lnTo>
                      <a:pt x="32" y="18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0" y="6"/>
                    </a:lnTo>
                    <a:lnTo>
                      <a:pt x="26" y="2"/>
                    </a:lnTo>
                    <a:lnTo>
                      <a:pt x="22" y="0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1" name="Freeform 238"/>
              <p:cNvSpPr>
                <a:spLocks/>
              </p:cNvSpPr>
              <p:nvPr userDrawn="1"/>
            </p:nvSpPr>
            <p:spPr bwMode="auto">
              <a:xfrm>
                <a:off x="5695950" y="5588000"/>
                <a:ext cx="44450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4" y="24"/>
                  </a:cxn>
                  <a:cxn ang="0">
                    <a:pos x="8" y="26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18" y="28"/>
                  </a:cxn>
                  <a:cxn ang="0">
                    <a:pos x="18" y="28"/>
                  </a:cxn>
                  <a:cxn ang="0">
                    <a:pos x="22" y="24"/>
                  </a:cxn>
                  <a:cxn ang="0">
                    <a:pos x="26" y="20"/>
                  </a:cxn>
                  <a:cxn ang="0">
                    <a:pos x="28" y="16"/>
                  </a:cxn>
                  <a:cxn ang="0">
                    <a:pos x="28" y="10"/>
                  </a:cxn>
                  <a:cxn ang="0">
                    <a:pos x="28" y="10"/>
                  </a:cxn>
                  <a:cxn ang="0">
                    <a:pos x="26" y="6"/>
                  </a:cxn>
                  <a:cxn ang="0">
                    <a:pos x="22" y="2"/>
                  </a:cxn>
                  <a:cxn ang="0">
                    <a:pos x="18" y="0"/>
                  </a:cxn>
                  <a:cxn ang="0">
                    <a:pos x="14" y="0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lnTo>
                      <a:pt x="14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4" y="24"/>
                    </a:lnTo>
                    <a:lnTo>
                      <a:pt x="8" y="26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8" y="28"/>
                    </a:lnTo>
                    <a:lnTo>
                      <a:pt x="18" y="28"/>
                    </a:lnTo>
                    <a:lnTo>
                      <a:pt x="22" y="24"/>
                    </a:lnTo>
                    <a:lnTo>
                      <a:pt x="26" y="20"/>
                    </a:lnTo>
                    <a:lnTo>
                      <a:pt x="28" y="16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6" y="6"/>
                    </a:lnTo>
                    <a:lnTo>
                      <a:pt x="22" y="2"/>
                    </a:lnTo>
                    <a:lnTo>
                      <a:pt x="18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2" name="Freeform 239"/>
              <p:cNvSpPr>
                <a:spLocks/>
              </p:cNvSpPr>
              <p:nvPr userDrawn="1"/>
            </p:nvSpPr>
            <p:spPr bwMode="auto">
              <a:xfrm>
                <a:off x="5695950" y="5588000"/>
                <a:ext cx="44450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4" y="24"/>
                  </a:cxn>
                  <a:cxn ang="0">
                    <a:pos x="8" y="26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18" y="28"/>
                  </a:cxn>
                  <a:cxn ang="0">
                    <a:pos x="18" y="28"/>
                  </a:cxn>
                  <a:cxn ang="0">
                    <a:pos x="22" y="24"/>
                  </a:cxn>
                  <a:cxn ang="0">
                    <a:pos x="26" y="20"/>
                  </a:cxn>
                  <a:cxn ang="0">
                    <a:pos x="28" y="16"/>
                  </a:cxn>
                  <a:cxn ang="0">
                    <a:pos x="28" y="10"/>
                  </a:cxn>
                  <a:cxn ang="0">
                    <a:pos x="28" y="10"/>
                  </a:cxn>
                  <a:cxn ang="0">
                    <a:pos x="26" y="6"/>
                  </a:cxn>
                  <a:cxn ang="0">
                    <a:pos x="22" y="2"/>
                  </a:cxn>
                  <a:cxn ang="0">
                    <a:pos x="18" y="0"/>
                  </a:cxn>
                  <a:cxn ang="0">
                    <a:pos x="14" y="0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lnTo>
                      <a:pt x="14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4" y="24"/>
                    </a:lnTo>
                    <a:lnTo>
                      <a:pt x="8" y="26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8" y="28"/>
                    </a:lnTo>
                    <a:lnTo>
                      <a:pt x="18" y="28"/>
                    </a:lnTo>
                    <a:lnTo>
                      <a:pt x="22" y="24"/>
                    </a:lnTo>
                    <a:lnTo>
                      <a:pt x="26" y="20"/>
                    </a:lnTo>
                    <a:lnTo>
                      <a:pt x="28" y="16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6" y="6"/>
                    </a:lnTo>
                    <a:lnTo>
                      <a:pt x="22" y="2"/>
                    </a:lnTo>
                    <a:lnTo>
                      <a:pt x="18" y="0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3" name="Freeform 240"/>
              <p:cNvSpPr>
                <a:spLocks/>
              </p:cNvSpPr>
              <p:nvPr userDrawn="1"/>
            </p:nvSpPr>
            <p:spPr bwMode="auto">
              <a:xfrm>
                <a:off x="5857875" y="5603875"/>
                <a:ext cx="38100" cy="4127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4" y="22"/>
                  </a:cxn>
                  <a:cxn ang="0">
                    <a:pos x="8" y="24"/>
                  </a:cxn>
                  <a:cxn ang="0">
                    <a:pos x="12" y="26"/>
                  </a:cxn>
                  <a:cxn ang="0">
                    <a:pos x="12" y="26"/>
                  </a:cxn>
                  <a:cxn ang="0">
                    <a:pos x="16" y="24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4" y="18"/>
                  </a:cxn>
                  <a:cxn ang="0">
                    <a:pos x="24" y="14"/>
                  </a:cxn>
                  <a:cxn ang="0">
                    <a:pos x="24" y="8"/>
                  </a:cxn>
                  <a:cxn ang="0">
                    <a:pos x="24" y="8"/>
                  </a:cxn>
                  <a:cxn ang="0">
                    <a:pos x="22" y="4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6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4" y="22"/>
                    </a:lnTo>
                    <a:lnTo>
                      <a:pt x="8" y="24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4" y="18"/>
                    </a:lnTo>
                    <a:lnTo>
                      <a:pt x="24" y="14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2" y="4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4" name="Freeform 241"/>
              <p:cNvSpPr>
                <a:spLocks/>
              </p:cNvSpPr>
              <p:nvPr userDrawn="1"/>
            </p:nvSpPr>
            <p:spPr bwMode="auto">
              <a:xfrm>
                <a:off x="5857875" y="5603875"/>
                <a:ext cx="38100" cy="4127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4" y="22"/>
                  </a:cxn>
                  <a:cxn ang="0">
                    <a:pos x="8" y="24"/>
                  </a:cxn>
                  <a:cxn ang="0">
                    <a:pos x="12" y="26"/>
                  </a:cxn>
                  <a:cxn ang="0">
                    <a:pos x="12" y="26"/>
                  </a:cxn>
                  <a:cxn ang="0">
                    <a:pos x="16" y="24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4" y="18"/>
                  </a:cxn>
                  <a:cxn ang="0">
                    <a:pos x="24" y="14"/>
                  </a:cxn>
                  <a:cxn ang="0">
                    <a:pos x="24" y="8"/>
                  </a:cxn>
                  <a:cxn ang="0">
                    <a:pos x="24" y="8"/>
                  </a:cxn>
                  <a:cxn ang="0">
                    <a:pos x="22" y="4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6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4" y="22"/>
                    </a:lnTo>
                    <a:lnTo>
                      <a:pt x="8" y="24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4" y="18"/>
                    </a:lnTo>
                    <a:lnTo>
                      <a:pt x="24" y="14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2" y="4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5" name="Freeform 242"/>
              <p:cNvSpPr>
                <a:spLocks/>
              </p:cNvSpPr>
              <p:nvPr userDrawn="1"/>
            </p:nvSpPr>
            <p:spPr bwMode="auto">
              <a:xfrm>
                <a:off x="6019800" y="5591175"/>
                <a:ext cx="34925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0"/>
                  </a:cxn>
                  <a:cxn ang="0">
                    <a:pos x="6" y="22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4" y="22"/>
                  </a:cxn>
                  <a:cxn ang="0">
                    <a:pos x="14" y="22"/>
                  </a:cxn>
                  <a:cxn ang="0">
                    <a:pos x="18" y="20"/>
                  </a:cxn>
                  <a:cxn ang="0">
                    <a:pos x="20" y="18"/>
                  </a:cxn>
                  <a:cxn ang="0">
                    <a:pos x="22" y="12"/>
                  </a:cxn>
                  <a:cxn ang="0">
                    <a:pos x="22" y="8"/>
                  </a:cxn>
                  <a:cxn ang="0">
                    <a:pos x="22" y="8"/>
                  </a:cxn>
                  <a:cxn ang="0">
                    <a:pos x="20" y="4"/>
                  </a:cxn>
                  <a:cxn ang="0">
                    <a:pos x="18" y="2"/>
                  </a:cxn>
                  <a:cxn ang="0">
                    <a:pos x="14" y="0"/>
                  </a:cxn>
                  <a:cxn ang="0">
                    <a:pos x="10" y="0"/>
                  </a:cxn>
                </a:cxnLst>
                <a:rect l="0" t="0" r="r" b="b"/>
                <a:pathLst>
                  <a:path w="22" h="22">
                    <a:moveTo>
                      <a:pt x="10" y="0"/>
                    </a:moveTo>
                    <a:lnTo>
                      <a:pt x="10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0"/>
                    </a:lnTo>
                    <a:lnTo>
                      <a:pt x="6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8" y="20"/>
                    </a:lnTo>
                    <a:lnTo>
                      <a:pt x="20" y="18"/>
                    </a:lnTo>
                    <a:lnTo>
                      <a:pt x="22" y="12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0" y="4"/>
                    </a:lnTo>
                    <a:lnTo>
                      <a:pt x="18" y="2"/>
                    </a:lnTo>
                    <a:lnTo>
                      <a:pt x="14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6" name="Freeform 243"/>
              <p:cNvSpPr>
                <a:spLocks/>
              </p:cNvSpPr>
              <p:nvPr userDrawn="1"/>
            </p:nvSpPr>
            <p:spPr bwMode="auto">
              <a:xfrm>
                <a:off x="6019800" y="5591175"/>
                <a:ext cx="34925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0"/>
                  </a:cxn>
                  <a:cxn ang="0">
                    <a:pos x="6" y="22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4" y="22"/>
                  </a:cxn>
                  <a:cxn ang="0">
                    <a:pos x="14" y="22"/>
                  </a:cxn>
                  <a:cxn ang="0">
                    <a:pos x="18" y="20"/>
                  </a:cxn>
                  <a:cxn ang="0">
                    <a:pos x="20" y="18"/>
                  </a:cxn>
                  <a:cxn ang="0">
                    <a:pos x="22" y="12"/>
                  </a:cxn>
                  <a:cxn ang="0">
                    <a:pos x="22" y="8"/>
                  </a:cxn>
                  <a:cxn ang="0">
                    <a:pos x="22" y="8"/>
                  </a:cxn>
                  <a:cxn ang="0">
                    <a:pos x="20" y="4"/>
                  </a:cxn>
                  <a:cxn ang="0">
                    <a:pos x="18" y="2"/>
                  </a:cxn>
                  <a:cxn ang="0">
                    <a:pos x="14" y="0"/>
                  </a:cxn>
                  <a:cxn ang="0">
                    <a:pos x="10" y="0"/>
                  </a:cxn>
                </a:cxnLst>
                <a:rect l="0" t="0" r="r" b="b"/>
                <a:pathLst>
                  <a:path w="22" h="22">
                    <a:moveTo>
                      <a:pt x="10" y="0"/>
                    </a:moveTo>
                    <a:lnTo>
                      <a:pt x="10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0"/>
                    </a:lnTo>
                    <a:lnTo>
                      <a:pt x="6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8" y="20"/>
                    </a:lnTo>
                    <a:lnTo>
                      <a:pt x="20" y="18"/>
                    </a:lnTo>
                    <a:lnTo>
                      <a:pt x="22" y="12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0" y="4"/>
                    </a:lnTo>
                    <a:lnTo>
                      <a:pt x="18" y="2"/>
                    </a:lnTo>
                    <a:lnTo>
                      <a:pt x="14" y="0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7" name="Freeform 244"/>
              <p:cNvSpPr>
                <a:spLocks/>
              </p:cNvSpPr>
              <p:nvPr userDrawn="1"/>
            </p:nvSpPr>
            <p:spPr bwMode="auto">
              <a:xfrm>
                <a:off x="6175375" y="5549900"/>
                <a:ext cx="31750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4" y="4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4" y="20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2" y="22"/>
                  </a:cxn>
                  <a:cxn ang="0">
                    <a:pos x="12" y="22"/>
                  </a:cxn>
                  <a:cxn ang="0">
                    <a:pos x="16" y="20"/>
                  </a:cxn>
                  <a:cxn ang="0">
                    <a:pos x="20" y="16"/>
                  </a:cxn>
                  <a:cxn ang="0">
                    <a:pos x="20" y="12"/>
                  </a:cxn>
                  <a:cxn ang="0">
                    <a:pos x="20" y="8"/>
                  </a:cxn>
                  <a:cxn ang="0">
                    <a:pos x="20" y="8"/>
                  </a:cxn>
                  <a:cxn ang="0">
                    <a:pos x="16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2">
                    <a:moveTo>
                      <a:pt x="10" y="0"/>
                    </a:moveTo>
                    <a:lnTo>
                      <a:pt x="10" y="0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4" y="20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0"/>
                    </a:lnTo>
                    <a:lnTo>
                      <a:pt x="20" y="16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16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8" name="Freeform 245"/>
              <p:cNvSpPr>
                <a:spLocks/>
              </p:cNvSpPr>
              <p:nvPr userDrawn="1"/>
            </p:nvSpPr>
            <p:spPr bwMode="auto">
              <a:xfrm>
                <a:off x="6175375" y="5549900"/>
                <a:ext cx="31750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4" y="4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4" y="20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2" y="22"/>
                  </a:cxn>
                  <a:cxn ang="0">
                    <a:pos x="12" y="22"/>
                  </a:cxn>
                  <a:cxn ang="0">
                    <a:pos x="16" y="20"/>
                  </a:cxn>
                  <a:cxn ang="0">
                    <a:pos x="20" y="16"/>
                  </a:cxn>
                  <a:cxn ang="0">
                    <a:pos x="20" y="12"/>
                  </a:cxn>
                  <a:cxn ang="0">
                    <a:pos x="20" y="8"/>
                  </a:cxn>
                  <a:cxn ang="0">
                    <a:pos x="20" y="8"/>
                  </a:cxn>
                  <a:cxn ang="0">
                    <a:pos x="16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2">
                    <a:moveTo>
                      <a:pt x="10" y="0"/>
                    </a:moveTo>
                    <a:lnTo>
                      <a:pt x="10" y="0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4" y="20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0"/>
                    </a:lnTo>
                    <a:lnTo>
                      <a:pt x="20" y="16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16" y="2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9" name="Freeform 246"/>
              <p:cNvSpPr>
                <a:spLocks/>
              </p:cNvSpPr>
              <p:nvPr userDrawn="1"/>
            </p:nvSpPr>
            <p:spPr bwMode="auto">
              <a:xfrm>
                <a:off x="5241925" y="5168900"/>
                <a:ext cx="73025" cy="73025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4" y="2"/>
                  </a:cxn>
                  <a:cxn ang="0">
                    <a:pos x="6" y="8"/>
                  </a:cxn>
                  <a:cxn ang="0">
                    <a:pos x="6" y="8"/>
                  </a:cxn>
                  <a:cxn ang="0">
                    <a:pos x="2" y="14"/>
                  </a:cxn>
                  <a:cxn ang="0">
                    <a:pos x="0" y="24"/>
                  </a:cxn>
                  <a:cxn ang="0">
                    <a:pos x="2" y="32"/>
                  </a:cxn>
                  <a:cxn ang="0">
                    <a:pos x="6" y="40"/>
                  </a:cxn>
                  <a:cxn ang="0">
                    <a:pos x="6" y="40"/>
                  </a:cxn>
                  <a:cxn ang="0">
                    <a:pos x="14" y="44"/>
                  </a:cxn>
                  <a:cxn ang="0">
                    <a:pos x="22" y="46"/>
                  </a:cxn>
                  <a:cxn ang="0">
                    <a:pos x="22" y="46"/>
                  </a:cxn>
                  <a:cxn ang="0">
                    <a:pos x="32" y="44"/>
                  </a:cxn>
                  <a:cxn ang="0">
                    <a:pos x="40" y="40"/>
                  </a:cxn>
                  <a:cxn ang="0">
                    <a:pos x="40" y="40"/>
                  </a:cxn>
                  <a:cxn ang="0">
                    <a:pos x="44" y="32"/>
                  </a:cxn>
                  <a:cxn ang="0">
                    <a:pos x="46" y="24"/>
                  </a:cxn>
                  <a:cxn ang="0">
                    <a:pos x="44" y="14"/>
                  </a:cxn>
                  <a:cxn ang="0">
                    <a:pos x="40" y="8"/>
                  </a:cxn>
                  <a:cxn ang="0">
                    <a:pos x="40" y="8"/>
                  </a:cxn>
                  <a:cxn ang="0">
                    <a:pos x="32" y="2"/>
                  </a:cxn>
                  <a:cxn ang="0">
                    <a:pos x="22" y="0"/>
                  </a:cxn>
                </a:cxnLst>
                <a:rect l="0" t="0" r="r" b="b"/>
                <a:pathLst>
                  <a:path w="46" h="46">
                    <a:moveTo>
                      <a:pt x="22" y="0"/>
                    </a:moveTo>
                    <a:lnTo>
                      <a:pt x="22" y="0"/>
                    </a:lnTo>
                    <a:lnTo>
                      <a:pt x="14" y="2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2" y="14"/>
                    </a:lnTo>
                    <a:lnTo>
                      <a:pt x="0" y="24"/>
                    </a:lnTo>
                    <a:lnTo>
                      <a:pt x="2" y="32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14" y="44"/>
                    </a:lnTo>
                    <a:lnTo>
                      <a:pt x="22" y="46"/>
                    </a:lnTo>
                    <a:lnTo>
                      <a:pt x="22" y="46"/>
                    </a:lnTo>
                    <a:lnTo>
                      <a:pt x="32" y="44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4" y="32"/>
                    </a:lnTo>
                    <a:lnTo>
                      <a:pt x="46" y="24"/>
                    </a:lnTo>
                    <a:lnTo>
                      <a:pt x="44" y="14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32" y="2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0" name="Freeform 247"/>
              <p:cNvSpPr>
                <a:spLocks/>
              </p:cNvSpPr>
              <p:nvPr userDrawn="1"/>
            </p:nvSpPr>
            <p:spPr bwMode="auto">
              <a:xfrm>
                <a:off x="5241925" y="5168900"/>
                <a:ext cx="73025" cy="73025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4" y="2"/>
                  </a:cxn>
                  <a:cxn ang="0">
                    <a:pos x="6" y="8"/>
                  </a:cxn>
                  <a:cxn ang="0">
                    <a:pos x="6" y="8"/>
                  </a:cxn>
                  <a:cxn ang="0">
                    <a:pos x="2" y="14"/>
                  </a:cxn>
                  <a:cxn ang="0">
                    <a:pos x="0" y="24"/>
                  </a:cxn>
                  <a:cxn ang="0">
                    <a:pos x="2" y="32"/>
                  </a:cxn>
                  <a:cxn ang="0">
                    <a:pos x="6" y="40"/>
                  </a:cxn>
                  <a:cxn ang="0">
                    <a:pos x="6" y="40"/>
                  </a:cxn>
                  <a:cxn ang="0">
                    <a:pos x="14" y="44"/>
                  </a:cxn>
                  <a:cxn ang="0">
                    <a:pos x="22" y="46"/>
                  </a:cxn>
                  <a:cxn ang="0">
                    <a:pos x="22" y="46"/>
                  </a:cxn>
                  <a:cxn ang="0">
                    <a:pos x="32" y="44"/>
                  </a:cxn>
                  <a:cxn ang="0">
                    <a:pos x="40" y="40"/>
                  </a:cxn>
                  <a:cxn ang="0">
                    <a:pos x="40" y="40"/>
                  </a:cxn>
                  <a:cxn ang="0">
                    <a:pos x="44" y="32"/>
                  </a:cxn>
                  <a:cxn ang="0">
                    <a:pos x="46" y="24"/>
                  </a:cxn>
                  <a:cxn ang="0">
                    <a:pos x="44" y="14"/>
                  </a:cxn>
                  <a:cxn ang="0">
                    <a:pos x="40" y="8"/>
                  </a:cxn>
                  <a:cxn ang="0">
                    <a:pos x="40" y="8"/>
                  </a:cxn>
                  <a:cxn ang="0">
                    <a:pos x="32" y="2"/>
                  </a:cxn>
                  <a:cxn ang="0">
                    <a:pos x="22" y="0"/>
                  </a:cxn>
                </a:cxnLst>
                <a:rect l="0" t="0" r="r" b="b"/>
                <a:pathLst>
                  <a:path w="46" h="46">
                    <a:moveTo>
                      <a:pt x="22" y="0"/>
                    </a:moveTo>
                    <a:lnTo>
                      <a:pt x="22" y="0"/>
                    </a:lnTo>
                    <a:lnTo>
                      <a:pt x="14" y="2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2" y="14"/>
                    </a:lnTo>
                    <a:lnTo>
                      <a:pt x="0" y="24"/>
                    </a:lnTo>
                    <a:lnTo>
                      <a:pt x="2" y="32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14" y="44"/>
                    </a:lnTo>
                    <a:lnTo>
                      <a:pt x="22" y="46"/>
                    </a:lnTo>
                    <a:lnTo>
                      <a:pt x="22" y="46"/>
                    </a:lnTo>
                    <a:lnTo>
                      <a:pt x="32" y="44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4" y="32"/>
                    </a:lnTo>
                    <a:lnTo>
                      <a:pt x="46" y="24"/>
                    </a:lnTo>
                    <a:lnTo>
                      <a:pt x="44" y="14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32" y="2"/>
                    </a:lnTo>
                    <a:lnTo>
                      <a:pt x="2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1" name="Freeform 248"/>
              <p:cNvSpPr>
                <a:spLocks/>
              </p:cNvSpPr>
              <p:nvPr userDrawn="1"/>
            </p:nvSpPr>
            <p:spPr bwMode="auto">
              <a:xfrm>
                <a:off x="5168900" y="5060950"/>
                <a:ext cx="63500" cy="66675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2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0" y="28"/>
                  </a:cxn>
                  <a:cxn ang="0">
                    <a:pos x="6" y="36"/>
                  </a:cxn>
                  <a:cxn ang="0">
                    <a:pos x="6" y="36"/>
                  </a:cxn>
                  <a:cxn ang="0">
                    <a:pos x="12" y="40"/>
                  </a:cxn>
                  <a:cxn ang="0">
                    <a:pos x="20" y="42"/>
                  </a:cxn>
                  <a:cxn ang="0">
                    <a:pos x="20" y="42"/>
                  </a:cxn>
                  <a:cxn ang="0">
                    <a:pos x="28" y="40"/>
                  </a:cxn>
                  <a:cxn ang="0">
                    <a:pos x="34" y="36"/>
                  </a:cxn>
                  <a:cxn ang="0">
                    <a:pos x="34" y="36"/>
                  </a:cxn>
                  <a:cxn ang="0">
                    <a:pos x="38" y="28"/>
                  </a:cxn>
                  <a:cxn ang="0">
                    <a:pos x="40" y="22"/>
                  </a:cxn>
                  <a:cxn ang="0">
                    <a:pos x="38" y="14"/>
                  </a:cxn>
                  <a:cxn ang="0">
                    <a:pos x="34" y="6"/>
                  </a:cxn>
                  <a:cxn ang="0">
                    <a:pos x="34" y="6"/>
                  </a:cxn>
                  <a:cxn ang="0">
                    <a:pos x="28" y="2"/>
                  </a:cxn>
                  <a:cxn ang="0">
                    <a:pos x="20" y="0"/>
                  </a:cxn>
                </a:cxnLst>
                <a:rect l="0" t="0" r="r" b="b"/>
                <a:pathLst>
                  <a:path w="40" h="42">
                    <a:moveTo>
                      <a:pt x="20" y="0"/>
                    </a:moveTo>
                    <a:lnTo>
                      <a:pt x="20" y="0"/>
                    </a:lnTo>
                    <a:lnTo>
                      <a:pt x="12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0" y="28"/>
                    </a:lnTo>
                    <a:lnTo>
                      <a:pt x="6" y="36"/>
                    </a:lnTo>
                    <a:lnTo>
                      <a:pt x="6" y="36"/>
                    </a:lnTo>
                    <a:lnTo>
                      <a:pt x="12" y="40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8" y="40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8" y="28"/>
                    </a:lnTo>
                    <a:lnTo>
                      <a:pt x="40" y="22"/>
                    </a:lnTo>
                    <a:lnTo>
                      <a:pt x="38" y="14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28" y="2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2" name="Freeform 249"/>
              <p:cNvSpPr>
                <a:spLocks/>
              </p:cNvSpPr>
              <p:nvPr userDrawn="1"/>
            </p:nvSpPr>
            <p:spPr bwMode="auto">
              <a:xfrm>
                <a:off x="5168900" y="5060950"/>
                <a:ext cx="63500" cy="66675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2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0" y="28"/>
                  </a:cxn>
                  <a:cxn ang="0">
                    <a:pos x="6" y="36"/>
                  </a:cxn>
                  <a:cxn ang="0">
                    <a:pos x="6" y="36"/>
                  </a:cxn>
                  <a:cxn ang="0">
                    <a:pos x="12" y="40"/>
                  </a:cxn>
                  <a:cxn ang="0">
                    <a:pos x="20" y="42"/>
                  </a:cxn>
                  <a:cxn ang="0">
                    <a:pos x="20" y="42"/>
                  </a:cxn>
                  <a:cxn ang="0">
                    <a:pos x="28" y="40"/>
                  </a:cxn>
                  <a:cxn ang="0">
                    <a:pos x="34" y="36"/>
                  </a:cxn>
                  <a:cxn ang="0">
                    <a:pos x="34" y="36"/>
                  </a:cxn>
                  <a:cxn ang="0">
                    <a:pos x="38" y="28"/>
                  </a:cxn>
                  <a:cxn ang="0">
                    <a:pos x="40" y="22"/>
                  </a:cxn>
                  <a:cxn ang="0">
                    <a:pos x="38" y="14"/>
                  </a:cxn>
                  <a:cxn ang="0">
                    <a:pos x="34" y="6"/>
                  </a:cxn>
                  <a:cxn ang="0">
                    <a:pos x="34" y="6"/>
                  </a:cxn>
                  <a:cxn ang="0">
                    <a:pos x="28" y="2"/>
                  </a:cxn>
                  <a:cxn ang="0">
                    <a:pos x="20" y="0"/>
                  </a:cxn>
                </a:cxnLst>
                <a:rect l="0" t="0" r="r" b="b"/>
                <a:pathLst>
                  <a:path w="40" h="42">
                    <a:moveTo>
                      <a:pt x="20" y="0"/>
                    </a:moveTo>
                    <a:lnTo>
                      <a:pt x="20" y="0"/>
                    </a:lnTo>
                    <a:lnTo>
                      <a:pt x="12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0" y="28"/>
                    </a:lnTo>
                    <a:lnTo>
                      <a:pt x="6" y="36"/>
                    </a:lnTo>
                    <a:lnTo>
                      <a:pt x="6" y="36"/>
                    </a:lnTo>
                    <a:lnTo>
                      <a:pt x="12" y="40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8" y="40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8" y="28"/>
                    </a:lnTo>
                    <a:lnTo>
                      <a:pt x="40" y="22"/>
                    </a:lnTo>
                    <a:lnTo>
                      <a:pt x="38" y="14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28" y="2"/>
                    </a:lnTo>
                    <a:lnTo>
                      <a:pt x="2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3" name="Freeform 250"/>
              <p:cNvSpPr>
                <a:spLocks/>
              </p:cNvSpPr>
              <p:nvPr userDrawn="1"/>
            </p:nvSpPr>
            <p:spPr bwMode="auto">
              <a:xfrm>
                <a:off x="5114925" y="4940300"/>
                <a:ext cx="57150" cy="60325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0" y="2"/>
                  </a:cxn>
                  <a:cxn ang="0">
                    <a:pos x="4" y="6"/>
                  </a:cxn>
                  <a:cxn ang="0">
                    <a:pos x="4" y="6"/>
                  </a:cxn>
                  <a:cxn ang="0">
                    <a:pos x="0" y="12"/>
                  </a:cxn>
                  <a:cxn ang="0">
                    <a:pos x="0" y="20"/>
                  </a:cxn>
                  <a:cxn ang="0">
                    <a:pos x="0" y="26"/>
                  </a:cxn>
                  <a:cxn ang="0">
                    <a:pos x="4" y="32"/>
                  </a:cxn>
                  <a:cxn ang="0">
                    <a:pos x="4" y="32"/>
                  </a:cxn>
                  <a:cxn ang="0">
                    <a:pos x="10" y="36"/>
                  </a:cxn>
                  <a:cxn ang="0">
                    <a:pos x="18" y="38"/>
                  </a:cxn>
                  <a:cxn ang="0">
                    <a:pos x="18" y="38"/>
                  </a:cxn>
                  <a:cxn ang="0">
                    <a:pos x="24" y="36"/>
                  </a:cxn>
                  <a:cxn ang="0">
                    <a:pos x="30" y="32"/>
                  </a:cxn>
                  <a:cxn ang="0">
                    <a:pos x="30" y="32"/>
                  </a:cxn>
                  <a:cxn ang="0">
                    <a:pos x="34" y="26"/>
                  </a:cxn>
                  <a:cxn ang="0">
                    <a:pos x="36" y="20"/>
                  </a:cxn>
                  <a:cxn ang="0">
                    <a:pos x="34" y="12"/>
                  </a:cxn>
                  <a:cxn ang="0">
                    <a:pos x="30" y="6"/>
                  </a:cxn>
                  <a:cxn ang="0">
                    <a:pos x="30" y="6"/>
                  </a:cxn>
                  <a:cxn ang="0">
                    <a:pos x="24" y="2"/>
                  </a:cxn>
                  <a:cxn ang="0">
                    <a:pos x="18" y="0"/>
                  </a:cxn>
                </a:cxnLst>
                <a:rect l="0" t="0" r="r" b="b"/>
                <a:pathLst>
                  <a:path w="36" h="38">
                    <a:moveTo>
                      <a:pt x="18" y="0"/>
                    </a:moveTo>
                    <a:lnTo>
                      <a:pt x="18" y="0"/>
                    </a:lnTo>
                    <a:lnTo>
                      <a:pt x="10" y="2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0" y="12"/>
                    </a:lnTo>
                    <a:lnTo>
                      <a:pt x="0" y="20"/>
                    </a:lnTo>
                    <a:lnTo>
                      <a:pt x="0" y="26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10" y="36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24" y="36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34" y="26"/>
                    </a:lnTo>
                    <a:lnTo>
                      <a:pt x="36" y="20"/>
                    </a:lnTo>
                    <a:lnTo>
                      <a:pt x="34" y="12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24" y="2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4" name="Freeform 251"/>
              <p:cNvSpPr>
                <a:spLocks/>
              </p:cNvSpPr>
              <p:nvPr userDrawn="1"/>
            </p:nvSpPr>
            <p:spPr bwMode="auto">
              <a:xfrm>
                <a:off x="5114925" y="4940300"/>
                <a:ext cx="57150" cy="60325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0" y="2"/>
                  </a:cxn>
                  <a:cxn ang="0">
                    <a:pos x="4" y="6"/>
                  </a:cxn>
                  <a:cxn ang="0">
                    <a:pos x="4" y="6"/>
                  </a:cxn>
                  <a:cxn ang="0">
                    <a:pos x="0" y="12"/>
                  </a:cxn>
                  <a:cxn ang="0">
                    <a:pos x="0" y="20"/>
                  </a:cxn>
                  <a:cxn ang="0">
                    <a:pos x="0" y="26"/>
                  </a:cxn>
                  <a:cxn ang="0">
                    <a:pos x="4" y="32"/>
                  </a:cxn>
                  <a:cxn ang="0">
                    <a:pos x="4" y="32"/>
                  </a:cxn>
                  <a:cxn ang="0">
                    <a:pos x="10" y="36"/>
                  </a:cxn>
                  <a:cxn ang="0">
                    <a:pos x="18" y="38"/>
                  </a:cxn>
                  <a:cxn ang="0">
                    <a:pos x="18" y="38"/>
                  </a:cxn>
                  <a:cxn ang="0">
                    <a:pos x="24" y="36"/>
                  </a:cxn>
                  <a:cxn ang="0">
                    <a:pos x="30" y="32"/>
                  </a:cxn>
                  <a:cxn ang="0">
                    <a:pos x="30" y="32"/>
                  </a:cxn>
                  <a:cxn ang="0">
                    <a:pos x="34" y="26"/>
                  </a:cxn>
                  <a:cxn ang="0">
                    <a:pos x="36" y="20"/>
                  </a:cxn>
                  <a:cxn ang="0">
                    <a:pos x="34" y="12"/>
                  </a:cxn>
                  <a:cxn ang="0">
                    <a:pos x="30" y="6"/>
                  </a:cxn>
                  <a:cxn ang="0">
                    <a:pos x="30" y="6"/>
                  </a:cxn>
                  <a:cxn ang="0">
                    <a:pos x="24" y="2"/>
                  </a:cxn>
                  <a:cxn ang="0">
                    <a:pos x="18" y="0"/>
                  </a:cxn>
                </a:cxnLst>
                <a:rect l="0" t="0" r="r" b="b"/>
                <a:pathLst>
                  <a:path w="36" h="38">
                    <a:moveTo>
                      <a:pt x="18" y="0"/>
                    </a:moveTo>
                    <a:lnTo>
                      <a:pt x="18" y="0"/>
                    </a:lnTo>
                    <a:lnTo>
                      <a:pt x="10" y="2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0" y="12"/>
                    </a:lnTo>
                    <a:lnTo>
                      <a:pt x="0" y="20"/>
                    </a:lnTo>
                    <a:lnTo>
                      <a:pt x="0" y="26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10" y="36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24" y="36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34" y="26"/>
                    </a:lnTo>
                    <a:lnTo>
                      <a:pt x="36" y="20"/>
                    </a:lnTo>
                    <a:lnTo>
                      <a:pt x="34" y="12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24" y="2"/>
                    </a:lnTo>
                    <a:lnTo>
                      <a:pt x="1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5" name="Freeform 252"/>
              <p:cNvSpPr>
                <a:spLocks/>
              </p:cNvSpPr>
              <p:nvPr userDrawn="1"/>
            </p:nvSpPr>
            <p:spPr bwMode="auto">
              <a:xfrm>
                <a:off x="5080000" y="4813300"/>
                <a:ext cx="53975" cy="53975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2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2"/>
                  </a:cxn>
                  <a:cxn ang="0">
                    <a:pos x="6" y="28"/>
                  </a:cxn>
                  <a:cxn ang="0">
                    <a:pos x="6" y="28"/>
                  </a:cxn>
                  <a:cxn ang="0">
                    <a:pos x="12" y="32"/>
                  </a:cxn>
                  <a:cxn ang="0">
                    <a:pos x="18" y="34"/>
                  </a:cxn>
                  <a:cxn ang="0">
                    <a:pos x="18" y="34"/>
                  </a:cxn>
                  <a:cxn ang="0">
                    <a:pos x="24" y="32"/>
                  </a:cxn>
                  <a:cxn ang="0">
                    <a:pos x="30" y="28"/>
                  </a:cxn>
                  <a:cxn ang="0">
                    <a:pos x="30" y="28"/>
                  </a:cxn>
                  <a:cxn ang="0">
                    <a:pos x="32" y="22"/>
                  </a:cxn>
                  <a:cxn ang="0">
                    <a:pos x="34" y="16"/>
                  </a:cxn>
                  <a:cxn ang="0">
                    <a:pos x="32" y="10"/>
                  </a:cxn>
                  <a:cxn ang="0">
                    <a:pos x="30" y="4"/>
                  </a:cxn>
                  <a:cxn ang="0">
                    <a:pos x="30" y="4"/>
                  </a:cxn>
                  <a:cxn ang="0">
                    <a:pos x="24" y="2"/>
                  </a:cxn>
                  <a:cxn ang="0">
                    <a:pos x="18" y="0"/>
                  </a:cxn>
                </a:cxnLst>
                <a:rect l="0" t="0" r="r" b="b"/>
                <a:pathLst>
                  <a:path w="34" h="34">
                    <a:moveTo>
                      <a:pt x="18" y="0"/>
                    </a:moveTo>
                    <a:lnTo>
                      <a:pt x="18" y="0"/>
                    </a:lnTo>
                    <a:lnTo>
                      <a:pt x="12" y="2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2"/>
                    </a:lnTo>
                    <a:lnTo>
                      <a:pt x="6" y="28"/>
                    </a:lnTo>
                    <a:lnTo>
                      <a:pt x="6" y="28"/>
                    </a:lnTo>
                    <a:lnTo>
                      <a:pt x="12" y="32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24" y="32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2" y="22"/>
                    </a:lnTo>
                    <a:lnTo>
                      <a:pt x="34" y="16"/>
                    </a:lnTo>
                    <a:lnTo>
                      <a:pt x="32" y="10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24" y="2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6" name="Freeform 253"/>
              <p:cNvSpPr>
                <a:spLocks/>
              </p:cNvSpPr>
              <p:nvPr userDrawn="1"/>
            </p:nvSpPr>
            <p:spPr bwMode="auto">
              <a:xfrm>
                <a:off x="5080000" y="4813300"/>
                <a:ext cx="53975" cy="53975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2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2"/>
                  </a:cxn>
                  <a:cxn ang="0">
                    <a:pos x="6" y="28"/>
                  </a:cxn>
                  <a:cxn ang="0">
                    <a:pos x="6" y="28"/>
                  </a:cxn>
                  <a:cxn ang="0">
                    <a:pos x="12" y="32"/>
                  </a:cxn>
                  <a:cxn ang="0">
                    <a:pos x="18" y="34"/>
                  </a:cxn>
                  <a:cxn ang="0">
                    <a:pos x="18" y="34"/>
                  </a:cxn>
                  <a:cxn ang="0">
                    <a:pos x="24" y="32"/>
                  </a:cxn>
                  <a:cxn ang="0">
                    <a:pos x="30" y="28"/>
                  </a:cxn>
                  <a:cxn ang="0">
                    <a:pos x="30" y="28"/>
                  </a:cxn>
                  <a:cxn ang="0">
                    <a:pos x="32" y="22"/>
                  </a:cxn>
                  <a:cxn ang="0">
                    <a:pos x="34" y="16"/>
                  </a:cxn>
                  <a:cxn ang="0">
                    <a:pos x="32" y="10"/>
                  </a:cxn>
                  <a:cxn ang="0">
                    <a:pos x="30" y="4"/>
                  </a:cxn>
                  <a:cxn ang="0">
                    <a:pos x="30" y="4"/>
                  </a:cxn>
                  <a:cxn ang="0">
                    <a:pos x="24" y="2"/>
                  </a:cxn>
                  <a:cxn ang="0">
                    <a:pos x="18" y="0"/>
                  </a:cxn>
                </a:cxnLst>
                <a:rect l="0" t="0" r="r" b="b"/>
                <a:pathLst>
                  <a:path w="34" h="34">
                    <a:moveTo>
                      <a:pt x="18" y="0"/>
                    </a:moveTo>
                    <a:lnTo>
                      <a:pt x="18" y="0"/>
                    </a:lnTo>
                    <a:lnTo>
                      <a:pt x="12" y="2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2"/>
                    </a:lnTo>
                    <a:lnTo>
                      <a:pt x="6" y="28"/>
                    </a:lnTo>
                    <a:lnTo>
                      <a:pt x="6" y="28"/>
                    </a:lnTo>
                    <a:lnTo>
                      <a:pt x="12" y="32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24" y="32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2" y="22"/>
                    </a:lnTo>
                    <a:lnTo>
                      <a:pt x="34" y="16"/>
                    </a:lnTo>
                    <a:lnTo>
                      <a:pt x="32" y="10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24" y="2"/>
                    </a:lnTo>
                    <a:lnTo>
                      <a:pt x="1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7" name="Freeform 254"/>
              <p:cNvSpPr>
                <a:spLocks/>
              </p:cNvSpPr>
              <p:nvPr userDrawn="1"/>
            </p:nvSpPr>
            <p:spPr bwMode="auto">
              <a:xfrm>
                <a:off x="5070475" y="4679950"/>
                <a:ext cx="47625" cy="4762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6" y="26"/>
                  </a:cxn>
                  <a:cxn ang="0">
                    <a:pos x="6" y="26"/>
                  </a:cxn>
                  <a:cxn ang="0">
                    <a:pos x="10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22" y="30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30" y="20"/>
                  </a:cxn>
                  <a:cxn ang="0">
                    <a:pos x="30" y="16"/>
                  </a:cxn>
                  <a:cxn ang="0">
                    <a:pos x="30" y="10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0" h="30">
                    <a:moveTo>
                      <a:pt x="16" y="0"/>
                    </a:moveTo>
                    <a:lnTo>
                      <a:pt x="16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10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22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30" y="20"/>
                    </a:lnTo>
                    <a:lnTo>
                      <a:pt x="30" y="16"/>
                    </a:lnTo>
                    <a:lnTo>
                      <a:pt x="30" y="1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2" y="2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8" name="Freeform 255"/>
              <p:cNvSpPr>
                <a:spLocks/>
              </p:cNvSpPr>
              <p:nvPr userDrawn="1"/>
            </p:nvSpPr>
            <p:spPr bwMode="auto">
              <a:xfrm>
                <a:off x="5070475" y="4679950"/>
                <a:ext cx="47625" cy="4762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6" y="26"/>
                  </a:cxn>
                  <a:cxn ang="0">
                    <a:pos x="6" y="26"/>
                  </a:cxn>
                  <a:cxn ang="0">
                    <a:pos x="10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22" y="30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30" y="20"/>
                  </a:cxn>
                  <a:cxn ang="0">
                    <a:pos x="30" y="16"/>
                  </a:cxn>
                  <a:cxn ang="0">
                    <a:pos x="30" y="10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0" h="30">
                    <a:moveTo>
                      <a:pt x="16" y="0"/>
                    </a:moveTo>
                    <a:lnTo>
                      <a:pt x="16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10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22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30" y="20"/>
                    </a:lnTo>
                    <a:lnTo>
                      <a:pt x="30" y="16"/>
                    </a:lnTo>
                    <a:lnTo>
                      <a:pt x="30" y="1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2" y="2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9" name="Freeform 256"/>
              <p:cNvSpPr>
                <a:spLocks/>
              </p:cNvSpPr>
              <p:nvPr userDrawn="1"/>
            </p:nvSpPr>
            <p:spPr bwMode="auto">
              <a:xfrm>
                <a:off x="5086350" y="4546600"/>
                <a:ext cx="41275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4"/>
                  </a:cxn>
                  <a:cxn ang="0">
                    <a:pos x="4" y="24"/>
                  </a:cxn>
                  <a:cxn ang="0">
                    <a:pos x="8" y="26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18" y="26"/>
                  </a:cxn>
                  <a:cxn ang="0">
                    <a:pos x="22" y="24"/>
                  </a:cxn>
                  <a:cxn ang="0">
                    <a:pos x="22" y="24"/>
                  </a:cxn>
                  <a:cxn ang="0">
                    <a:pos x="26" y="18"/>
                  </a:cxn>
                  <a:cxn ang="0">
                    <a:pos x="26" y="14"/>
                  </a:cxn>
                  <a:cxn ang="0">
                    <a:pos x="26" y="8"/>
                  </a:cxn>
                  <a:cxn ang="0">
                    <a:pos x="22" y="4"/>
                  </a:cxn>
                  <a:cxn ang="0">
                    <a:pos x="22" y="4"/>
                  </a:cxn>
                  <a:cxn ang="0">
                    <a:pos x="18" y="2"/>
                  </a:cxn>
                  <a:cxn ang="0">
                    <a:pos x="14" y="0"/>
                  </a:cxn>
                </a:cxnLst>
                <a:rect l="0" t="0" r="r" b="b"/>
                <a:pathLst>
                  <a:path w="26" h="28">
                    <a:moveTo>
                      <a:pt x="14" y="0"/>
                    </a:moveTo>
                    <a:lnTo>
                      <a:pt x="14" y="0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8" y="26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8" y="26"/>
                    </a:lnTo>
                    <a:lnTo>
                      <a:pt x="22" y="24"/>
                    </a:lnTo>
                    <a:lnTo>
                      <a:pt x="22" y="24"/>
                    </a:lnTo>
                    <a:lnTo>
                      <a:pt x="26" y="18"/>
                    </a:lnTo>
                    <a:lnTo>
                      <a:pt x="26" y="14"/>
                    </a:lnTo>
                    <a:lnTo>
                      <a:pt x="26" y="8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18" y="2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0" name="Freeform 257"/>
              <p:cNvSpPr>
                <a:spLocks/>
              </p:cNvSpPr>
              <p:nvPr userDrawn="1"/>
            </p:nvSpPr>
            <p:spPr bwMode="auto">
              <a:xfrm>
                <a:off x="5086350" y="4546600"/>
                <a:ext cx="41275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4"/>
                  </a:cxn>
                  <a:cxn ang="0">
                    <a:pos x="4" y="24"/>
                  </a:cxn>
                  <a:cxn ang="0">
                    <a:pos x="8" y="26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18" y="26"/>
                  </a:cxn>
                  <a:cxn ang="0">
                    <a:pos x="22" y="24"/>
                  </a:cxn>
                  <a:cxn ang="0">
                    <a:pos x="22" y="24"/>
                  </a:cxn>
                  <a:cxn ang="0">
                    <a:pos x="26" y="18"/>
                  </a:cxn>
                  <a:cxn ang="0">
                    <a:pos x="26" y="14"/>
                  </a:cxn>
                  <a:cxn ang="0">
                    <a:pos x="26" y="8"/>
                  </a:cxn>
                  <a:cxn ang="0">
                    <a:pos x="22" y="4"/>
                  </a:cxn>
                  <a:cxn ang="0">
                    <a:pos x="22" y="4"/>
                  </a:cxn>
                  <a:cxn ang="0">
                    <a:pos x="18" y="2"/>
                  </a:cxn>
                  <a:cxn ang="0">
                    <a:pos x="14" y="0"/>
                  </a:cxn>
                </a:cxnLst>
                <a:rect l="0" t="0" r="r" b="b"/>
                <a:pathLst>
                  <a:path w="26" h="28">
                    <a:moveTo>
                      <a:pt x="14" y="0"/>
                    </a:moveTo>
                    <a:lnTo>
                      <a:pt x="14" y="0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8" y="26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8" y="26"/>
                    </a:lnTo>
                    <a:lnTo>
                      <a:pt x="22" y="24"/>
                    </a:lnTo>
                    <a:lnTo>
                      <a:pt x="22" y="24"/>
                    </a:lnTo>
                    <a:lnTo>
                      <a:pt x="26" y="18"/>
                    </a:lnTo>
                    <a:lnTo>
                      <a:pt x="26" y="14"/>
                    </a:lnTo>
                    <a:lnTo>
                      <a:pt x="26" y="8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18" y="2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1" name="Freeform 258"/>
              <p:cNvSpPr>
                <a:spLocks/>
              </p:cNvSpPr>
              <p:nvPr userDrawn="1"/>
            </p:nvSpPr>
            <p:spPr bwMode="auto">
              <a:xfrm>
                <a:off x="5124450" y="4416425"/>
                <a:ext cx="38100" cy="4127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6" y="2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2" y="22"/>
                  </a:cxn>
                  <a:cxn ang="0">
                    <a:pos x="6" y="24"/>
                  </a:cxn>
                  <a:cxn ang="0">
                    <a:pos x="12" y="26"/>
                  </a:cxn>
                  <a:cxn ang="0">
                    <a:pos x="12" y="26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0" y="22"/>
                  </a:cxn>
                  <a:cxn ang="0">
                    <a:pos x="22" y="18"/>
                  </a:cxn>
                  <a:cxn ang="0">
                    <a:pos x="24" y="12"/>
                  </a:cxn>
                  <a:cxn ang="0">
                    <a:pos x="22" y="8"/>
                  </a:cxn>
                  <a:cxn ang="0">
                    <a:pos x="20" y="4"/>
                  </a:cxn>
                  <a:cxn ang="0">
                    <a:pos x="20" y="4"/>
                  </a:cxn>
                  <a:cxn ang="0">
                    <a:pos x="16" y="2"/>
                  </a:cxn>
                  <a:cxn ang="0">
                    <a:pos x="12" y="0"/>
                  </a:cxn>
                </a:cxnLst>
                <a:rect l="0" t="0" r="r" b="b"/>
                <a:pathLst>
                  <a:path w="24" h="26">
                    <a:moveTo>
                      <a:pt x="12" y="0"/>
                    </a:moveTo>
                    <a:lnTo>
                      <a:pt x="12" y="0"/>
                    </a:lnTo>
                    <a:lnTo>
                      <a:pt x="6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6" y="24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2" y="18"/>
                    </a:lnTo>
                    <a:lnTo>
                      <a:pt x="24" y="12"/>
                    </a:lnTo>
                    <a:lnTo>
                      <a:pt x="22" y="8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6" y="2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2" name="Freeform 259"/>
              <p:cNvSpPr>
                <a:spLocks/>
              </p:cNvSpPr>
              <p:nvPr userDrawn="1"/>
            </p:nvSpPr>
            <p:spPr bwMode="auto">
              <a:xfrm>
                <a:off x="5124450" y="4416425"/>
                <a:ext cx="38100" cy="4127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6" y="2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2" y="22"/>
                  </a:cxn>
                  <a:cxn ang="0">
                    <a:pos x="6" y="24"/>
                  </a:cxn>
                  <a:cxn ang="0">
                    <a:pos x="12" y="26"/>
                  </a:cxn>
                  <a:cxn ang="0">
                    <a:pos x="12" y="26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0" y="22"/>
                  </a:cxn>
                  <a:cxn ang="0">
                    <a:pos x="22" y="18"/>
                  </a:cxn>
                  <a:cxn ang="0">
                    <a:pos x="24" y="12"/>
                  </a:cxn>
                  <a:cxn ang="0">
                    <a:pos x="22" y="8"/>
                  </a:cxn>
                  <a:cxn ang="0">
                    <a:pos x="20" y="4"/>
                  </a:cxn>
                  <a:cxn ang="0">
                    <a:pos x="20" y="4"/>
                  </a:cxn>
                  <a:cxn ang="0">
                    <a:pos x="16" y="2"/>
                  </a:cxn>
                  <a:cxn ang="0">
                    <a:pos x="12" y="0"/>
                  </a:cxn>
                </a:cxnLst>
                <a:rect l="0" t="0" r="r" b="b"/>
                <a:pathLst>
                  <a:path w="24" h="26">
                    <a:moveTo>
                      <a:pt x="12" y="0"/>
                    </a:moveTo>
                    <a:lnTo>
                      <a:pt x="12" y="0"/>
                    </a:lnTo>
                    <a:lnTo>
                      <a:pt x="6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6" y="24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2" y="18"/>
                    </a:lnTo>
                    <a:lnTo>
                      <a:pt x="24" y="12"/>
                    </a:lnTo>
                    <a:lnTo>
                      <a:pt x="22" y="8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6" y="2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3" name="Freeform 260"/>
              <p:cNvSpPr>
                <a:spLocks/>
              </p:cNvSpPr>
              <p:nvPr userDrawn="1"/>
            </p:nvSpPr>
            <p:spPr bwMode="auto">
              <a:xfrm>
                <a:off x="5181600" y="4295775"/>
                <a:ext cx="34925" cy="3492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4" y="18"/>
                  </a:cxn>
                  <a:cxn ang="0">
                    <a:pos x="4" y="18"/>
                  </a:cxn>
                  <a:cxn ang="0">
                    <a:pos x="8" y="22"/>
                  </a:cxn>
                  <a:cxn ang="0">
                    <a:pos x="12" y="22"/>
                  </a:cxn>
                  <a:cxn ang="0">
                    <a:pos x="12" y="22"/>
                  </a:cxn>
                  <a:cxn ang="0">
                    <a:pos x="16" y="22"/>
                  </a:cxn>
                  <a:cxn ang="0">
                    <a:pos x="20" y="18"/>
                  </a:cxn>
                  <a:cxn ang="0">
                    <a:pos x="20" y="18"/>
                  </a:cxn>
                  <a:cxn ang="0">
                    <a:pos x="22" y="16"/>
                  </a:cxn>
                  <a:cxn ang="0">
                    <a:pos x="22" y="12"/>
                  </a:cxn>
                  <a:cxn ang="0">
                    <a:pos x="22" y="6"/>
                  </a:cxn>
                  <a:cxn ang="0">
                    <a:pos x="20" y="4"/>
                  </a:cxn>
                  <a:cxn ang="0">
                    <a:pos x="20" y="4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2" h="22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8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2" y="16"/>
                    </a:lnTo>
                    <a:lnTo>
                      <a:pt x="22" y="12"/>
                    </a:lnTo>
                    <a:lnTo>
                      <a:pt x="22" y="6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4" name="Freeform 261"/>
              <p:cNvSpPr>
                <a:spLocks/>
              </p:cNvSpPr>
              <p:nvPr userDrawn="1"/>
            </p:nvSpPr>
            <p:spPr bwMode="auto">
              <a:xfrm>
                <a:off x="5181600" y="4295775"/>
                <a:ext cx="34925" cy="3492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4" y="18"/>
                  </a:cxn>
                  <a:cxn ang="0">
                    <a:pos x="4" y="18"/>
                  </a:cxn>
                  <a:cxn ang="0">
                    <a:pos x="8" y="22"/>
                  </a:cxn>
                  <a:cxn ang="0">
                    <a:pos x="12" y="22"/>
                  </a:cxn>
                  <a:cxn ang="0">
                    <a:pos x="12" y="22"/>
                  </a:cxn>
                  <a:cxn ang="0">
                    <a:pos x="16" y="22"/>
                  </a:cxn>
                  <a:cxn ang="0">
                    <a:pos x="20" y="18"/>
                  </a:cxn>
                  <a:cxn ang="0">
                    <a:pos x="20" y="18"/>
                  </a:cxn>
                  <a:cxn ang="0">
                    <a:pos x="22" y="16"/>
                  </a:cxn>
                  <a:cxn ang="0">
                    <a:pos x="22" y="12"/>
                  </a:cxn>
                  <a:cxn ang="0">
                    <a:pos x="22" y="6"/>
                  </a:cxn>
                  <a:cxn ang="0">
                    <a:pos x="20" y="4"/>
                  </a:cxn>
                  <a:cxn ang="0">
                    <a:pos x="20" y="4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2" h="22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8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2" y="16"/>
                    </a:lnTo>
                    <a:lnTo>
                      <a:pt x="22" y="12"/>
                    </a:lnTo>
                    <a:lnTo>
                      <a:pt x="22" y="6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6" y="0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5" name="Freeform 262"/>
              <p:cNvSpPr>
                <a:spLocks/>
              </p:cNvSpPr>
              <p:nvPr userDrawn="1"/>
            </p:nvSpPr>
            <p:spPr bwMode="auto">
              <a:xfrm>
                <a:off x="5264150" y="4184650"/>
                <a:ext cx="28575" cy="3175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2" y="18"/>
                  </a:cxn>
                  <a:cxn ang="0">
                    <a:pos x="6" y="20"/>
                  </a:cxn>
                  <a:cxn ang="0">
                    <a:pos x="8" y="20"/>
                  </a:cxn>
                  <a:cxn ang="0">
                    <a:pos x="8" y="20"/>
                  </a:cxn>
                  <a:cxn ang="0">
                    <a:pos x="12" y="20"/>
                  </a:cxn>
                  <a:cxn ang="0">
                    <a:pos x="16" y="18"/>
                  </a:cxn>
                  <a:cxn ang="0">
                    <a:pos x="16" y="18"/>
                  </a:cxn>
                  <a:cxn ang="0">
                    <a:pos x="18" y="14"/>
                  </a:cxn>
                  <a:cxn ang="0">
                    <a:pos x="18" y="10"/>
                  </a:cxn>
                  <a:cxn ang="0">
                    <a:pos x="18" y="8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2" y="2"/>
                  </a:cxn>
                  <a:cxn ang="0">
                    <a:pos x="10" y="0"/>
                  </a:cxn>
                </a:cxnLst>
                <a:rect l="0" t="0" r="r" b="b"/>
                <a:pathLst>
                  <a:path w="18" h="20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6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12" y="20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8" y="14"/>
                    </a:lnTo>
                    <a:lnTo>
                      <a:pt x="18" y="10"/>
                    </a:lnTo>
                    <a:lnTo>
                      <a:pt x="18" y="8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2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6" name="Freeform 263"/>
              <p:cNvSpPr>
                <a:spLocks/>
              </p:cNvSpPr>
              <p:nvPr userDrawn="1"/>
            </p:nvSpPr>
            <p:spPr bwMode="auto">
              <a:xfrm>
                <a:off x="5264150" y="4184650"/>
                <a:ext cx="28575" cy="3175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2" y="18"/>
                  </a:cxn>
                  <a:cxn ang="0">
                    <a:pos x="6" y="20"/>
                  </a:cxn>
                  <a:cxn ang="0">
                    <a:pos x="8" y="20"/>
                  </a:cxn>
                  <a:cxn ang="0">
                    <a:pos x="8" y="20"/>
                  </a:cxn>
                  <a:cxn ang="0">
                    <a:pos x="12" y="20"/>
                  </a:cxn>
                  <a:cxn ang="0">
                    <a:pos x="16" y="18"/>
                  </a:cxn>
                  <a:cxn ang="0">
                    <a:pos x="16" y="18"/>
                  </a:cxn>
                  <a:cxn ang="0">
                    <a:pos x="18" y="14"/>
                  </a:cxn>
                  <a:cxn ang="0">
                    <a:pos x="18" y="10"/>
                  </a:cxn>
                  <a:cxn ang="0">
                    <a:pos x="18" y="8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2" y="2"/>
                  </a:cxn>
                  <a:cxn ang="0">
                    <a:pos x="10" y="0"/>
                  </a:cxn>
                </a:cxnLst>
                <a:rect l="0" t="0" r="r" b="b"/>
                <a:pathLst>
                  <a:path w="18" h="20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6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12" y="20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8" y="14"/>
                    </a:lnTo>
                    <a:lnTo>
                      <a:pt x="18" y="10"/>
                    </a:lnTo>
                    <a:lnTo>
                      <a:pt x="18" y="8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2" y="2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7" name="Freeform 264"/>
              <p:cNvSpPr>
                <a:spLocks/>
              </p:cNvSpPr>
              <p:nvPr userDrawn="1"/>
            </p:nvSpPr>
            <p:spPr bwMode="auto">
              <a:xfrm>
                <a:off x="5359400" y="4092575"/>
                <a:ext cx="28575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4" y="14"/>
                  </a:cxn>
                  <a:cxn ang="0">
                    <a:pos x="4" y="14"/>
                  </a:cxn>
                  <a:cxn ang="0">
                    <a:pos x="6" y="16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6"/>
                  </a:cxn>
                  <a:cxn ang="0">
                    <a:pos x="16" y="14"/>
                  </a:cxn>
                  <a:cxn ang="0">
                    <a:pos x="16" y="14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8" y="4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6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2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8" name="Freeform 265"/>
              <p:cNvSpPr>
                <a:spLocks/>
              </p:cNvSpPr>
              <p:nvPr userDrawn="1"/>
            </p:nvSpPr>
            <p:spPr bwMode="auto">
              <a:xfrm>
                <a:off x="5359400" y="4092575"/>
                <a:ext cx="28575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4" y="14"/>
                  </a:cxn>
                  <a:cxn ang="0">
                    <a:pos x="4" y="14"/>
                  </a:cxn>
                  <a:cxn ang="0">
                    <a:pos x="6" y="16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6"/>
                  </a:cxn>
                  <a:cxn ang="0">
                    <a:pos x="16" y="14"/>
                  </a:cxn>
                  <a:cxn ang="0">
                    <a:pos x="16" y="14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8" y="4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6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2" y="0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9" name="Freeform 266"/>
              <p:cNvSpPr>
                <a:spLocks/>
              </p:cNvSpPr>
              <p:nvPr userDrawn="1"/>
            </p:nvSpPr>
            <p:spPr bwMode="auto">
              <a:xfrm>
                <a:off x="5337175" y="5267325"/>
                <a:ext cx="73025" cy="73025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6" y="0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2" y="14"/>
                  </a:cxn>
                  <a:cxn ang="0">
                    <a:pos x="0" y="22"/>
                  </a:cxn>
                  <a:cxn ang="0">
                    <a:pos x="2" y="30"/>
                  </a:cxn>
                  <a:cxn ang="0">
                    <a:pos x="8" y="38"/>
                  </a:cxn>
                  <a:cxn ang="0">
                    <a:pos x="8" y="38"/>
                  </a:cxn>
                  <a:cxn ang="0">
                    <a:pos x="16" y="44"/>
                  </a:cxn>
                  <a:cxn ang="0">
                    <a:pos x="24" y="46"/>
                  </a:cxn>
                  <a:cxn ang="0">
                    <a:pos x="24" y="46"/>
                  </a:cxn>
                  <a:cxn ang="0">
                    <a:pos x="32" y="44"/>
                  </a:cxn>
                  <a:cxn ang="0">
                    <a:pos x="40" y="38"/>
                  </a:cxn>
                  <a:cxn ang="0">
                    <a:pos x="40" y="38"/>
                  </a:cxn>
                  <a:cxn ang="0">
                    <a:pos x="44" y="30"/>
                  </a:cxn>
                  <a:cxn ang="0">
                    <a:pos x="46" y="22"/>
                  </a:cxn>
                  <a:cxn ang="0">
                    <a:pos x="44" y="14"/>
                  </a:cxn>
                  <a:cxn ang="0">
                    <a:pos x="40" y="6"/>
                  </a:cxn>
                  <a:cxn ang="0">
                    <a:pos x="40" y="6"/>
                  </a:cxn>
                  <a:cxn ang="0">
                    <a:pos x="32" y="0"/>
                  </a:cxn>
                  <a:cxn ang="0">
                    <a:pos x="24" y="0"/>
                  </a:cxn>
                </a:cxnLst>
                <a:rect l="0" t="0" r="r" b="b"/>
                <a:pathLst>
                  <a:path w="46" h="46">
                    <a:moveTo>
                      <a:pt x="24" y="0"/>
                    </a:moveTo>
                    <a:lnTo>
                      <a:pt x="24" y="0"/>
                    </a:lnTo>
                    <a:lnTo>
                      <a:pt x="16" y="0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2" y="14"/>
                    </a:lnTo>
                    <a:lnTo>
                      <a:pt x="0" y="22"/>
                    </a:lnTo>
                    <a:lnTo>
                      <a:pt x="2" y="30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16" y="44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32" y="44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4" y="30"/>
                    </a:lnTo>
                    <a:lnTo>
                      <a:pt x="46" y="22"/>
                    </a:lnTo>
                    <a:lnTo>
                      <a:pt x="44" y="14"/>
                    </a:lnTo>
                    <a:lnTo>
                      <a:pt x="40" y="6"/>
                    </a:lnTo>
                    <a:lnTo>
                      <a:pt x="40" y="6"/>
                    </a:lnTo>
                    <a:lnTo>
                      <a:pt x="32" y="0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0" name="Freeform 267"/>
              <p:cNvSpPr>
                <a:spLocks/>
              </p:cNvSpPr>
              <p:nvPr userDrawn="1"/>
            </p:nvSpPr>
            <p:spPr bwMode="auto">
              <a:xfrm>
                <a:off x="5337175" y="5267325"/>
                <a:ext cx="73025" cy="73025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6" y="0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2" y="14"/>
                  </a:cxn>
                  <a:cxn ang="0">
                    <a:pos x="0" y="22"/>
                  </a:cxn>
                  <a:cxn ang="0">
                    <a:pos x="2" y="30"/>
                  </a:cxn>
                  <a:cxn ang="0">
                    <a:pos x="8" y="38"/>
                  </a:cxn>
                  <a:cxn ang="0">
                    <a:pos x="8" y="38"/>
                  </a:cxn>
                  <a:cxn ang="0">
                    <a:pos x="16" y="44"/>
                  </a:cxn>
                  <a:cxn ang="0">
                    <a:pos x="24" y="46"/>
                  </a:cxn>
                  <a:cxn ang="0">
                    <a:pos x="24" y="46"/>
                  </a:cxn>
                  <a:cxn ang="0">
                    <a:pos x="32" y="44"/>
                  </a:cxn>
                  <a:cxn ang="0">
                    <a:pos x="40" y="38"/>
                  </a:cxn>
                  <a:cxn ang="0">
                    <a:pos x="40" y="38"/>
                  </a:cxn>
                  <a:cxn ang="0">
                    <a:pos x="44" y="30"/>
                  </a:cxn>
                  <a:cxn ang="0">
                    <a:pos x="46" y="22"/>
                  </a:cxn>
                  <a:cxn ang="0">
                    <a:pos x="44" y="14"/>
                  </a:cxn>
                  <a:cxn ang="0">
                    <a:pos x="40" y="6"/>
                  </a:cxn>
                  <a:cxn ang="0">
                    <a:pos x="40" y="6"/>
                  </a:cxn>
                  <a:cxn ang="0">
                    <a:pos x="32" y="0"/>
                  </a:cxn>
                  <a:cxn ang="0">
                    <a:pos x="24" y="0"/>
                  </a:cxn>
                </a:cxnLst>
                <a:rect l="0" t="0" r="r" b="b"/>
                <a:pathLst>
                  <a:path w="46" h="46">
                    <a:moveTo>
                      <a:pt x="24" y="0"/>
                    </a:moveTo>
                    <a:lnTo>
                      <a:pt x="24" y="0"/>
                    </a:lnTo>
                    <a:lnTo>
                      <a:pt x="16" y="0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2" y="14"/>
                    </a:lnTo>
                    <a:lnTo>
                      <a:pt x="0" y="22"/>
                    </a:lnTo>
                    <a:lnTo>
                      <a:pt x="2" y="30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16" y="44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32" y="44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4" y="30"/>
                    </a:lnTo>
                    <a:lnTo>
                      <a:pt x="46" y="22"/>
                    </a:lnTo>
                    <a:lnTo>
                      <a:pt x="44" y="14"/>
                    </a:lnTo>
                    <a:lnTo>
                      <a:pt x="40" y="6"/>
                    </a:lnTo>
                    <a:lnTo>
                      <a:pt x="40" y="6"/>
                    </a:lnTo>
                    <a:lnTo>
                      <a:pt x="32" y="0"/>
                    </a:lnTo>
                    <a:lnTo>
                      <a:pt x="2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1" name="Freeform 268"/>
              <p:cNvSpPr>
                <a:spLocks/>
              </p:cNvSpPr>
              <p:nvPr userDrawn="1"/>
            </p:nvSpPr>
            <p:spPr bwMode="auto">
              <a:xfrm>
                <a:off x="5454650" y="5346700"/>
                <a:ext cx="63500" cy="66675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2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0" y="30"/>
                  </a:cxn>
                  <a:cxn ang="0">
                    <a:pos x="6" y="36"/>
                  </a:cxn>
                  <a:cxn ang="0">
                    <a:pos x="6" y="36"/>
                  </a:cxn>
                  <a:cxn ang="0">
                    <a:pos x="12" y="40"/>
                  </a:cxn>
                  <a:cxn ang="0">
                    <a:pos x="20" y="42"/>
                  </a:cxn>
                  <a:cxn ang="0">
                    <a:pos x="20" y="42"/>
                  </a:cxn>
                  <a:cxn ang="0">
                    <a:pos x="28" y="40"/>
                  </a:cxn>
                  <a:cxn ang="0">
                    <a:pos x="34" y="36"/>
                  </a:cxn>
                  <a:cxn ang="0">
                    <a:pos x="34" y="36"/>
                  </a:cxn>
                  <a:cxn ang="0">
                    <a:pos x="38" y="30"/>
                  </a:cxn>
                  <a:cxn ang="0">
                    <a:pos x="40" y="22"/>
                  </a:cxn>
                  <a:cxn ang="0">
                    <a:pos x="38" y="14"/>
                  </a:cxn>
                  <a:cxn ang="0">
                    <a:pos x="34" y="6"/>
                  </a:cxn>
                  <a:cxn ang="0">
                    <a:pos x="34" y="6"/>
                  </a:cxn>
                  <a:cxn ang="0">
                    <a:pos x="28" y="2"/>
                  </a:cxn>
                  <a:cxn ang="0">
                    <a:pos x="20" y="0"/>
                  </a:cxn>
                </a:cxnLst>
                <a:rect l="0" t="0" r="r" b="b"/>
                <a:pathLst>
                  <a:path w="40" h="42">
                    <a:moveTo>
                      <a:pt x="20" y="0"/>
                    </a:moveTo>
                    <a:lnTo>
                      <a:pt x="20" y="0"/>
                    </a:lnTo>
                    <a:lnTo>
                      <a:pt x="12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0" y="30"/>
                    </a:lnTo>
                    <a:lnTo>
                      <a:pt x="6" y="36"/>
                    </a:lnTo>
                    <a:lnTo>
                      <a:pt x="6" y="36"/>
                    </a:lnTo>
                    <a:lnTo>
                      <a:pt x="12" y="40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8" y="40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8" y="30"/>
                    </a:lnTo>
                    <a:lnTo>
                      <a:pt x="40" y="22"/>
                    </a:lnTo>
                    <a:lnTo>
                      <a:pt x="38" y="14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28" y="2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2" name="Freeform 269"/>
              <p:cNvSpPr>
                <a:spLocks/>
              </p:cNvSpPr>
              <p:nvPr userDrawn="1"/>
            </p:nvSpPr>
            <p:spPr bwMode="auto">
              <a:xfrm>
                <a:off x="5454650" y="5346700"/>
                <a:ext cx="63500" cy="66675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2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0" y="30"/>
                  </a:cxn>
                  <a:cxn ang="0">
                    <a:pos x="6" y="36"/>
                  </a:cxn>
                  <a:cxn ang="0">
                    <a:pos x="6" y="36"/>
                  </a:cxn>
                  <a:cxn ang="0">
                    <a:pos x="12" y="40"/>
                  </a:cxn>
                  <a:cxn ang="0">
                    <a:pos x="20" y="42"/>
                  </a:cxn>
                  <a:cxn ang="0">
                    <a:pos x="20" y="42"/>
                  </a:cxn>
                  <a:cxn ang="0">
                    <a:pos x="28" y="40"/>
                  </a:cxn>
                  <a:cxn ang="0">
                    <a:pos x="34" y="36"/>
                  </a:cxn>
                  <a:cxn ang="0">
                    <a:pos x="34" y="36"/>
                  </a:cxn>
                  <a:cxn ang="0">
                    <a:pos x="38" y="30"/>
                  </a:cxn>
                  <a:cxn ang="0">
                    <a:pos x="40" y="22"/>
                  </a:cxn>
                  <a:cxn ang="0">
                    <a:pos x="38" y="14"/>
                  </a:cxn>
                  <a:cxn ang="0">
                    <a:pos x="34" y="6"/>
                  </a:cxn>
                  <a:cxn ang="0">
                    <a:pos x="34" y="6"/>
                  </a:cxn>
                  <a:cxn ang="0">
                    <a:pos x="28" y="2"/>
                  </a:cxn>
                  <a:cxn ang="0">
                    <a:pos x="20" y="0"/>
                  </a:cxn>
                </a:cxnLst>
                <a:rect l="0" t="0" r="r" b="b"/>
                <a:pathLst>
                  <a:path w="40" h="42">
                    <a:moveTo>
                      <a:pt x="20" y="0"/>
                    </a:moveTo>
                    <a:lnTo>
                      <a:pt x="20" y="0"/>
                    </a:lnTo>
                    <a:lnTo>
                      <a:pt x="12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0" y="30"/>
                    </a:lnTo>
                    <a:lnTo>
                      <a:pt x="6" y="36"/>
                    </a:lnTo>
                    <a:lnTo>
                      <a:pt x="6" y="36"/>
                    </a:lnTo>
                    <a:lnTo>
                      <a:pt x="12" y="40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8" y="40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8" y="30"/>
                    </a:lnTo>
                    <a:lnTo>
                      <a:pt x="40" y="22"/>
                    </a:lnTo>
                    <a:lnTo>
                      <a:pt x="38" y="14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28" y="2"/>
                    </a:lnTo>
                    <a:lnTo>
                      <a:pt x="2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3" name="Freeform 270"/>
              <p:cNvSpPr>
                <a:spLocks/>
              </p:cNvSpPr>
              <p:nvPr userDrawn="1"/>
            </p:nvSpPr>
            <p:spPr bwMode="auto">
              <a:xfrm>
                <a:off x="5581650" y="5410200"/>
                <a:ext cx="57150" cy="57150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10"/>
                  </a:cxn>
                  <a:cxn ang="0">
                    <a:pos x="0" y="18"/>
                  </a:cxn>
                  <a:cxn ang="0">
                    <a:pos x="0" y="24"/>
                  </a:cxn>
                  <a:cxn ang="0">
                    <a:pos x="4" y="30"/>
                  </a:cxn>
                  <a:cxn ang="0">
                    <a:pos x="4" y="30"/>
                  </a:cxn>
                  <a:cxn ang="0">
                    <a:pos x="10" y="34"/>
                  </a:cxn>
                  <a:cxn ang="0">
                    <a:pos x="18" y="36"/>
                  </a:cxn>
                  <a:cxn ang="0">
                    <a:pos x="18" y="36"/>
                  </a:cxn>
                  <a:cxn ang="0">
                    <a:pos x="24" y="34"/>
                  </a:cxn>
                  <a:cxn ang="0">
                    <a:pos x="30" y="30"/>
                  </a:cxn>
                  <a:cxn ang="0">
                    <a:pos x="30" y="30"/>
                  </a:cxn>
                  <a:cxn ang="0">
                    <a:pos x="34" y="24"/>
                  </a:cxn>
                  <a:cxn ang="0">
                    <a:pos x="36" y="18"/>
                  </a:cxn>
                  <a:cxn ang="0">
                    <a:pos x="34" y="10"/>
                  </a:cxn>
                  <a:cxn ang="0">
                    <a:pos x="30" y="4"/>
                  </a:cxn>
                  <a:cxn ang="0">
                    <a:pos x="30" y="4"/>
                  </a:cxn>
                  <a:cxn ang="0">
                    <a:pos x="24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6">
                    <a:moveTo>
                      <a:pt x="18" y="0"/>
                    </a:moveTo>
                    <a:lnTo>
                      <a:pt x="18" y="0"/>
                    </a:lnTo>
                    <a:lnTo>
                      <a:pt x="10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10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10" y="34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24" y="34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4" y="24"/>
                    </a:lnTo>
                    <a:lnTo>
                      <a:pt x="36" y="18"/>
                    </a:lnTo>
                    <a:lnTo>
                      <a:pt x="34" y="10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24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4" name="Freeform 271"/>
              <p:cNvSpPr>
                <a:spLocks/>
              </p:cNvSpPr>
              <p:nvPr userDrawn="1"/>
            </p:nvSpPr>
            <p:spPr bwMode="auto">
              <a:xfrm>
                <a:off x="5581650" y="5410200"/>
                <a:ext cx="57150" cy="57150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10"/>
                  </a:cxn>
                  <a:cxn ang="0">
                    <a:pos x="0" y="18"/>
                  </a:cxn>
                  <a:cxn ang="0">
                    <a:pos x="0" y="24"/>
                  </a:cxn>
                  <a:cxn ang="0">
                    <a:pos x="4" y="30"/>
                  </a:cxn>
                  <a:cxn ang="0">
                    <a:pos x="4" y="30"/>
                  </a:cxn>
                  <a:cxn ang="0">
                    <a:pos x="10" y="34"/>
                  </a:cxn>
                  <a:cxn ang="0">
                    <a:pos x="18" y="36"/>
                  </a:cxn>
                  <a:cxn ang="0">
                    <a:pos x="18" y="36"/>
                  </a:cxn>
                  <a:cxn ang="0">
                    <a:pos x="24" y="34"/>
                  </a:cxn>
                  <a:cxn ang="0">
                    <a:pos x="30" y="30"/>
                  </a:cxn>
                  <a:cxn ang="0">
                    <a:pos x="30" y="30"/>
                  </a:cxn>
                  <a:cxn ang="0">
                    <a:pos x="34" y="24"/>
                  </a:cxn>
                  <a:cxn ang="0">
                    <a:pos x="36" y="18"/>
                  </a:cxn>
                  <a:cxn ang="0">
                    <a:pos x="34" y="10"/>
                  </a:cxn>
                  <a:cxn ang="0">
                    <a:pos x="30" y="4"/>
                  </a:cxn>
                  <a:cxn ang="0">
                    <a:pos x="30" y="4"/>
                  </a:cxn>
                  <a:cxn ang="0">
                    <a:pos x="24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6">
                    <a:moveTo>
                      <a:pt x="18" y="0"/>
                    </a:moveTo>
                    <a:lnTo>
                      <a:pt x="18" y="0"/>
                    </a:lnTo>
                    <a:lnTo>
                      <a:pt x="10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10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10" y="34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24" y="34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4" y="24"/>
                    </a:lnTo>
                    <a:lnTo>
                      <a:pt x="36" y="18"/>
                    </a:lnTo>
                    <a:lnTo>
                      <a:pt x="34" y="10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24" y="0"/>
                    </a:lnTo>
                    <a:lnTo>
                      <a:pt x="1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5" name="Freeform 272"/>
              <p:cNvSpPr>
                <a:spLocks/>
              </p:cNvSpPr>
              <p:nvPr userDrawn="1"/>
            </p:nvSpPr>
            <p:spPr bwMode="auto">
              <a:xfrm>
                <a:off x="5715000" y="5448300"/>
                <a:ext cx="53975" cy="5080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2"/>
                  </a:cxn>
                  <a:cxn ang="0">
                    <a:pos x="4" y="28"/>
                  </a:cxn>
                  <a:cxn ang="0">
                    <a:pos x="4" y="28"/>
                  </a:cxn>
                  <a:cxn ang="0">
                    <a:pos x="10" y="32"/>
                  </a:cxn>
                  <a:cxn ang="0">
                    <a:pos x="16" y="32"/>
                  </a:cxn>
                  <a:cxn ang="0">
                    <a:pos x="16" y="32"/>
                  </a:cxn>
                  <a:cxn ang="0">
                    <a:pos x="22" y="32"/>
                  </a:cxn>
                  <a:cxn ang="0">
                    <a:pos x="28" y="28"/>
                  </a:cxn>
                  <a:cxn ang="0">
                    <a:pos x="28" y="28"/>
                  </a:cxn>
                  <a:cxn ang="0">
                    <a:pos x="32" y="22"/>
                  </a:cxn>
                  <a:cxn ang="0">
                    <a:pos x="34" y="16"/>
                  </a:cxn>
                  <a:cxn ang="0">
                    <a:pos x="32" y="10"/>
                  </a:cxn>
                  <a:cxn ang="0">
                    <a:pos x="28" y="4"/>
                  </a:cxn>
                  <a:cxn ang="0">
                    <a:pos x="28" y="4"/>
                  </a:cxn>
                  <a:cxn ang="0">
                    <a:pos x="22" y="0"/>
                  </a:cxn>
                  <a:cxn ang="0">
                    <a:pos x="16" y="0"/>
                  </a:cxn>
                </a:cxnLst>
                <a:rect l="0" t="0" r="r" b="b"/>
                <a:pathLst>
                  <a:path w="34" h="32">
                    <a:moveTo>
                      <a:pt x="16" y="0"/>
                    </a:moveTo>
                    <a:lnTo>
                      <a:pt x="16" y="0"/>
                    </a:lnTo>
                    <a:lnTo>
                      <a:pt x="10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2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10" y="32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22" y="32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32" y="22"/>
                    </a:lnTo>
                    <a:lnTo>
                      <a:pt x="34" y="16"/>
                    </a:lnTo>
                    <a:lnTo>
                      <a:pt x="32" y="10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2" y="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6" name="Freeform 273"/>
              <p:cNvSpPr>
                <a:spLocks/>
              </p:cNvSpPr>
              <p:nvPr userDrawn="1"/>
            </p:nvSpPr>
            <p:spPr bwMode="auto">
              <a:xfrm>
                <a:off x="5715000" y="5448300"/>
                <a:ext cx="53975" cy="5080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2"/>
                  </a:cxn>
                  <a:cxn ang="0">
                    <a:pos x="4" y="28"/>
                  </a:cxn>
                  <a:cxn ang="0">
                    <a:pos x="4" y="28"/>
                  </a:cxn>
                  <a:cxn ang="0">
                    <a:pos x="10" y="32"/>
                  </a:cxn>
                  <a:cxn ang="0">
                    <a:pos x="16" y="32"/>
                  </a:cxn>
                  <a:cxn ang="0">
                    <a:pos x="16" y="32"/>
                  </a:cxn>
                  <a:cxn ang="0">
                    <a:pos x="22" y="32"/>
                  </a:cxn>
                  <a:cxn ang="0">
                    <a:pos x="28" y="28"/>
                  </a:cxn>
                  <a:cxn ang="0">
                    <a:pos x="28" y="28"/>
                  </a:cxn>
                  <a:cxn ang="0">
                    <a:pos x="32" y="22"/>
                  </a:cxn>
                  <a:cxn ang="0">
                    <a:pos x="34" y="16"/>
                  </a:cxn>
                  <a:cxn ang="0">
                    <a:pos x="32" y="10"/>
                  </a:cxn>
                  <a:cxn ang="0">
                    <a:pos x="28" y="4"/>
                  </a:cxn>
                  <a:cxn ang="0">
                    <a:pos x="28" y="4"/>
                  </a:cxn>
                  <a:cxn ang="0">
                    <a:pos x="22" y="0"/>
                  </a:cxn>
                  <a:cxn ang="0">
                    <a:pos x="16" y="0"/>
                  </a:cxn>
                </a:cxnLst>
                <a:rect l="0" t="0" r="r" b="b"/>
                <a:pathLst>
                  <a:path w="34" h="32">
                    <a:moveTo>
                      <a:pt x="16" y="0"/>
                    </a:moveTo>
                    <a:lnTo>
                      <a:pt x="16" y="0"/>
                    </a:lnTo>
                    <a:lnTo>
                      <a:pt x="10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2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10" y="32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22" y="32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32" y="22"/>
                    </a:lnTo>
                    <a:lnTo>
                      <a:pt x="34" y="16"/>
                    </a:lnTo>
                    <a:lnTo>
                      <a:pt x="32" y="10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2" y="0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7" name="Freeform 274"/>
              <p:cNvSpPr>
                <a:spLocks/>
              </p:cNvSpPr>
              <p:nvPr userDrawn="1"/>
            </p:nvSpPr>
            <p:spPr bwMode="auto">
              <a:xfrm>
                <a:off x="5851525" y="5461000"/>
                <a:ext cx="47625" cy="4762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6" y="26"/>
                  </a:cxn>
                  <a:cxn ang="0">
                    <a:pos x="6" y="26"/>
                  </a:cxn>
                  <a:cxn ang="0">
                    <a:pos x="10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22" y="30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30" y="20"/>
                  </a:cxn>
                  <a:cxn ang="0">
                    <a:pos x="30" y="16"/>
                  </a:cxn>
                  <a:cxn ang="0">
                    <a:pos x="30" y="10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0" h="30">
                    <a:moveTo>
                      <a:pt x="16" y="0"/>
                    </a:moveTo>
                    <a:lnTo>
                      <a:pt x="16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10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22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30" y="20"/>
                    </a:lnTo>
                    <a:lnTo>
                      <a:pt x="30" y="16"/>
                    </a:lnTo>
                    <a:lnTo>
                      <a:pt x="30" y="1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2" y="2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8" name="Freeform 275"/>
              <p:cNvSpPr>
                <a:spLocks/>
              </p:cNvSpPr>
              <p:nvPr userDrawn="1"/>
            </p:nvSpPr>
            <p:spPr bwMode="auto">
              <a:xfrm>
                <a:off x="5851525" y="5461000"/>
                <a:ext cx="47625" cy="4762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6" y="26"/>
                  </a:cxn>
                  <a:cxn ang="0">
                    <a:pos x="6" y="26"/>
                  </a:cxn>
                  <a:cxn ang="0">
                    <a:pos x="10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22" y="30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30" y="20"/>
                  </a:cxn>
                  <a:cxn ang="0">
                    <a:pos x="30" y="16"/>
                  </a:cxn>
                  <a:cxn ang="0">
                    <a:pos x="30" y="10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0" h="30">
                    <a:moveTo>
                      <a:pt x="16" y="0"/>
                    </a:moveTo>
                    <a:lnTo>
                      <a:pt x="16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10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22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30" y="20"/>
                    </a:lnTo>
                    <a:lnTo>
                      <a:pt x="30" y="16"/>
                    </a:lnTo>
                    <a:lnTo>
                      <a:pt x="30" y="1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2" y="2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9" name="Freeform 276"/>
              <p:cNvSpPr>
                <a:spLocks/>
              </p:cNvSpPr>
              <p:nvPr userDrawn="1"/>
            </p:nvSpPr>
            <p:spPr bwMode="auto">
              <a:xfrm>
                <a:off x="5991225" y="5451475"/>
                <a:ext cx="41275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4"/>
                  </a:cxn>
                  <a:cxn ang="0">
                    <a:pos x="4" y="24"/>
                  </a:cxn>
                  <a:cxn ang="0">
                    <a:pos x="8" y="26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18" y="26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6" y="18"/>
                  </a:cxn>
                  <a:cxn ang="0">
                    <a:pos x="26" y="14"/>
                  </a:cxn>
                  <a:cxn ang="0">
                    <a:pos x="26" y="8"/>
                  </a:cxn>
                  <a:cxn ang="0">
                    <a:pos x="24" y="4"/>
                  </a:cxn>
                  <a:cxn ang="0">
                    <a:pos x="24" y="4"/>
                  </a:cxn>
                  <a:cxn ang="0">
                    <a:pos x="18" y="2"/>
                  </a:cxn>
                  <a:cxn ang="0">
                    <a:pos x="14" y="0"/>
                  </a:cxn>
                </a:cxnLst>
                <a:rect l="0" t="0" r="r" b="b"/>
                <a:pathLst>
                  <a:path w="26" h="28">
                    <a:moveTo>
                      <a:pt x="14" y="0"/>
                    </a:moveTo>
                    <a:lnTo>
                      <a:pt x="14" y="0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8" y="26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8" y="26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6" y="18"/>
                    </a:lnTo>
                    <a:lnTo>
                      <a:pt x="26" y="14"/>
                    </a:lnTo>
                    <a:lnTo>
                      <a:pt x="26" y="8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18" y="2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0" name="Freeform 277"/>
              <p:cNvSpPr>
                <a:spLocks/>
              </p:cNvSpPr>
              <p:nvPr userDrawn="1"/>
            </p:nvSpPr>
            <p:spPr bwMode="auto">
              <a:xfrm>
                <a:off x="5991225" y="5451475"/>
                <a:ext cx="41275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4"/>
                  </a:cxn>
                  <a:cxn ang="0">
                    <a:pos x="4" y="24"/>
                  </a:cxn>
                  <a:cxn ang="0">
                    <a:pos x="8" y="26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18" y="26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6" y="18"/>
                  </a:cxn>
                  <a:cxn ang="0">
                    <a:pos x="26" y="14"/>
                  </a:cxn>
                  <a:cxn ang="0">
                    <a:pos x="26" y="8"/>
                  </a:cxn>
                  <a:cxn ang="0">
                    <a:pos x="24" y="4"/>
                  </a:cxn>
                  <a:cxn ang="0">
                    <a:pos x="24" y="4"/>
                  </a:cxn>
                  <a:cxn ang="0">
                    <a:pos x="18" y="2"/>
                  </a:cxn>
                  <a:cxn ang="0">
                    <a:pos x="14" y="0"/>
                  </a:cxn>
                </a:cxnLst>
                <a:rect l="0" t="0" r="r" b="b"/>
                <a:pathLst>
                  <a:path w="26" h="28">
                    <a:moveTo>
                      <a:pt x="14" y="0"/>
                    </a:moveTo>
                    <a:lnTo>
                      <a:pt x="14" y="0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8" y="26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8" y="26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6" y="18"/>
                    </a:lnTo>
                    <a:lnTo>
                      <a:pt x="26" y="14"/>
                    </a:lnTo>
                    <a:lnTo>
                      <a:pt x="26" y="8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18" y="2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1" name="Freeform 278"/>
              <p:cNvSpPr>
                <a:spLocks/>
              </p:cNvSpPr>
              <p:nvPr userDrawn="1"/>
            </p:nvSpPr>
            <p:spPr bwMode="auto">
              <a:xfrm>
                <a:off x="6124575" y="5419725"/>
                <a:ext cx="38100" cy="3810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4" y="20"/>
                  </a:cxn>
                  <a:cxn ang="0">
                    <a:pos x="4" y="20"/>
                  </a:cxn>
                  <a:cxn ang="0">
                    <a:pos x="8" y="22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2"/>
                  </a:cxn>
                  <a:cxn ang="0">
                    <a:pos x="20" y="20"/>
                  </a:cxn>
                  <a:cxn ang="0">
                    <a:pos x="20" y="20"/>
                  </a:cxn>
                  <a:cxn ang="0">
                    <a:pos x="24" y="16"/>
                  </a:cxn>
                  <a:cxn ang="0">
                    <a:pos x="24" y="12"/>
                  </a:cxn>
                  <a:cxn ang="0">
                    <a:pos x="24" y="8"/>
                  </a:cxn>
                  <a:cxn ang="0">
                    <a:pos x="20" y="4"/>
                  </a:cxn>
                  <a:cxn ang="0">
                    <a:pos x="20" y="4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8" y="22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2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24" y="16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2" name="Freeform 279"/>
              <p:cNvSpPr>
                <a:spLocks/>
              </p:cNvSpPr>
              <p:nvPr userDrawn="1"/>
            </p:nvSpPr>
            <p:spPr bwMode="auto">
              <a:xfrm>
                <a:off x="6124575" y="5419725"/>
                <a:ext cx="38100" cy="3810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4" y="20"/>
                  </a:cxn>
                  <a:cxn ang="0">
                    <a:pos x="4" y="20"/>
                  </a:cxn>
                  <a:cxn ang="0">
                    <a:pos x="8" y="22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2"/>
                  </a:cxn>
                  <a:cxn ang="0">
                    <a:pos x="20" y="20"/>
                  </a:cxn>
                  <a:cxn ang="0">
                    <a:pos x="20" y="20"/>
                  </a:cxn>
                  <a:cxn ang="0">
                    <a:pos x="24" y="16"/>
                  </a:cxn>
                  <a:cxn ang="0">
                    <a:pos x="24" y="12"/>
                  </a:cxn>
                  <a:cxn ang="0">
                    <a:pos x="24" y="8"/>
                  </a:cxn>
                  <a:cxn ang="0">
                    <a:pos x="20" y="4"/>
                  </a:cxn>
                  <a:cxn ang="0">
                    <a:pos x="20" y="4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8" y="22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2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24" y="16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6" y="0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3" name="Freeform 280"/>
              <p:cNvSpPr>
                <a:spLocks/>
              </p:cNvSpPr>
              <p:nvPr userDrawn="1"/>
            </p:nvSpPr>
            <p:spPr bwMode="auto">
              <a:xfrm>
                <a:off x="6251575" y="5362575"/>
                <a:ext cx="31750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2" y="20"/>
                  </a:cxn>
                  <a:cxn ang="0">
                    <a:pos x="6" y="22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4" y="22"/>
                  </a:cxn>
                  <a:cxn ang="0">
                    <a:pos x="18" y="20"/>
                  </a:cxn>
                  <a:cxn ang="0">
                    <a:pos x="18" y="20"/>
                  </a:cxn>
                  <a:cxn ang="0">
                    <a:pos x="20" y="16"/>
                  </a:cxn>
                  <a:cxn ang="0">
                    <a:pos x="20" y="12"/>
                  </a:cxn>
                  <a:cxn ang="0">
                    <a:pos x="20" y="8"/>
                  </a:cxn>
                  <a:cxn ang="0">
                    <a:pos x="18" y="4"/>
                  </a:cxn>
                  <a:cxn ang="0">
                    <a:pos x="18" y="4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2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6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4" y="22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20" y="16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4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4" name="Freeform 281"/>
              <p:cNvSpPr>
                <a:spLocks/>
              </p:cNvSpPr>
              <p:nvPr userDrawn="1"/>
            </p:nvSpPr>
            <p:spPr bwMode="auto">
              <a:xfrm>
                <a:off x="6251575" y="5362575"/>
                <a:ext cx="31750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2" y="20"/>
                  </a:cxn>
                  <a:cxn ang="0">
                    <a:pos x="6" y="22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4" y="22"/>
                  </a:cxn>
                  <a:cxn ang="0">
                    <a:pos x="18" y="20"/>
                  </a:cxn>
                  <a:cxn ang="0">
                    <a:pos x="18" y="20"/>
                  </a:cxn>
                  <a:cxn ang="0">
                    <a:pos x="20" y="16"/>
                  </a:cxn>
                  <a:cxn ang="0">
                    <a:pos x="20" y="12"/>
                  </a:cxn>
                  <a:cxn ang="0">
                    <a:pos x="20" y="8"/>
                  </a:cxn>
                  <a:cxn ang="0">
                    <a:pos x="18" y="4"/>
                  </a:cxn>
                  <a:cxn ang="0">
                    <a:pos x="18" y="4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2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6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4" y="22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20" y="16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4" y="2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5" name="Freeform 282"/>
              <p:cNvSpPr>
                <a:spLocks/>
              </p:cNvSpPr>
              <p:nvPr userDrawn="1"/>
            </p:nvSpPr>
            <p:spPr bwMode="auto">
              <a:xfrm>
                <a:off x="6362700" y="5286375"/>
                <a:ext cx="31750" cy="3175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8"/>
                  </a:cxn>
                  <a:cxn ang="0">
                    <a:pos x="4" y="18"/>
                  </a:cxn>
                  <a:cxn ang="0">
                    <a:pos x="6" y="20"/>
                  </a:cxn>
                  <a:cxn ang="0">
                    <a:pos x="10" y="20"/>
                  </a:cxn>
                  <a:cxn ang="0">
                    <a:pos x="10" y="20"/>
                  </a:cxn>
                  <a:cxn ang="0">
                    <a:pos x="14" y="20"/>
                  </a:cxn>
                  <a:cxn ang="0">
                    <a:pos x="18" y="18"/>
                  </a:cxn>
                  <a:cxn ang="0">
                    <a:pos x="18" y="18"/>
                  </a:cxn>
                  <a:cxn ang="0">
                    <a:pos x="20" y="14"/>
                  </a:cxn>
                  <a:cxn ang="0">
                    <a:pos x="20" y="10"/>
                  </a:cxn>
                  <a:cxn ang="0">
                    <a:pos x="20" y="6"/>
                  </a:cxn>
                  <a:cxn ang="0">
                    <a:pos x="18" y="4"/>
                  </a:cxn>
                  <a:cxn ang="0">
                    <a:pos x="18" y="4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0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6" y="20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4" y="20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20" y="14"/>
                    </a:lnTo>
                    <a:lnTo>
                      <a:pt x="20" y="10"/>
                    </a:lnTo>
                    <a:lnTo>
                      <a:pt x="20" y="6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4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6" name="Freeform 283"/>
              <p:cNvSpPr>
                <a:spLocks/>
              </p:cNvSpPr>
              <p:nvPr userDrawn="1"/>
            </p:nvSpPr>
            <p:spPr bwMode="auto">
              <a:xfrm>
                <a:off x="6362700" y="5286375"/>
                <a:ext cx="31750" cy="3175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8"/>
                  </a:cxn>
                  <a:cxn ang="0">
                    <a:pos x="4" y="18"/>
                  </a:cxn>
                  <a:cxn ang="0">
                    <a:pos x="6" y="20"/>
                  </a:cxn>
                  <a:cxn ang="0">
                    <a:pos x="10" y="20"/>
                  </a:cxn>
                  <a:cxn ang="0">
                    <a:pos x="10" y="20"/>
                  </a:cxn>
                  <a:cxn ang="0">
                    <a:pos x="14" y="20"/>
                  </a:cxn>
                  <a:cxn ang="0">
                    <a:pos x="18" y="18"/>
                  </a:cxn>
                  <a:cxn ang="0">
                    <a:pos x="18" y="18"/>
                  </a:cxn>
                  <a:cxn ang="0">
                    <a:pos x="20" y="14"/>
                  </a:cxn>
                  <a:cxn ang="0">
                    <a:pos x="20" y="10"/>
                  </a:cxn>
                  <a:cxn ang="0">
                    <a:pos x="20" y="6"/>
                  </a:cxn>
                  <a:cxn ang="0">
                    <a:pos x="18" y="4"/>
                  </a:cxn>
                  <a:cxn ang="0">
                    <a:pos x="18" y="4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0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6" y="20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4" y="20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20" y="14"/>
                    </a:lnTo>
                    <a:lnTo>
                      <a:pt x="20" y="10"/>
                    </a:lnTo>
                    <a:lnTo>
                      <a:pt x="20" y="6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4" y="2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7" name="Freeform 284"/>
              <p:cNvSpPr>
                <a:spLocks/>
              </p:cNvSpPr>
              <p:nvPr userDrawn="1"/>
            </p:nvSpPr>
            <p:spPr bwMode="auto">
              <a:xfrm>
                <a:off x="6461125" y="5191125"/>
                <a:ext cx="28575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6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8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18" y="12"/>
                  </a:cxn>
                  <a:cxn ang="0">
                    <a:pos x="18" y="10"/>
                  </a:cxn>
                  <a:cxn ang="0">
                    <a:pos x="18" y="6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2" y="2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6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8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8" y="12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2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8" name="Freeform 285"/>
              <p:cNvSpPr>
                <a:spLocks/>
              </p:cNvSpPr>
              <p:nvPr userDrawn="1"/>
            </p:nvSpPr>
            <p:spPr bwMode="auto">
              <a:xfrm>
                <a:off x="6461125" y="5191125"/>
                <a:ext cx="28575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6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8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18" y="12"/>
                  </a:cxn>
                  <a:cxn ang="0">
                    <a:pos x="18" y="10"/>
                  </a:cxn>
                  <a:cxn ang="0">
                    <a:pos x="18" y="6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2" y="2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6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8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8" y="12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2" y="2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9" name="Freeform 286"/>
              <p:cNvSpPr>
                <a:spLocks/>
              </p:cNvSpPr>
              <p:nvPr userDrawn="1"/>
            </p:nvSpPr>
            <p:spPr bwMode="auto">
              <a:xfrm>
                <a:off x="5619750" y="5295900"/>
                <a:ext cx="60325" cy="63500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2"/>
                  </a:cxn>
                  <a:cxn ang="0">
                    <a:pos x="8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2" y="30"/>
                  </a:cxn>
                  <a:cxn ang="0">
                    <a:pos x="6" y="36"/>
                  </a:cxn>
                  <a:cxn ang="0">
                    <a:pos x="14" y="40"/>
                  </a:cxn>
                  <a:cxn ang="0">
                    <a:pos x="14" y="40"/>
                  </a:cxn>
                  <a:cxn ang="0">
                    <a:pos x="18" y="40"/>
                  </a:cxn>
                  <a:cxn ang="0">
                    <a:pos x="18" y="40"/>
                  </a:cxn>
                  <a:cxn ang="0">
                    <a:pos x="26" y="38"/>
                  </a:cxn>
                  <a:cxn ang="0">
                    <a:pos x="30" y="36"/>
                  </a:cxn>
                  <a:cxn ang="0">
                    <a:pos x="34" y="32"/>
                  </a:cxn>
                  <a:cxn ang="0">
                    <a:pos x="38" y="26"/>
                  </a:cxn>
                  <a:cxn ang="0">
                    <a:pos x="38" y="26"/>
                  </a:cxn>
                  <a:cxn ang="0">
                    <a:pos x="38" y="18"/>
                  </a:cxn>
                  <a:cxn ang="0">
                    <a:pos x="36" y="10"/>
                  </a:cxn>
                  <a:cxn ang="0">
                    <a:pos x="30" y="4"/>
                  </a:cxn>
                  <a:cxn ang="0">
                    <a:pos x="24" y="2"/>
                  </a:cxn>
                  <a:cxn ang="0">
                    <a:pos x="24" y="2"/>
                  </a:cxn>
                  <a:cxn ang="0">
                    <a:pos x="18" y="0"/>
                  </a:cxn>
                </a:cxnLst>
                <a:rect l="0" t="0" r="r" b="b"/>
                <a:pathLst>
                  <a:path w="38" h="40">
                    <a:moveTo>
                      <a:pt x="18" y="0"/>
                    </a:moveTo>
                    <a:lnTo>
                      <a:pt x="18" y="0"/>
                    </a:lnTo>
                    <a:lnTo>
                      <a:pt x="12" y="2"/>
                    </a:lnTo>
                    <a:lnTo>
                      <a:pt x="8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2" y="30"/>
                    </a:lnTo>
                    <a:lnTo>
                      <a:pt x="6" y="36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26" y="38"/>
                    </a:lnTo>
                    <a:lnTo>
                      <a:pt x="30" y="36"/>
                    </a:lnTo>
                    <a:lnTo>
                      <a:pt x="34" y="32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18"/>
                    </a:lnTo>
                    <a:lnTo>
                      <a:pt x="36" y="10"/>
                    </a:lnTo>
                    <a:lnTo>
                      <a:pt x="30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0" name="Freeform 287"/>
              <p:cNvSpPr>
                <a:spLocks/>
              </p:cNvSpPr>
              <p:nvPr userDrawn="1"/>
            </p:nvSpPr>
            <p:spPr bwMode="auto">
              <a:xfrm>
                <a:off x="5619750" y="5295900"/>
                <a:ext cx="60325" cy="63500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2"/>
                  </a:cxn>
                  <a:cxn ang="0">
                    <a:pos x="8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2" y="30"/>
                  </a:cxn>
                  <a:cxn ang="0">
                    <a:pos x="6" y="36"/>
                  </a:cxn>
                  <a:cxn ang="0">
                    <a:pos x="14" y="40"/>
                  </a:cxn>
                  <a:cxn ang="0">
                    <a:pos x="14" y="40"/>
                  </a:cxn>
                  <a:cxn ang="0">
                    <a:pos x="18" y="40"/>
                  </a:cxn>
                  <a:cxn ang="0">
                    <a:pos x="18" y="40"/>
                  </a:cxn>
                  <a:cxn ang="0">
                    <a:pos x="26" y="38"/>
                  </a:cxn>
                  <a:cxn ang="0">
                    <a:pos x="30" y="36"/>
                  </a:cxn>
                  <a:cxn ang="0">
                    <a:pos x="34" y="32"/>
                  </a:cxn>
                  <a:cxn ang="0">
                    <a:pos x="38" y="26"/>
                  </a:cxn>
                  <a:cxn ang="0">
                    <a:pos x="38" y="26"/>
                  </a:cxn>
                  <a:cxn ang="0">
                    <a:pos x="38" y="18"/>
                  </a:cxn>
                  <a:cxn ang="0">
                    <a:pos x="36" y="10"/>
                  </a:cxn>
                  <a:cxn ang="0">
                    <a:pos x="30" y="4"/>
                  </a:cxn>
                  <a:cxn ang="0">
                    <a:pos x="24" y="2"/>
                  </a:cxn>
                  <a:cxn ang="0">
                    <a:pos x="24" y="2"/>
                  </a:cxn>
                  <a:cxn ang="0">
                    <a:pos x="18" y="0"/>
                  </a:cxn>
                </a:cxnLst>
                <a:rect l="0" t="0" r="r" b="b"/>
                <a:pathLst>
                  <a:path w="38" h="40">
                    <a:moveTo>
                      <a:pt x="18" y="0"/>
                    </a:moveTo>
                    <a:lnTo>
                      <a:pt x="18" y="0"/>
                    </a:lnTo>
                    <a:lnTo>
                      <a:pt x="12" y="2"/>
                    </a:lnTo>
                    <a:lnTo>
                      <a:pt x="8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2" y="30"/>
                    </a:lnTo>
                    <a:lnTo>
                      <a:pt x="6" y="36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26" y="38"/>
                    </a:lnTo>
                    <a:lnTo>
                      <a:pt x="30" y="36"/>
                    </a:lnTo>
                    <a:lnTo>
                      <a:pt x="34" y="32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18"/>
                    </a:lnTo>
                    <a:lnTo>
                      <a:pt x="36" y="10"/>
                    </a:lnTo>
                    <a:lnTo>
                      <a:pt x="30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1" name="Freeform 288"/>
              <p:cNvSpPr>
                <a:spLocks/>
              </p:cNvSpPr>
              <p:nvPr userDrawn="1"/>
            </p:nvSpPr>
            <p:spPr bwMode="auto">
              <a:xfrm>
                <a:off x="5518150" y="5251450"/>
                <a:ext cx="53975" cy="5397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0"/>
                  </a:cxn>
                  <a:cxn ang="0">
                    <a:pos x="6" y="4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20"/>
                  </a:cxn>
                  <a:cxn ang="0">
                    <a:pos x="2" y="26"/>
                  </a:cxn>
                  <a:cxn ang="0">
                    <a:pos x="6" y="32"/>
                  </a:cxn>
                  <a:cxn ang="0">
                    <a:pos x="12" y="34"/>
                  </a:cxn>
                  <a:cxn ang="0">
                    <a:pos x="12" y="34"/>
                  </a:cxn>
                  <a:cxn ang="0">
                    <a:pos x="16" y="34"/>
                  </a:cxn>
                  <a:cxn ang="0">
                    <a:pos x="16" y="34"/>
                  </a:cxn>
                  <a:cxn ang="0">
                    <a:pos x="22" y="34"/>
                  </a:cxn>
                  <a:cxn ang="0">
                    <a:pos x="28" y="32"/>
                  </a:cxn>
                  <a:cxn ang="0">
                    <a:pos x="32" y="28"/>
                  </a:cxn>
                  <a:cxn ang="0">
                    <a:pos x="34" y="22"/>
                  </a:cxn>
                  <a:cxn ang="0">
                    <a:pos x="34" y="22"/>
                  </a:cxn>
                  <a:cxn ang="0">
                    <a:pos x="34" y="16"/>
                  </a:cxn>
                  <a:cxn ang="0">
                    <a:pos x="32" y="8"/>
                  </a:cxn>
                  <a:cxn ang="0">
                    <a:pos x="28" y="4"/>
                  </a:cxn>
                  <a:cxn ang="0">
                    <a:pos x="22" y="0"/>
                  </a:cxn>
                  <a:cxn ang="0">
                    <a:pos x="22" y="0"/>
                  </a:cxn>
                  <a:cxn ang="0">
                    <a:pos x="16" y="0"/>
                  </a:cxn>
                </a:cxnLst>
                <a:rect l="0" t="0" r="r" b="b"/>
                <a:pathLst>
                  <a:path w="34" h="34">
                    <a:moveTo>
                      <a:pt x="16" y="0"/>
                    </a:moveTo>
                    <a:lnTo>
                      <a:pt x="16" y="0"/>
                    </a:lnTo>
                    <a:lnTo>
                      <a:pt x="12" y="0"/>
                    </a:lnTo>
                    <a:lnTo>
                      <a:pt x="6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20"/>
                    </a:lnTo>
                    <a:lnTo>
                      <a:pt x="2" y="26"/>
                    </a:lnTo>
                    <a:lnTo>
                      <a:pt x="6" y="32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22" y="34"/>
                    </a:lnTo>
                    <a:lnTo>
                      <a:pt x="28" y="32"/>
                    </a:lnTo>
                    <a:lnTo>
                      <a:pt x="32" y="28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16"/>
                    </a:lnTo>
                    <a:lnTo>
                      <a:pt x="32" y="8"/>
                    </a:lnTo>
                    <a:lnTo>
                      <a:pt x="28" y="4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2" name="Freeform 289"/>
              <p:cNvSpPr>
                <a:spLocks/>
              </p:cNvSpPr>
              <p:nvPr userDrawn="1"/>
            </p:nvSpPr>
            <p:spPr bwMode="auto">
              <a:xfrm>
                <a:off x="5518150" y="5251450"/>
                <a:ext cx="53975" cy="5397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0"/>
                  </a:cxn>
                  <a:cxn ang="0">
                    <a:pos x="6" y="4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20"/>
                  </a:cxn>
                  <a:cxn ang="0">
                    <a:pos x="2" y="26"/>
                  </a:cxn>
                  <a:cxn ang="0">
                    <a:pos x="6" y="32"/>
                  </a:cxn>
                  <a:cxn ang="0">
                    <a:pos x="12" y="34"/>
                  </a:cxn>
                  <a:cxn ang="0">
                    <a:pos x="12" y="34"/>
                  </a:cxn>
                  <a:cxn ang="0">
                    <a:pos x="16" y="34"/>
                  </a:cxn>
                  <a:cxn ang="0">
                    <a:pos x="16" y="34"/>
                  </a:cxn>
                  <a:cxn ang="0">
                    <a:pos x="22" y="34"/>
                  </a:cxn>
                  <a:cxn ang="0">
                    <a:pos x="28" y="32"/>
                  </a:cxn>
                  <a:cxn ang="0">
                    <a:pos x="32" y="28"/>
                  </a:cxn>
                  <a:cxn ang="0">
                    <a:pos x="34" y="22"/>
                  </a:cxn>
                  <a:cxn ang="0">
                    <a:pos x="34" y="22"/>
                  </a:cxn>
                  <a:cxn ang="0">
                    <a:pos x="34" y="16"/>
                  </a:cxn>
                  <a:cxn ang="0">
                    <a:pos x="32" y="8"/>
                  </a:cxn>
                  <a:cxn ang="0">
                    <a:pos x="28" y="4"/>
                  </a:cxn>
                  <a:cxn ang="0">
                    <a:pos x="22" y="0"/>
                  </a:cxn>
                  <a:cxn ang="0">
                    <a:pos x="22" y="0"/>
                  </a:cxn>
                  <a:cxn ang="0">
                    <a:pos x="16" y="0"/>
                  </a:cxn>
                </a:cxnLst>
                <a:rect l="0" t="0" r="r" b="b"/>
                <a:pathLst>
                  <a:path w="34" h="34">
                    <a:moveTo>
                      <a:pt x="16" y="0"/>
                    </a:moveTo>
                    <a:lnTo>
                      <a:pt x="16" y="0"/>
                    </a:lnTo>
                    <a:lnTo>
                      <a:pt x="12" y="0"/>
                    </a:lnTo>
                    <a:lnTo>
                      <a:pt x="6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20"/>
                    </a:lnTo>
                    <a:lnTo>
                      <a:pt x="2" y="26"/>
                    </a:lnTo>
                    <a:lnTo>
                      <a:pt x="6" y="32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22" y="34"/>
                    </a:lnTo>
                    <a:lnTo>
                      <a:pt x="28" y="32"/>
                    </a:lnTo>
                    <a:lnTo>
                      <a:pt x="32" y="28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16"/>
                    </a:lnTo>
                    <a:lnTo>
                      <a:pt x="32" y="8"/>
                    </a:lnTo>
                    <a:lnTo>
                      <a:pt x="28" y="4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3" name="Freeform 290"/>
              <p:cNvSpPr>
                <a:spLocks/>
              </p:cNvSpPr>
              <p:nvPr userDrawn="1"/>
            </p:nvSpPr>
            <p:spPr bwMode="auto">
              <a:xfrm>
                <a:off x="5426075" y="5187950"/>
                <a:ext cx="47625" cy="5080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0"/>
                  </a:cxn>
                  <a:cxn ang="0">
                    <a:pos x="6" y="4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6" y="28"/>
                  </a:cxn>
                  <a:cxn ang="0">
                    <a:pos x="12" y="30"/>
                  </a:cxn>
                  <a:cxn ang="0">
                    <a:pos x="12" y="30"/>
                  </a:cxn>
                  <a:cxn ang="0">
                    <a:pos x="16" y="32"/>
                  </a:cxn>
                  <a:cxn ang="0">
                    <a:pos x="16" y="32"/>
                  </a:cxn>
                  <a:cxn ang="0">
                    <a:pos x="20" y="30"/>
                  </a:cxn>
                  <a:cxn ang="0">
                    <a:pos x="24" y="28"/>
                  </a:cxn>
                  <a:cxn ang="0">
                    <a:pos x="28" y="24"/>
                  </a:cxn>
                  <a:cxn ang="0">
                    <a:pos x="30" y="20"/>
                  </a:cxn>
                  <a:cxn ang="0">
                    <a:pos x="30" y="20"/>
                  </a:cxn>
                  <a:cxn ang="0">
                    <a:pos x="30" y="14"/>
                  </a:cxn>
                  <a:cxn ang="0">
                    <a:pos x="28" y="8"/>
                  </a:cxn>
                  <a:cxn ang="0">
                    <a:pos x="24" y="4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6" y="0"/>
                  </a:cxn>
                </a:cxnLst>
                <a:rect l="0" t="0" r="r" b="b"/>
                <a:pathLst>
                  <a:path w="30" h="32">
                    <a:moveTo>
                      <a:pt x="16" y="0"/>
                    </a:moveTo>
                    <a:lnTo>
                      <a:pt x="16" y="0"/>
                    </a:lnTo>
                    <a:lnTo>
                      <a:pt x="10" y="0"/>
                    </a:lnTo>
                    <a:lnTo>
                      <a:pt x="6" y="4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6" y="28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20" y="30"/>
                    </a:lnTo>
                    <a:lnTo>
                      <a:pt x="24" y="28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14"/>
                    </a:lnTo>
                    <a:lnTo>
                      <a:pt x="28" y="8"/>
                    </a:lnTo>
                    <a:lnTo>
                      <a:pt x="24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4" name="Freeform 291"/>
              <p:cNvSpPr>
                <a:spLocks/>
              </p:cNvSpPr>
              <p:nvPr userDrawn="1"/>
            </p:nvSpPr>
            <p:spPr bwMode="auto">
              <a:xfrm>
                <a:off x="5426075" y="5187950"/>
                <a:ext cx="47625" cy="5080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0"/>
                  </a:cxn>
                  <a:cxn ang="0">
                    <a:pos x="6" y="4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6" y="28"/>
                  </a:cxn>
                  <a:cxn ang="0">
                    <a:pos x="12" y="30"/>
                  </a:cxn>
                  <a:cxn ang="0">
                    <a:pos x="12" y="30"/>
                  </a:cxn>
                  <a:cxn ang="0">
                    <a:pos x="16" y="32"/>
                  </a:cxn>
                  <a:cxn ang="0">
                    <a:pos x="16" y="32"/>
                  </a:cxn>
                  <a:cxn ang="0">
                    <a:pos x="20" y="30"/>
                  </a:cxn>
                  <a:cxn ang="0">
                    <a:pos x="24" y="28"/>
                  </a:cxn>
                  <a:cxn ang="0">
                    <a:pos x="28" y="24"/>
                  </a:cxn>
                  <a:cxn ang="0">
                    <a:pos x="30" y="20"/>
                  </a:cxn>
                  <a:cxn ang="0">
                    <a:pos x="30" y="20"/>
                  </a:cxn>
                  <a:cxn ang="0">
                    <a:pos x="30" y="14"/>
                  </a:cxn>
                  <a:cxn ang="0">
                    <a:pos x="28" y="8"/>
                  </a:cxn>
                  <a:cxn ang="0">
                    <a:pos x="24" y="4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6" y="0"/>
                  </a:cxn>
                </a:cxnLst>
                <a:rect l="0" t="0" r="r" b="b"/>
                <a:pathLst>
                  <a:path w="30" h="32">
                    <a:moveTo>
                      <a:pt x="16" y="0"/>
                    </a:moveTo>
                    <a:lnTo>
                      <a:pt x="16" y="0"/>
                    </a:lnTo>
                    <a:lnTo>
                      <a:pt x="10" y="0"/>
                    </a:lnTo>
                    <a:lnTo>
                      <a:pt x="6" y="4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6" y="28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20" y="30"/>
                    </a:lnTo>
                    <a:lnTo>
                      <a:pt x="24" y="28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14"/>
                    </a:lnTo>
                    <a:lnTo>
                      <a:pt x="28" y="8"/>
                    </a:lnTo>
                    <a:lnTo>
                      <a:pt x="24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5" name="Freeform 292"/>
              <p:cNvSpPr>
                <a:spLocks/>
              </p:cNvSpPr>
              <p:nvPr userDrawn="1"/>
            </p:nvSpPr>
            <p:spPr bwMode="auto">
              <a:xfrm>
                <a:off x="5346700" y="5108575"/>
                <a:ext cx="44450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0" y="16"/>
                  </a:cxn>
                  <a:cxn ang="0">
                    <a:pos x="2" y="22"/>
                  </a:cxn>
                  <a:cxn ang="0">
                    <a:pos x="4" y="26"/>
                  </a:cxn>
                  <a:cxn ang="0">
                    <a:pos x="10" y="28"/>
                  </a:cxn>
                  <a:cxn ang="0">
                    <a:pos x="10" y="28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18" y="28"/>
                  </a:cxn>
                  <a:cxn ang="0">
                    <a:pos x="22" y="26"/>
                  </a:cxn>
                  <a:cxn ang="0">
                    <a:pos x="26" y="22"/>
                  </a:cxn>
                  <a:cxn ang="0">
                    <a:pos x="28" y="18"/>
                  </a:cxn>
                  <a:cxn ang="0">
                    <a:pos x="28" y="18"/>
                  </a:cxn>
                  <a:cxn ang="0">
                    <a:pos x="28" y="12"/>
                  </a:cxn>
                  <a:cxn ang="0">
                    <a:pos x="26" y="6"/>
                  </a:cxn>
                  <a:cxn ang="0">
                    <a:pos x="22" y="2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14" y="0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lnTo>
                      <a:pt x="14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2" y="22"/>
                    </a:lnTo>
                    <a:lnTo>
                      <a:pt x="4" y="26"/>
                    </a:lnTo>
                    <a:lnTo>
                      <a:pt x="10" y="28"/>
                    </a:lnTo>
                    <a:lnTo>
                      <a:pt x="10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8" y="28"/>
                    </a:lnTo>
                    <a:lnTo>
                      <a:pt x="22" y="26"/>
                    </a:lnTo>
                    <a:lnTo>
                      <a:pt x="26" y="22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8" y="12"/>
                    </a:lnTo>
                    <a:lnTo>
                      <a:pt x="26" y="6"/>
                    </a:lnTo>
                    <a:lnTo>
                      <a:pt x="22" y="2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6" name="Freeform 293"/>
              <p:cNvSpPr>
                <a:spLocks/>
              </p:cNvSpPr>
              <p:nvPr userDrawn="1"/>
            </p:nvSpPr>
            <p:spPr bwMode="auto">
              <a:xfrm>
                <a:off x="5346700" y="5108575"/>
                <a:ext cx="44450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0" y="16"/>
                  </a:cxn>
                  <a:cxn ang="0">
                    <a:pos x="2" y="22"/>
                  </a:cxn>
                  <a:cxn ang="0">
                    <a:pos x="4" y="26"/>
                  </a:cxn>
                  <a:cxn ang="0">
                    <a:pos x="10" y="28"/>
                  </a:cxn>
                  <a:cxn ang="0">
                    <a:pos x="10" y="28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18" y="28"/>
                  </a:cxn>
                  <a:cxn ang="0">
                    <a:pos x="22" y="26"/>
                  </a:cxn>
                  <a:cxn ang="0">
                    <a:pos x="26" y="22"/>
                  </a:cxn>
                  <a:cxn ang="0">
                    <a:pos x="28" y="18"/>
                  </a:cxn>
                  <a:cxn ang="0">
                    <a:pos x="28" y="18"/>
                  </a:cxn>
                  <a:cxn ang="0">
                    <a:pos x="28" y="12"/>
                  </a:cxn>
                  <a:cxn ang="0">
                    <a:pos x="26" y="6"/>
                  </a:cxn>
                  <a:cxn ang="0">
                    <a:pos x="22" y="2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14" y="0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lnTo>
                      <a:pt x="14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2" y="22"/>
                    </a:lnTo>
                    <a:lnTo>
                      <a:pt x="4" y="26"/>
                    </a:lnTo>
                    <a:lnTo>
                      <a:pt x="10" y="28"/>
                    </a:lnTo>
                    <a:lnTo>
                      <a:pt x="10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8" y="28"/>
                    </a:lnTo>
                    <a:lnTo>
                      <a:pt x="22" y="26"/>
                    </a:lnTo>
                    <a:lnTo>
                      <a:pt x="26" y="22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8" y="12"/>
                    </a:lnTo>
                    <a:lnTo>
                      <a:pt x="26" y="6"/>
                    </a:lnTo>
                    <a:lnTo>
                      <a:pt x="22" y="2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7" name="Freeform 294"/>
              <p:cNvSpPr>
                <a:spLocks/>
              </p:cNvSpPr>
              <p:nvPr userDrawn="1"/>
            </p:nvSpPr>
            <p:spPr bwMode="auto">
              <a:xfrm>
                <a:off x="5283200" y="5016500"/>
                <a:ext cx="38100" cy="4127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2"/>
                  </a:cxn>
                  <a:cxn ang="0">
                    <a:pos x="8" y="24"/>
                  </a:cxn>
                  <a:cxn ang="0">
                    <a:pos x="8" y="24"/>
                  </a:cxn>
                  <a:cxn ang="0">
                    <a:pos x="12" y="26"/>
                  </a:cxn>
                  <a:cxn ang="0">
                    <a:pos x="12" y="26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2" y="20"/>
                  </a:cxn>
                  <a:cxn ang="0">
                    <a:pos x="24" y="16"/>
                  </a:cxn>
                  <a:cxn ang="0">
                    <a:pos x="24" y="16"/>
                  </a:cxn>
                  <a:cxn ang="0">
                    <a:pos x="24" y="10"/>
                  </a:cxn>
                  <a:cxn ang="0">
                    <a:pos x="22" y="6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6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2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2" y="20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0"/>
                    </a:lnTo>
                    <a:lnTo>
                      <a:pt x="22" y="6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8" name="Freeform 295"/>
              <p:cNvSpPr>
                <a:spLocks/>
              </p:cNvSpPr>
              <p:nvPr userDrawn="1"/>
            </p:nvSpPr>
            <p:spPr bwMode="auto">
              <a:xfrm>
                <a:off x="5283200" y="5016500"/>
                <a:ext cx="38100" cy="4127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2"/>
                  </a:cxn>
                  <a:cxn ang="0">
                    <a:pos x="8" y="24"/>
                  </a:cxn>
                  <a:cxn ang="0">
                    <a:pos x="8" y="24"/>
                  </a:cxn>
                  <a:cxn ang="0">
                    <a:pos x="12" y="26"/>
                  </a:cxn>
                  <a:cxn ang="0">
                    <a:pos x="12" y="26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2" y="20"/>
                  </a:cxn>
                  <a:cxn ang="0">
                    <a:pos x="24" y="16"/>
                  </a:cxn>
                  <a:cxn ang="0">
                    <a:pos x="24" y="16"/>
                  </a:cxn>
                  <a:cxn ang="0">
                    <a:pos x="24" y="10"/>
                  </a:cxn>
                  <a:cxn ang="0">
                    <a:pos x="22" y="6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6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2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2" y="20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0"/>
                    </a:lnTo>
                    <a:lnTo>
                      <a:pt x="22" y="6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9" name="Freeform 296"/>
              <p:cNvSpPr>
                <a:spLocks/>
              </p:cNvSpPr>
              <p:nvPr userDrawn="1"/>
            </p:nvSpPr>
            <p:spPr bwMode="auto">
              <a:xfrm>
                <a:off x="5235575" y="4911725"/>
                <a:ext cx="34925" cy="3810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2"/>
                  </a:cxn>
                  <a:cxn ang="0">
                    <a:pos x="4" y="4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2"/>
                  </a:cxn>
                  <a:cxn ang="0">
                    <a:pos x="8" y="24"/>
                  </a:cxn>
                  <a:cxn ang="0">
                    <a:pos x="8" y="24"/>
                  </a:cxn>
                  <a:cxn ang="0">
                    <a:pos x="10" y="24"/>
                  </a:cxn>
                  <a:cxn ang="0">
                    <a:pos x="10" y="24"/>
                  </a:cxn>
                  <a:cxn ang="0">
                    <a:pos x="14" y="24"/>
                  </a:cxn>
                  <a:cxn ang="0">
                    <a:pos x="18" y="22"/>
                  </a:cxn>
                  <a:cxn ang="0">
                    <a:pos x="20" y="18"/>
                  </a:cxn>
                  <a:cxn ang="0">
                    <a:pos x="22" y="16"/>
                  </a:cxn>
                  <a:cxn ang="0">
                    <a:pos x="22" y="16"/>
                  </a:cxn>
                  <a:cxn ang="0">
                    <a:pos x="22" y="10"/>
                  </a:cxn>
                  <a:cxn ang="0">
                    <a:pos x="20" y="6"/>
                  </a:cxn>
                  <a:cxn ang="0">
                    <a:pos x="18" y="4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22" h="24">
                    <a:moveTo>
                      <a:pt x="10" y="0"/>
                    </a:moveTo>
                    <a:lnTo>
                      <a:pt x="10" y="0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2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10" y="24"/>
                    </a:lnTo>
                    <a:lnTo>
                      <a:pt x="10" y="24"/>
                    </a:lnTo>
                    <a:lnTo>
                      <a:pt x="14" y="24"/>
                    </a:lnTo>
                    <a:lnTo>
                      <a:pt x="18" y="22"/>
                    </a:lnTo>
                    <a:lnTo>
                      <a:pt x="20" y="18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2" y="10"/>
                    </a:lnTo>
                    <a:lnTo>
                      <a:pt x="20" y="6"/>
                    </a:lnTo>
                    <a:lnTo>
                      <a:pt x="18" y="4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0" name="Freeform 297"/>
              <p:cNvSpPr>
                <a:spLocks/>
              </p:cNvSpPr>
              <p:nvPr userDrawn="1"/>
            </p:nvSpPr>
            <p:spPr bwMode="auto">
              <a:xfrm>
                <a:off x="5235575" y="4911725"/>
                <a:ext cx="34925" cy="3810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2"/>
                  </a:cxn>
                  <a:cxn ang="0">
                    <a:pos x="4" y="4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2"/>
                  </a:cxn>
                  <a:cxn ang="0">
                    <a:pos x="8" y="24"/>
                  </a:cxn>
                  <a:cxn ang="0">
                    <a:pos x="8" y="24"/>
                  </a:cxn>
                  <a:cxn ang="0">
                    <a:pos x="10" y="24"/>
                  </a:cxn>
                  <a:cxn ang="0">
                    <a:pos x="10" y="24"/>
                  </a:cxn>
                  <a:cxn ang="0">
                    <a:pos x="14" y="24"/>
                  </a:cxn>
                  <a:cxn ang="0">
                    <a:pos x="18" y="22"/>
                  </a:cxn>
                  <a:cxn ang="0">
                    <a:pos x="20" y="18"/>
                  </a:cxn>
                  <a:cxn ang="0">
                    <a:pos x="22" y="16"/>
                  </a:cxn>
                  <a:cxn ang="0">
                    <a:pos x="22" y="16"/>
                  </a:cxn>
                  <a:cxn ang="0">
                    <a:pos x="22" y="10"/>
                  </a:cxn>
                  <a:cxn ang="0">
                    <a:pos x="20" y="6"/>
                  </a:cxn>
                  <a:cxn ang="0">
                    <a:pos x="18" y="4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22" h="24">
                    <a:moveTo>
                      <a:pt x="10" y="0"/>
                    </a:moveTo>
                    <a:lnTo>
                      <a:pt x="10" y="0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2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10" y="24"/>
                    </a:lnTo>
                    <a:lnTo>
                      <a:pt x="10" y="24"/>
                    </a:lnTo>
                    <a:lnTo>
                      <a:pt x="14" y="24"/>
                    </a:lnTo>
                    <a:lnTo>
                      <a:pt x="18" y="22"/>
                    </a:lnTo>
                    <a:lnTo>
                      <a:pt x="20" y="18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2" y="10"/>
                    </a:lnTo>
                    <a:lnTo>
                      <a:pt x="20" y="6"/>
                    </a:lnTo>
                    <a:lnTo>
                      <a:pt x="18" y="4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1" name="Freeform 298"/>
              <p:cNvSpPr>
                <a:spLocks/>
              </p:cNvSpPr>
              <p:nvPr userDrawn="1"/>
            </p:nvSpPr>
            <p:spPr bwMode="auto">
              <a:xfrm>
                <a:off x="5207000" y="4803775"/>
                <a:ext cx="31750" cy="3175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4"/>
                  </a:cxn>
                  <a:cxn ang="0">
                    <a:pos x="4" y="18"/>
                  </a:cxn>
                  <a:cxn ang="0">
                    <a:pos x="8" y="20"/>
                  </a:cxn>
                  <a:cxn ang="0">
                    <a:pos x="8" y="20"/>
                  </a:cxn>
                  <a:cxn ang="0">
                    <a:pos x="10" y="20"/>
                  </a:cxn>
                  <a:cxn ang="0">
                    <a:pos x="10" y="20"/>
                  </a:cxn>
                  <a:cxn ang="0">
                    <a:pos x="16" y="18"/>
                  </a:cxn>
                  <a:cxn ang="0">
                    <a:pos x="20" y="12"/>
                  </a:cxn>
                  <a:cxn ang="0">
                    <a:pos x="20" y="12"/>
                  </a:cxn>
                  <a:cxn ang="0">
                    <a:pos x="20" y="8"/>
                  </a:cxn>
                  <a:cxn ang="0">
                    <a:pos x="18" y="4"/>
                  </a:cxn>
                  <a:cxn ang="0">
                    <a:pos x="16" y="2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20" h="20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4" y="18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6" y="18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18" y="4"/>
                    </a:lnTo>
                    <a:lnTo>
                      <a:pt x="16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2" name="Freeform 299"/>
              <p:cNvSpPr>
                <a:spLocks/>
              </p:cNvSpPr>
              <p:nvPr userDrawn="1"/>
            </p:nvSpPr>
            <p:spPr bwMode="auto">
              <a:xfrm>
                <a:off x="5207000" y="4803775"/>
                <a:ext cx="31750" cy="3175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4"/>
                  </a:cxn>
                  <a:cxn ang="0">
                    <a:pos x="4" y="18"/>
                  </a:cxn>
                  <a:cxn ang="0">
                    <a:pos x="8" y="20"/>
                  </a:cxn>
                  <a:cxn ang="0">
                    <a:pos x="8" y="20"/>
                  </a:cxn>
                  <a:cxn ang="0">
                    <a:pos x="10" y="20"/>
                  </a:cxn>
                  <a:cxn ang="0">
                    <a:pos x="10" y="20"/>
                  </a:cxn>
                  <a:cxn ang="0">
                    <a:pos x="16" y="18"/>
                  </a:cxn>
                  <a:cxn ang="0">
                    <a:pos x="20" y="12"/>
                  </a:cxn>
                  <a:cxn ang="0">
                    <a:pos x="20" y="12"/>
                  </a:cxn>
                  <a:cxn ang="0">
                    <a:pos x="20" y="8"/>
                  </a:cxn>
                  <a:cxn ang="0">
                    <a:pos x="18" y="4"/>
                  </a:cxn>
                  <a:cxn ang="0">
                    <a:pos x="16" y="2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20" h="20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4" y="18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6" y="18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18" y="4"/>
                    </a:lnTo>
                    <a:lnTo>
                      <a:pt x="16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3" name="Freeform 300"/>
              <p:cNvSpPr>
                <a:spLocks/>
              </p:cNvSpPr>
              <p:nvPr userDrawn="1"/>
            </p:nvSpPr>
            <p:spPr bwMode="auto">
              <a:xfrm>
                <a:off x="5197475" y="4689475"/>
                <a:ext cx="28575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6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6" y="16"/>
                  </a:cxn>
                  <a:cxn ang="0">
                    <a:pos x="18" y="12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8" y="4"/>
                  </a:cxn>
                  <a:cxn ang="0">
                    <a:pos x="16" y="2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6" y="16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16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4" name="Freeform 301"/>
              <p:cNvSpPr>
                <a:spLocks/>
              </p:cNvSpPr>
              <p:nvPr userDrawn="1"/>
            </p:nvSpPr>
            <p:spPr bwMode="auto">
              <a:xfrm>
                <a:off x="5197475" y="4689475"/>
                <a:ext cx="28575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6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6" y="16"/>
                  </a:cxn>
                  <a:cxn ang="0">
                    <a:pos x="18" y="12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8" y="4"/>
                  </a:cxn>
                  <a:cxn ang="0">
                    <a:pos x="16" y="2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6" y="16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16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5" name="Freeform 302"/>
              <p:cNvSpPr>
                <a:spLocks/>
              </p:cNvSpPr>
              <p:nvPr userDrawn="1"/>
            </p:nvSpPr>
            <p:spPr bwMode="auto">
              <a:xfrm>
                <a:off x="5210175" y="4575175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4" y="16"/>
                  </a:cxn>
                  <a:cxn ang="0">
                    <a:pos x="16" y="10"/>
                  </a:cxn>
                  <a:cxn ang="0">
                    <a:pos x="16" y="10"/>
                  </a:cxn>
                  <a:cxn ang="0">
                    <a:pos x="16" y="8"/>
                  </a:cxn>
                  <a:cxn ang="0">
                    <a:pos x="16" y="4"/>
                  </a:cxn>
                  <a:cxn ang="0">
                    <a:pos x="14" y="2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4" y="16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8"/>
                    </a:lnTo>
                    <a:lnTo>
                      <a:pt x="16" y="4"/>
                    </a:lnTo>
                    <a:lnTo>
                      <a:pt x="14" y="2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6" name="Freeform 303"/>
              <p:cNvSpPr>
                <a:spLocks/>
              </p:cNvSpPr>
              <p:nvPr userDrawn="1"/>
            </p:nvSpPr>
            <p:spPr bwMode="auto">
              <a:xfrm>
                <a:off x="5210175" y="4575175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4" y="16"/>
                  </a:cxn>
                  <a:cxn ang="0">
                    <a:pos x="16" y="10"/>
                  </a:cxn>
                  <a:cxn ang="0">
                    <a:pos x="16" y="10"/>
                  </a:cxn>
                  <a:cxn ang="0">
                    <a:pos x="16" y="8"/>
                  </a:cxn>
                  <a:cxn ang="0">
                    <a:pos x="16" y="4"/>
                  </a:cxn>
                  <a:cxn ang="0">
                    <a:pos x="14" y="2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4" y="16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8"/>
                    </a:lnTo>
                    <a:lnTo>
                      <a:pt x="16" y="4"/>
                    </a:lnTo>
                    <a:lnTo>
                      <a:pt x="14" y="2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7" name="Freeform 304"/>
              <p:cNvSpPr>
                <a:spLocks/>
              </p:cNvSpPr>
              <p:nvPr userDrawn="1"/>
            </p:nvSpPr>
            <p:spPr bwMode="auto">
              <a:xfrm>
                <a:off x="5241925" y="4464050"/>
                <a:ext cx="22225" cy="2540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2"/>
                  </a:cxn>
                  <a:cxn ang="0">
                    <a:pos x="4" y="16"/>
                  </a:cxn>
                  <a:cxn ang="0">
                    <a:pos x="4" y="16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10"/>
                  </a:cxn>
                  <a:cxn ang="0">
                    <a:pos x="14" y="10"/>
                  </a:cxn>
                  <a:cxn ang="0">
                    <a:pos x="14" y="4"/>
                  </a:cxn>
                  <a:cxn ang="0">
                    <a:pos x="12" y="2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4" h="16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2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12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4"/>
                    </a:lnTo>
                    <a:lnTo>
                      <a:pt x="12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8" name="Freeform 305"/>
              <p:cNvSpPr>
                <a:spLocks/>
              </p:cNvSpPr>
              <p:nvPr userDrawn="1"/>
            </p:nvSpPr>
            <p:spPr bwMode="auto">
              <a:xfrm>
                <a:off x="5241925" y="4464050"/>
                <a:ext cx="22225" cy="2540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2"/>
                  </a:cxn>
                  <a:cxn ang="0">
                    <a:pos x="4" y="16"/>
                  </a:cxn>
                  <a:cxn ang="0">
                    <a:pos x="4" y="16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10"/>
                  </a:cxn>
                  <a:cxn ang="0">
                    <a:pos x="14" y="10"/>
                  </a:cxn>
                  <a:cxn ang="0">
                    <a:pos x="14" y="4"/>
                  </a:cxn>
                  <a:cxn ang="0">
                    <a:pos x="12" y="2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4" h="16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2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12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4"/>
                    </a:lnTo>
                    <a:lnTo>
                      <a:pt x="12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9" name="Freeform 306"/>
              <p:cNvSpPr>
                <a:spLocks/>
              </p:cNvSpPr>
              <p:nvPr userDrawn="1"/>
            </p:nvSpPr>
            <p:spPr bwMode="auto">
              <a:xfrm>
                <a:off x="5730875" y="5327650"/>
                <a:ext cx="60325" cy="60325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4" y="8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2" y="28"/>
                  </a:cxn>
                  <a:cxn ang="0">
                    <a:pos x="8" y="34"/>
                  </a:cxn>
                  <a:cxn ang="0">
                    <a:pos x="14" y="38"/>
                  </a:cxn>
                  <a:cxn ang="0">
                    <a:pos x="14" y="38"/>
                  </a:cxn>
                  <a:cxn ang="0">
                    <a:pos x="20" y="38"/>
                  </a:cxn>
                  <a:cxn ang="0">
                    <a:pos x="20" y="38"/>
                  </a:cxn>
                  <a:cxn ang="0">
                    <a:pos x="26" y="38"/>
                  </a:cxn>
                  <a:cxn ang="0">
                    <a:pos x="32" y="34"/>
                  </a:cxn>
                  <a:cxn ang="0">
                    <a:pos x="36" y="30"/>
                  </a:cxn>
                  <a:cxn ang="0">
                    <a:pos x="38" y="24"/>
                  </a:cxn>
                  <a:cxn ang="0">
                    <a:pos x="38" y="24"/>
                  </a:cxn>
                  <a:cxn ang="0">
                    <a:pos x="38" y="16"/>
                  </a:cxn>
                  <a:cxn ang="0">
                    <a:pos x="36" y="10"/>
                  </a:cxn>
                  <a:cxn ang="0">
                    <a:pos x="32" y="4"/>
                  </a:cxn>
                  <a:cxn ang="0">
                    <a:pos x="24" y="0"/>
                  </a:cxn>
                  <a:cxn ang="0">
                    <a:pos x="24" y="0"/>
                  </a:cxn>
                  <a:cxn ang="0">
                    <a:pos x="20" y="0"/>
                  </a:cxn>
                </a:cxnLst>
                <a:rect l="0" t="0" r="r" b="b"/>
                <a:pathLst>
                  <a:path w="38" h="38">
                    <a:moveTo>
                      <a:pt x="20" y="0"/>
                    </a:moveTo>
                    <a:lnTo>
                      <a:pt x="20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4" y="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2" y="28"/>
                    </a:lnTo>
                    <a:lnTo>
                      <a:pt x="8" y="34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6" y="38"/>
                    </a:lnTo>
                    <a:lnTo>
                      <a:pt x="32" y="34"/>
                    </a:lnTo>
                    <a:lnTo>
                      <a:pt x="36" y="30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16"/>
                    </a:lnTo>
                    <a:lnTo>
                      <a:pt x="36" y="10"/>
                    </a:lnTo>
                    <a:lnTo>
                      <a:pt x="32" y="4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0" name="Freeform 307"/>
              <p:cNvSpPr>
                <a:spLocks/>
              </p:cNvSpPr>
              <p:nvPr userDrawn="1"/>
            </p:nvSpPr>
            <p:spPr bwMode="auto">
              <a:xfrm>
                <a:off x="5730875" y="5327650"/>
                <a:ext cx="60325" cy="60325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4" y="8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2" y="28"/>
                  </a:cxn>
                  <a:cxn ang="0">
                    <a:pos x="8" y="34"/>
                  </a:cxn>
                  <a:cxn ang="0">
                    <a:pos x="14" y="38"/>
                  </a:cxn>
                  <a:cxn ang="0">
                    <a:pos x="14" y="38"/>
                  </a:cxn>
                  <a:cxn ang="0">
                    <a:pos x="20" y="38"/>
                  </a:cxn>
                  <a:cxn ang="0">
                    <a:pos x="20" y="38"/>
                  </a:cxn>
                  <a:cxn ang="0">
                    <a:pos x="26" y="38"/>
                  </a:cxn>
                  <a:cxn ang="0">
                    <a:pos x="32" y="34"/>
                  </a:cxn>
                  <a:cxn ang="0">
                    <a:pos x="36" y="30"/>
                  </a:cxn>
                  <a:cxn ang="0">
                    <a:pos x="38" y="24"/>
                  </a:cxn>
                  <a:cxn ang="0">
                    <a:pos x="38" y="24"/>
                  </a:cxn>
                  <a:cxn ang="0">
                    <a:pos x="38" y="16"/>
                  </a:cxn>
                  <a:cxn ang="0">
                    <a:pos x="36" y="10"/>
                  </a:cxn>
                  <a:cxn ang="0">
                    <a:pos x="32" y="4"/>
                  </a:cxn>
                  <a:cxn ang="0">
                    <a:pos x="24" y="0"/>
                  </a:cxn>
                  <a:cxn ang="0">
                    <a:pos x="24" y="0"/>
                  </a:cxn>
                  <a:cxn ang="0">
                    <a:pos x="20" y="0"/>
                  </a:cxn>
                </a:cxnLst>
                <a:rect l="0" t="0" r="r" b="b"/>
                <a:pathLst>
                  <a:path w="38" h="38">
                    <a:moveTo>
                      <a:pt x="20" y="0"/>
                    </a:moveTo>
                    <a:lnTo>
                      <a:pt x="20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4" y="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2" y="28"/>
                    </a:lnTo>
                    <a:lnTo>
                      <a:pt x="8" y="34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6" y="38"/>
                    </a:lnTo>
                    <a:lnTo>
                      <a:pt x="32" y="34"/>
                    </a:lnTo>
                    <a:lnTo>
                      <a:pt x="36" y="30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16"/>
                    </a:lnTo>
                    <a:lnTo>
                      <a:pt x="36" y="10"/>
                    </a:lnTo>
                    <a:lnTo>
                      <a:pt x="32" y="4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1" name="Freeform 308"/>
              <p:cNvSpPr>
                <a:spLocks/>
              </p:cNvSpPr>
              <p:nvPr userDrawn="1"/>
            </p:nvSpPr>
            <p:spPr bwMode="auto">
              <a:xfrm>
                <a:off x="5848350" y="5340350"/>
                <a:ext cx="57150" cy="53975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0"/>
                  </a:cxn>
                  <a:cxn ang="0">
                    <a:pos x="8" y="4"/>
                  </a:cxn>
                  <a:cxn ang="0">
                    <a:pos x="4" y="8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0" y="20"/>
                  </a:cxn>
                  <a:cxn ang="0">
                    <a:pos x="2" y="26"/>
                  </a:cxn>
                  <a:cxn ang="0">
                    <a:pos x="8" y="32"/>
                  </a:cxn>
                  <a:cxn ang="0">
                    <a:pos x="14" y="34"/>
                  </a:cxn>
                  <a:cxn ang="0">
                    <a:pos x="14" y="34"/>
                  </a:cxn>
                  <a:cxn ang="0">
                    <a:pos x="18" y="34"/>
                  </a:cxn>
                  <a:cxn ang="0">
                    <a:pos x="18" y="34"/>
                  </a:cxn>
                  <a:cxn ang="0">
                    <a:pos x="24" y="34"/>
                  </a:cxn>
                  <a:cxn ang="0">
                    <a:pos x="28" y="32"/>
                  </a:cxn>
                  <a:cxn ang="0">
                    <a:pos x="32" y="28"/>
                  </a:cxn>
                  <a:cxn ang="0">
                    <a:pos x="34" y="22"/>
                  </a:cxn>
                  <a:cxn ang="0">
                    <a:pos x="34" y="22"/>
                  </a:cxn>
                  <a:cxn ang="0">
                    <a:pos x="36" y="16"/>
                  </a:cxn>
                  <a:cxn ang="0">
                    <a:pos x="34" y="8"/>
                  </a:cxn>
                  <a:cxn ang="0">
                    <a:pos x="28" y="4"/>
                  </a:cxn>
                  <a:cxn ang="0">
                    <a:pos x="22" y="0"/>
                  </a:cxn>
                  <a:cxn ang="0">
                    <a:pos x="22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4">
                    <a:moveTo>
                      <a:pt x="18" y="0"/>
                    </a:moveTo>
                    <a:lnTo>
                      <a:pt x="18" y="0"/>
                    </a:lnTo>
                    <a:lnTo>
                      <a:pt x="12" y="0"/>
                    </a:lnTo>
                    <a:lnTo>
                      <a:pt x="8" y="4"/>
                    </a:lnTo>
                    <a:lnTo>
                      <a:pt x="4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0" y="20"/>
                    </a:lnTo>
                    <a:lnTo>
                      <a:pt x="2" y="26"/>
                    </a:lnTo>
                    <a:lnTo>
                      <a:pt x="8" y="32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24" y="34"/>
                    </a:lnTo>
                    <a:lnTo>
                      <a:pt x="28" y="32"/>
                    </a:lnTo>
                    <a:lnTo>
                      <a:pt x="32" y="28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6" y="16"/>
                    </a:lnTo>
                    <a:lnTo>
                      <a:pt x="34" y="8"/>
                    </a:lnTo>
                    <a:lnTo>
                      <a:pt x="28" y="4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2" name="Freeform 309"/>
              <p:cNvSpPr>
                <a:spLocks/>
              </p:cNvSpPr>
              <p:nvPr userDrawn="1"/>
            </p:nvSpPr>
            <p:spPr bwMode="auto">
              <a:xfrm>
                <a:off x="5848350" y="5340350"/>
                <a:ext cx="57150" cy="53975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0"/>
                  </a:cxn>
                  <a:cxn ang="0">
                    <a:pos x="8" y="4"/>
                  </a:cxn>
                  <a:cxn ang="0">
                    <a:pos x="4" y="8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0" y="20"/>
                  </a:cxn>
                  <a:cxn ang="0">
                    <a:pos x="2" y="26"/>
                  </a:cxn>
                  <a:cxn ang="0">
                    <a:pos x="8" y="32"/>
                  </a:cxn>
                  <a:cxn ang="0">
                    <a:pos x="14" y="34"/>
                  </a:cxn>
                  <a:cxn ang="0">
                    <a:pos x="14" y="34"/>
                  </a:cxn>
                  <a:cxn ang="0">
                    <a:pos x="18" y="34"/>
                  </a:cxn>
                  <a:cxn ang="0">
                    <a:pos x="18" y="34"/>
                  </a:cxn>
                  <a:cxn ang="0">
                    <a:pos x="24" y="34"/>
                  </a:cxn>
                  <a:cxn ang="0">
                    <a:pos x="28" y="32"/>
                  </a:cxn>
                  <a:cxn ang="0">
                    <a:pos x="32" y="28"/>
                  </a:cxn>
                  <a:cxn ang="0">
                    <a:pos x="34" y="22"/>
                  </a:cxn>
                  <a:cxn ang="0">
                    <a:pos x="34" y="22"/>
                  </a:cxn>
                  <a:cxn ang="0">
                    <a:pos x="36" y="16"/>
                  </a:cxn>
                  <a:cxn ang="0">
                    <a:pos x="34" y="8"/>
                  </a:cxn>
                  <a:cxn ang="0">
                    <a:pos x="28" y="4"/>
                  </a:cxn>
                  <a:cxn ang="0">
                    <a:pos x="22" y="0"/>
                  </a:cxn>
                  <a:cxn ang="0">
                    <a:pos x="22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4">
                    <a:moveTo>
                      <a:pt x="18" y="0"/>
                    </a:moveTo>
                    <a:lnTo>
                      <a:pt x="18" y="0"/>
                    </a:lnTo>
                    <a:lnTo>
                      <a:pt x="12" y="0"/>
                    </a:lnTo>
                    <a:lnTo>
                      <a:pt x="8" y="4"/>
                    </a:lnTo>
                    <a:lnTo>
                      <a:pt x="4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0" y="20"/>
                    </a:lnTo>
                    <a:lnTo>
                      <a:pt x="2" y="26"/>
                    </a:lnTo>
                    <a:lnTo>
                      <a:pt x="8" y="32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24" y="34"/>
                    </a:lnTo>
                    <a:lnTo>
                      <a:pt x="28" y="32"/>
                    </a:lnTo>
                    <a:lnTo>
                      <a:pt x="32" y="28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6" y="16"/>
                    </a:lnTo>
                    <a:lnTo>
                      <a:pt x="34" y="8"/>
                    </a:lnTo>
                    <a:lnTo>
                      <a:pt x="28" y="4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3" name="Freeform 310"/>
              <p:cNvSpPr>
                <a:spLocks/>
              </p:cNvSpPr>
              <p:nvPr userDrawn="1"/>
            </p:nvSpPr>
            <p:spPr bwMode="auto">
              <a:xfrm>
                <a:off x="5969000" y="5334000"/>
                <a:ext cx="47625" cy="4762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4" y="28"/>
                  </a:cxn>
                  <a:cxn ang="0">
                    <a:pos x="10" y="30"/>
                  </a:cxn>
                  <a:cxn ang="0">
                    <a:pos x="10" y="30"/>
                  </a:cxn>
                  <a:cxn ang="0">
                    <a:pos x="14" y="30"/>
                  </a:cxn>
                  <a:cxn ang="0">
                    <a:pos x="14" y="30"/>
                  </a:cxn>
                  <a:cxn ang="0">
                    <a:pos x="20" y="30"/>
                  </a:cxn>
                  <a:cxn ang="0">
                    <a:pos x="24" y="28"/>
                  </a:cxn>
                  <a:cxn ang="0">
                    <a:pos x="28" y="24"/>
                  </a:cxn>
                  <a:cxn ang="0">
                    <a:pos x="30" y="20"/>
                  </a:cxn>
                  <a:cxn ang="0">
                    <a:pos x="30" y="20"/>
                  </a:cxn>
                  <a:cxn ang="0">
                    <a:pos x="30" y="12"/>
                  </a:cxn>
                  <a:cxn ang="0">
                    <a:pos x="28" y="8"/>
                  </a:cxn>
                  <a:cxn ang="0">
                    <a:pos x="24" y="2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14" y="0"/>
                  </a:cxn>
                </a:cxnLst>
                <a:rect l="0" t="0" r="r" b="b"/>
                <a:pathLst>
                  <a:path w="30" h="30">
                    <a:moveTo>
                      <a:pt x="14" y="0"/>
                    </a:moveTo>
                    <a:lnTo>
                      <a:pt x="14" y="0"/>
                    </a:lnTo>
                    <a:lnTo>
                      <a:pt x="10" y="0"/>
                    </a:lnTo>
                    <a:lnTo>
                      <a:pt x="6" y="2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4" y="28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20" y="30"/>
                    </a:lnTo>
                    <a:lnTo>
                      <a:pt x="24" y="28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12"/>
                    </a:lnTo>
                    <a:lnTo>
                      <a:pt x="28" y="8"/>
                    </a:lnTo>
                    <a:lnTo>
                      <a:pt x="24" y="2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4" name="Freeform 311"/>
              <p:cNvSpPr>
                <a:spLocks/>
              </p:cNvSpPr>
              <p:nvPr userDrawn="1"/>
            </p:nvSpPr>
            <p:spPr bwMode="auto">
              <a:xfrm>
                <a:off x="5969000" y="5334000"/>
                <a:ext cx="47625" cy="4762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4" y="28"/>
                  </a:cxn>
                  <a:cxn ang="0">
                    <a:pos x="10" y="30"/>
                  </a:cxn>
                  <a:cxn ang="0">
                    <a:pos x="10" y="30"/>
                  </a:cxn>
                  <a:cxn ang="0">
                    <a:pos x="14" y="30"/>
                  </a:cxn>
                  <a:cxn ang="0">
                    <a:pos x="14" y="30"/>
                  </a:cxn>
                  <a:cxn ang="0">
                    <a:pos x="20" y="30"/>
                  </a:cxn>
                  <a:cxn ang="0">
                    <a:pos x="24" y="28"/>
                  </a:cxn>
                  <a:cxn ang="0">
                    <a:pos x="28" y="24"/>
                  </a:cxn>
                  <a:cxn ang="0">
                    <a:pos x="30" y="20"/>
                  </a:cxn>
                  <a:cxn ang="0">
                    <a:pos x="30" y="20"/>
                  </a:cxn>
                  <a:cxn ang="0">
                    <a:pos x="30" y="12"/>
                  </a:cxn>
                  <a:cxn ang="0">
                    <a:pos x="28" y="8"/>
                  </a:cxn>
                  <a:cxn ang="0">
                    <a:pos x="24" y="2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14" y="0"/>
                  </a:cxn>
                </a:cxnLst>
                <a:rect l="0" t="0" r="r" b="b"/>
                <a:pathLst>
                  <a:path w="30" h="30">
                    <a:moveTo>
                      <a:pt x="14" y="0"/>
                    </a:moveTo>
                    <a:lnTo>
                      <a:pt x="14" y="0"/>
                    </a:lnTo>
                    <a:lnTo>
                      <a:pt x="10" y="0"/>
                    </a:lnTo>
                    <a:lnTo>
                      <a:pt x="6" y="2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4" y="28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20" y="30"/>
                    </a:lnTo>
                    <a:lnTo>
                      <a:pt x="24" y="28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12"/>
                    </a:lnTo>
                    <a:lnTo>
                      <a:pt x="28" y="8"/>
                    </a:lnTo>
                    <a:lnTo>
                      <a:pt x="24" y="2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5" name="Freeform 312"/>
              <p:cNvSpPr>
                <a:spLocks/>
              </p:cNvSpPr>
              <p:nvPr userDrawn="1"/>
            </p:nvSpPr>
            <p:spPr bwMode="auto">
              <a:xfrm>
                <a:off x="6083300" y="5305425"/>
                <a:ext cx="44450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4" y="26"/>
                  </a:cxn>
                  <a:cxn ang="0">
                    <a:pos x="10" y="28"/>
                  </a:cxn>
                  <a:cxn ang="0">
                    <a:pos x="10" y="28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18" y="28"/>
                  </a:cxn>
                  <a:cxn ang="0">
                    <a:pos x="22" y="26"/>
                  </a:cxn>
                  <a:cxn ang="0">
                    <a:pos x="24" y="22"/>
                  </a:cxn>
                  <a:cxn ang="0">
                    <a:pos x="26" y="18"/>
                  </a:cxn>
                  <a:cxn ang="0">
                    <a:pos x="26" y="18"/>
                  </a:cxn>
                  <a:cxn ang="0">
                    <a:pos x="28" y="12"/>
                  </a:cxn>
                  <a:cxn ang="0">
                    <a:pos x="26" y="8"/>
                  </a:cxn>
                  <a:cxn ang="0">
                    <a:pos x="22" y="4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14" y="0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lnTo>
                      <a:pt x="14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4" y="26"/>
                    </a:lnTo>
                    <a:lnTo>
                      <a:pt x="10" y="28"/>
                    </a:lnTo>
                    <a:lnTo>
                      <a:pt x="10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8" y="28"/>
                    </a:lnTo>
                    <a:lnTo>
                      <a:pt x="22" y="26"/>
                    </a:lnTo>
                    <a:lnTo>
                      <a:pt x="24" y="22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8" y="12"/>
                    </a:lnTo>
                    <a:lnTo>
                      <a:pt x="26" y="8"/>
                    </a:lnTo>
                    <a:lnTo>
                      <a:pt x="22" y="4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6" name="Freeform 313"/>
              <p:cNvSpPr>
                <a:spLocks/>
              </p:cNvSpPr>
              <p:nvPr userDrawn="1"/>
            </p:nvSpPr>
            <p:spPr bwMode="auto">
              <a:xfrm>
                <a:off x="6083300" y="5305425"/>
                <a:ext cx="44450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4" y="26"/>
                  </a:cxn>
                  <a:cxn ang="0">
                    <a:pos x="10" y="28"/>
                  </a:cxn>
                  <a:cxn ang="0">
                    <a:pos x="10" y="28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18" y="28"/>
                  </a:cxn>
                  <a:cxn ang="0">
                    <a:pos x="22" y="26"/>
                  </a:cxn>
                  <a:cxn ang="0">
                    <a:pos x="24" y="22"/>
                  </a:cxn>
                  <a:cxn ang="0">
                    <a:pos x="26" y="18"/>
                  </a:cxn>
                  <a:cxn ang="0">
                    <a:pos x="26" y="18"/>
                  </a:cxn>
                  <a:cxn ang="0">
                    <a:pos x="28" y="12"/>
                  </a:cxn>
                  <a:cxn ang="0">
                    <a:pos x="26" y="8"/>
                  </a:cxn>
                  <a:cxn ang="0">
                    <a:pos x="22" y="4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14" y="0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lnTo>
                      <a:pt x="14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4" y="26"/>
                    </a:lnTo>
                    <a:lnTo>
                      <a:pt x="10" y="28"/>
                    </a:lnTo>
                    <a:lnTo>
                      <a:pt x="10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8" y="28"/>
                    </a:lnTo>
                    <a:lnTo>
                      <a:pt x="22" y="26"/>
                    </a:lnTo>
                    <a:lnTo>
                      <a:pt x="24" y="22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8" y="12"/>
                    </a:lnTo>
                    <a:lnTo>
                      <a:pt x="26" y="8"/>
                    </a:lnTo>
                    <a:lnTo>
                      <a:pt x="22" y="4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7" name="Freeform 314"/>
              <p:cNvSpPr>
                <a:spLocks/>
              </p:cNvSpPr>
              <p:nvPr userDrawn="1"/>
            </p:nvSpPr>
            <p:spPr bwMode="auto">
              <a:xfrm>
                <a:off x="6188075" y="5257800"/>
                <a:ext cx="41275" cy="4127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6" y="24"/>
                  </a:cxn>
                  <a:cxn ang="0">
                    <a:pos x="10" y="26"/>
                  </a:cxn>
                  <a:cxn ang="0">
                    <a:pos x="10" y="26"/>
                  </a:cxn>
                  <a:cxn ang="0">
                    <a:pos x="14" y="26"/>
                  </a:cxn>
                  <a:cxn ang="0">
                    <a:pos x="14" y="26"/>
                  </a:cxn>
                  <a:cxn ang="0">
                    <a:pos x="18" y="26"/>
                  </a:cxn>
                  <a:cxn ang="0">
                    <a:pos x="20" y="24"/>
                  </a:cxn>
                  <a:cxn ang="0">
                    <a:pos x="24" y="20"/>
                  </a:cxn>
                  <a:cxn ang="0">
                    <a:pos x="26" y="16"/>
                  </a:cxn>
                  <a:cxn ang="0">
                    <a:pos x="26" y="16"/>
                  </a:cxn>
                  <a:cxn ang="0">
                    <a:pos x="26" y="12"/>
                  </a:cxn>
                  <a:cxn ang="0">
                    <a:pos x="24" y="8"/>
                  </a:cxn>
                  <a:cxn ang="0">
                    <a:pos x="20" y="4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4" y="0"/>
                  </a:cxn>
                </a:cxnLst>
                <a:rect l="0" t="0" r="r" b="b"/>
                <a:pathLst>
                  <a:path w="26" h="26">
                    <a:moveTo>
                      <a:pt x="14" y="0"/>
                    </a:moveTo>
                    <a:lnTo>
                      <a:pt x="14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6" y="24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8" y="26"/>
                    </a:lnTo>
                    <a:lnTo>
                      <a:pt x="20" y="24"/>
                    </a:lnTo>
                    <a:lnTo>
                      <a:pt x="24" y="20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2"/>
                    </a:lnTo>
                    <a:lnTo>
                      <a:pt x="24" y="8"/>
                    </a:lnTo>
                    <a:lnTo>
                      <a:pt x="20" y="4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8" name="Freeform 315"/>
              <p:cNvSpPr>
                <a:spLocks/>
              </p:cNvSpPr>
              <p:nvPr userDrawn="1"/>
            </p:nvSpPr>
            <p:spPr bwMode="auto">
              <a:xfrm>
                <a:off x="6188075" y="5257800"/>
                <a:ext cx="41275" cy="4127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6" y="24"/>
                  </a:cxn>
                  <a:cxn ang="0">
                    <a:pos x="10" y="26"/>
                  </a:cxn>
                  <a:cxn ang="0">
                    <a:pos x="10" y="26"/>
                  </a:cxn>
                  <a:cxn ang="0">
                    <a:pos x="14" y="26"/>
                  </a:cxn>
                  <a:cxn ang="0">
                    <a:pos x="14" y="26"/>
                  </a:cxn>
                  <a:cxn ang="0">
                    <a:pos x="18" y="26"/>
                  </a:cxn>
                  <a:cxn ang="0">
                    <a:pos x="20" y="24"/>
                  </a:cxn>
                  <a:cxn ang="0">
                    <a:pos x="24" y="20"/>
                  </a:cxn>
                  <a:cxn ang="0">
                    <a:pos x="26" y="16"/>
                  </a:cxn>
                  <a:cxn ang="0">
                    <a:pos x="26" y="16"/>
                  </a:cxn>
                  <a:cxn ang="0">
                    <a:pos x="26" y="12"/>
                  </a:cxn>
                  <a:cxn ang="0">
                    <a:pos x="24" y="8"/>
                  </a:cxn>
                  <a:cxn ang="0">
                    <a:pos x="20" y="4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4" y="0"/>
                  </a:cxn>
                </a:cxnLst>
                <a:rect l="0" t="0" r="r" b="b"/>
                <a:pathLst>
                  <a:path w="26" h="26">
                    <a:moveTo>
                      <a:pt x="14" y="0"/>
                    </a:moveTo>
                    <a:lnTo>
                      <a:pt x="14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6" y="24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8" y="26"/>
                    </a:lnTo>
                    <a:lnTo>
                      <a:pt x="20" y="24"/>
                    </a:lnTo>
                    <a:lnTo>
                      <a:pt x="24" y="20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2"/>
                    </a:lnTo>
                    <a:lnTo>
                      <a:pt x="24" y="8"/>
                    </a:lnTo>
                    <a:lnTo>
                      <a:pt x="20" y="4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9" name="Freeform 316"/>
              <p:cNvSpPr>
                <a:spLocks/>
              </p:cNvSpPr>
              <p:nvPr userDrawn="1"/>
            </p:nvSpPr>
            <p:spPr bwMode="auto">
              <a:xfrm>
                <a:off x="6286500" y="5194300"/>
                <a:ext cx="34925" cy="3810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0"/>
                  </a:cxn>
                  <a:cxn ang="0">
                    <a:pos x="8" y="22"/>
                  </a:cxn>
                  <a:cxn ang="0">
                    <a:pos x="8" y="22"/>
                  </a:cxn>
                  <a:cxn ang="0">
                    <a:pos x="10" y="24"/>
                  </a:cxn>
                  <a:cxn ang="0">
                    <a:pos x="10" y="24"/>
                  </a:cxn>
                  <a:cxn ang="0">
                    <a:pos x="14" y="22"/>
                  </a:cxn>
                  <a:cxn ang="0">
                    <a:pos x="18" y="20"/>
                  </a:cxn>
                  <a:cxn ang="0">
                    <a:pos x="20" y="18"/>
                  </a:cxn>
                  <a:cxn ang="0">
                    <a:pos x="22" y="14"/>
                  </a:cxn>
                  <a:cxn ang="0">
                    <a:pos x="22" y="14"/>
                  </a:cxn>
                  <a:cxn ang="0">
                    <a:pos x="22" y="10"/>
                  </a:cxn>
                  <a:cxn ang="0">
                    <a:pos x="20" y="6"/>
                  </a:cxn>
                  <a:cxn ang="0">
                    <a:pos x="18" y="2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</a:cxnLst>
                <a:rect l="0" t="0" r="r" b="b"/>
                <a:pathLst>
                  <a:path w="22" h="24">
                    <a:moveTo>
                      <a:pt x="10" y="0"/>
                    </a:moveTo>
                    <a:lnTo>
                      <a:pt x="10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0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10" y="24"/>
                    </a:lnTo>
                    <a:lnTo>
                      <a:pt x="10" y="24"/>
                    </a:lnTo>
                    <a:lnTo>
                      <a:pt x="14" y="22"/>
                    </a:lnTo>
                    <a:lnTo>
                      <a:pt x="18" y="20"/>
                    </a:lnTo>
                    <a:lnTo>
                      <a:pt x="20" y="18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2" y="10"/>
                    </a:lnTo>
                    <a:lnTo>
                      <a:pt x="20" y="6"/>
                    </a:lnTo>
                    <a:lnTo>
                      <a:pt x="18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0" name="Freeform 317"/>
              <p:cNvSpPr>
                <a:spLocks/>
              </p:cNvSpPr>
              <p:nvPr userDrawn="1"/>
            </p:nvSpPr>
            <p:spPr bwMode="auto">
              <a:xfrm>
                <a:off x="6286500" y="5194300"/>
                <a:ext cx="34925" cy="3810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0"/>
                  </a:cxn>
                  <a:cxn ang="0">
                    <a:pos x="8" y="22"/>
                  </a:cxn>
                  <a:cxn ang="0">
                    <a:pos x="8" y="22"/>
                  </a:cxn>
                  <a:cxn ang="0">
                    <a:pos x="10" y="24"/>
                  </a:cxn>
                  <a:cxn ang="0">
                    <a:pos x="10" y="24"/>
                  </a:cxn>
                  <a:cxn ang="0">
                    <a:pos x="14" y="22"/>
                  </a:cxn>
                  <a:cxn ang="0">
                    <a:pos x="18" y="20"/>
                  </a:cxn>
                  <a:cxn ang="0">
                    <a:pos x="20" y="18"/>
                  </a:cxn>
                  <a:cxn ang="0">
                    <a:pos x="22" y="14"/>
                  </a:cxn>
                  <a:cxn ang="0">
                    <a:pos x="22" y="14"/>
                  </a:cxn>
                  <a:cxn ang="0">
                    <a:pos x="22" y="10"/>
                  </a:cxn>
                  <a:cxn ang="0">
                    <a:pos x="20" y="6"/>
                  </a:cxn>
                  <a:cxn ang="0">
                    <a:pos x="18" y="2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</a:cxnLst>
                <a:rect l="0" t="0" r="r" b="b"/>
                <a:pathLst>
                  <a:path w="22" h="24">
                    <a:moveTo>
                      <a:pt x="10" y="0"/>
                    </a:moveTo>
                    <a:lnTo>
                      <a:pt x="10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0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10" y="24"/>
                    </a:lnTo>
                    <a:lnTo>
                      <a:pt x="10" y="24"/>
                    </a:lnTo>
                    <a:lnTo>
                      <a:pt x="14" y="22"/>
                    </a:lnTo>
                    <a:lnTo>
                      <a:pt x="18" y="20"/>
                    </a:lnTo>
                    <a:lnTo>
                      <a:pt x="20" y="18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2" y="10"/>
                    </a:lnTo>
                    <a:lnTo>
                      <a:pt x="20" y="6"/>
                    </a:lnTo>
                    <a:lnTo>
                      <a:pt x="18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1" name="Freeform 318"/>
              <p:cNvSpPr>
                <a:spLocks/>
              </p:cNvSpPr>
              <p:nvPr userDrawn="1"/>
            </p:nvSpPr>
            <p:spPr bwMode="auto">
              <a:xfrm>
                <a:off x="6369050" y="5114925"/>
                <a:ext cx="31750" cy="3175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4" y="18"/>
                  </a:cxn>
                  <a:cxn ang="0">
                    <a:pos x="8" y="20"/>
                  </a:cxn>
                  <a:cxn ang="0">
                    <a:pos x="8" y="20"/>
                  </a:cxn>
                  <a:cxn ang="0">
                    <a:pos x="10" y="20"/>
                  </a:cxn>
                  <a:cxn ang="0">
                    <a:pos x="10" y="20"/>
                  </a:cxn>
                  <a:cxn ang="0">
                    <a:pos x="16" y="18"/>
                  </a:cxn>
                  <a:cxn ang="0">
                    <a:pos x="20" y="12"/>
                  </a:cxn>
                  <a:cxn ang="0">
                    <a:pos x="20" y="12"/>
                  </a:cxn>
                  <a:cxn ang="0">
                    <a:pos x="20" y="8"/>
                  </a:cxn>
                  <a:cxn ang="0">
                    <a:pos x="20" y="4"/>
                  </a:cxn>
                  <a:cxn ang="0">
                    <a:pos x="16" y="2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</a:cxnLst>
                <a:rect l="0" t="0" r="r" b="b"/>
                <a:pathLst>
                  <a:path w="20" h="20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4" y="18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6" y="18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4"/>
                    </a:lnTo>
                    <a:lnTo>
                      <a:pt x="16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2" name="Freeform 319"/>
              <p:cNvSpPr>
                <a:spLocks/>
              </p:cNvSpPr>
              <p:nvPr userDrawn="1"/>
            </p:nvSpPr>
            <p:spPr bwMode="auto">
              <a:xfrm>
                <a:off x="6369050" y="5114925"/>
                <a:ext cx="31750" cy="3175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4" y="18"/>
                  </a:cxn>
                  <a:cxn ang="0">
                    <a:pos x="8" y="20"/>
                  </a:cxn>
                  <a:cxn ang="0">
                    <a:pos x="8" y="20"/>
                  </a:cxn>
                  <a:cxn ang="0">
                    <a:pos x="10" y="20"/>
                  </a:cxn>
                  <a:cxn ang="0">
                    <a:pos x="10" y="20"/>
                  </a:cxn>
                  <a:cxn ang="0">
                    <a:pos x="16" y="18"/>
                  </a:cxn>
                  <a:cxn ang="0">
                    <a:pos x="20" y="12"/>
                  </a:cxn>
                  <a:cxn ang="0">
                    <a:pos x="20" y="12"/>
                  </a:cxn>
                  <a:cxn ang="0">
                    <a:pos x="20" y="8"/>
                  </a:cxn>
                  <a:cxn ang="0">
                    <a:pos x="20" y="4"/>
                  </a:cxn>
                  <a:cxn ang="0">
                    <a:pos x="16" y="2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</a:cxnLst>
                <a:rect l="0" t="0" r="r" b="b"/>
                <a:pathLst>
                  <a:path w="20" h="20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4" y="18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6" y="18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4"/>
                    </a:lnTo>
                    <a:lnTo>
                      <a:pt x="16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3" name="Freeform 320"/>
              <p:cNvSpPr>
                <a:spLocks/>
              </p:cNvSpPr>
              <p:nvPr userDrawn="1"/>
            </p:nvSpPr>
            <p:spPr bwMode="auto">
              <a:xfrm>
                <a:off x="6438900" y="5022850"/>
                <a:ext cx="28575" cy="2857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2" y="0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8"/>
                  </a:cxn>
                  <a:cxn ang="0">
                    <a:pos x="6" y="18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4" y="16"/>
                  </a:cxn>
                  <a:cxn ang="0">
                    <a:pos x="18" y="10"/>
                  </a:cxn>
                  <a:cxn ang="0">
                    <a:pos x="18" y="10"/>
                  </a:cxn>
                  <a:cxn ang="0">
                    <a:pos x="18" y="8"/>
                  </a:cxn>
                  <a:cxn ang="0">
                    <a:pos x="16" y="4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</a:cxnLst>
                <a:rect l="0" t="0" r="r" b="b"/>
                <a:pathLst>
                  <a:path w="18" h="18">
                    <a:moveTo>
                      <a:pt x="8" y="0"/>
                    </a:moveTo>
                    <a:lnTo>
                      <a:pt x="8" y="0"/>
                    </a:lnTo>
                    <a:lnTo>
                      <a:pt x="2" y="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4" y="16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8"/>
                    </a:lnTo>
                    <a:lnTo>
                      <a:pt x="16" y="4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4" name="Freeform 321"/>
              <p:cNvSpPr>
                <a:spLocks/>
              </p:cNvSpPr>
              <p:nvPr userDrawn="1"/>
            </p:nvSpPr>
            <p:spPr bwMode="auto">
              <a:xfrm>
                <a:off x="6438900" y="5022850"/>
                <a:ext cx="28575" cy="2857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2" y="0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8"/>
                  </a:cxn>
                  <a:cxn ang="0">
                    <a:pos x="6" y="18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4" y="16"/>
                  </a:cxn>
                  <a:cxn ang="0">
                    <a:pos x="18" y="10"/>
                  </a:cxn>
                  <a:cxn ang="0">
                    <a:pos x="18" y="10"/>
                  </a:cxn>
                  <a:cxn ang="0">
                    <a:pos x="18" y="8"/>
                  </a:cxn>
                  <a:cxn ang="0">
                    <a:pos x="16" y="4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</a:cxnLst>
                <a:rect l="0" t="0" r="r" b="b"/>
                <a:pathLst>
                  <a:path w="18" h="18">
                    <a:moveTo>
                      <a:pt x="8" y="0"/>
                    </a:moveTo>
                    <a:lnTo>
                      <a:pt x="8" y="0"/>
                    </a:lnTo>
                    <a:lnTo>
                      <a:pt x="2" y="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4" y="16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8"/>
                    </a:lnTo>
                    <a:lnTo>
                      <a:pt x="16" y="4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5" name="Freeform 322"/>
              <p:cNvSpPr>
                <a:spLocks/>
              </p:cNvSpPr>
              <p:nvPr userDrawn="1"/>
            </p:nvSpPr>
            <p:spPr bwMode="auto">
              <a:xfrm>
                <a:off x="6486525" y="4918075"/>
                <a:ext cx="28575" cy="2540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2" y="12"/>
                  </a:cxn>
                  <a:cxn ang="0">
                    <a:pos x="4" y="14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10" y="16"/>
                  </a:cxn>
                  <a:cxn ang="0">
                    <a:pos x="10" y="16"/>
                  </a:cxn>
                  <a:cxn ang="0">
                    <a:pos x="14" y="14"/>
                  </a:cxn>
                  <a:cxn ang="0">
                    <a:pos x="18" y="10"/>
                  </a:cxn>
                  <a:cxn ang="0">
                    <a:pos x="18" y="10"/>
                  </a:cxn>
                  <a:cxn ang="0">
                    <a:pos x="18" y="8"/>
                  </a:cxn>
                  <a:cxn ang="0">
                    <a:pos x="16" y="4"/>
                  </a:cxn>
                  <a:cxn ang="0">
                    <a:pos x="14" y="2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6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4" y="14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8"/>
                    </a:lnTo>
                    <a:lnTo>
                      <a:pt x="16" y="4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6" name="Freeform 323"/>
              <p:cNvSpPr>
                <a:spLocks/>
              </p:cNvSpPr>
              <p:nvPr userDrawn="1"/>
            </p:nvSpPr>
            <p:spPr bwMode="auto">
              <a:xfrm>
                <a:off x="6486525" y="4918075"/>
                <a:ext cx="28575" cy="2540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2" y="12"/>
                  </a:cxn>
                  <a:cxn ang="0">
                    <a:pos x="4" y="14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10" y="16"/>
                  </a:cxn>
                  <a:cxn ang="0">
                    <a:pos x="10" y="16"/>
                  </a:cxn>
                  <a:cxn ang="0">
                    <a:pos x="14" y="14"/>
                  </a:cxn>
                  <a:cxn ang="0">
                    <a:pos x="18" y="10"/>
                  </a:cxn>
                  <a:cxn ang="0">
                    <a:pos x="18" y="10"/>
                  </a:cxn>
                  <a:cxn ang="0">
                    <a:pos x="18" y="8"/>
                  </a:cxn>
                  <a:cxn ang="0">
                    <a:pos x="16" y="4"/>
                  </a:cxn>
                  <a:cxn ang="0">
                    <a:pos x="14" y="2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6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4" y="14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8"/>
                    </a:lnTo>
                    <a:lnTo>
                      <a:pt x="16" y="4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7" name="Freeform 324"/>
              <p:cNvSpPr>
                <a:spLocks/>
              </p:cNvSpPr>
              <p:nvPr userDrawn="1"/>
            </p:nvSpPr>
            <p:spPr bwMode="auto">
              <a:xfrm>
                <a:off x="6518275" y="4806950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12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2" y="14"/>
                  </a:cxn>
                  <a:cxn ang="0">
                    <a:pos x="16" y="10"/>
                  </a:cxn>
                  <a:cxn ang="0">
                    <a:pos x="16" y="10"/>
                  </a:cxn>
                  <a:cxn ang="0">
                    <a:pos x="14" y="4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12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2" y="14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4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8" name="Freeform 325"/>
              <p:cNvSpPr>
                <a:spLocks/>
              </p:cNvSpPr>
              <p:nvPr userDrawn="1"/>
            </p:nvSpPr>
            <p:spPr bwMode="auto">
              <a:xfrm>
                <a:off x="6518275" y="4806950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12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2" y="14"/>
                  </a:cxn>
                  <a:cxn ang="0">
                    <a:pos x="16" y="10"/>
                  </a:cxn>
                  <a:cxn ang="0">
                    <a:pos x="16" y="10"/>
                  </a:cxn>
                  <a:cxn ang="0">
                    <a:pos x="14" y="4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12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2" y="14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4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9" name="Freeform 326"/>
              <p:cNvSpPr>
                <a:spLocks/>
              </p:cNvSpPr>
              <p:nvPr userDrawn="1"/>
            </p:nvSpPr>
            <p:spPr bwMode="auto">
              <a:xfrm>
                <a:off x="5949950" y="5232400"/>
                <a:ext cx="50800" cy="5397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2" y="26"/>
                  </a:cxn>
                  <a:cxn ang="0">
                    <a:pos x="6" y="30"/>
                  </a:cxn>
                  <a:cxn ang="0">
                    <a:pos x="10" y="32"/>
                  </a:cxn>
                  <a:cxn ang="0">
                    <a:pos x="16" y="34"/>
                  </a:cxn>
                  <a:cxn ang="0">
                    <a:pos x="16" y="34"/>
                  </a:cxn>
                  <a:cxn ang="0">
                    <a:pos x="20" y="34"/>
                  </a:cxn>
                  <a:cxn ang="0">
                    <a:pos x="20" y="34"/>
                  </a:cxn>
                  <a:cxn ang="0">
                    <a:pos x="26" y="30"/>
                  </a:cxn>
                  <a:cxn ang="0">
                    <a:pos x="30" y="26"/>
                  </a:cxn>
                  <a:cxn ang="0">
                    <a:pos x="32" y="20"/>
                  </a:cxn>
                  <a:cxn ang="0">
                    <a:pos x="32" y="14"/>
                  </a:cxn>
                  <a:cxn ang="0">
                    <a:pos x="32" y="14"/>
                  </a:cxn>
                  <a:cxn ang="0">
                    <a:pos x="30" y="8"/>
                  </a:cxn>
                  <a:cxn ang="0">
                    <a:pos x="26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2" h="34">
                    <a:moveTo>
                      <a:pt x="16" y="0"/>
                    </a:moveTo>
                    <a:lnTo>
                      <a:pt x="16" y="0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2" y="26"/>
                    </a:lnTo>
                    <a:lnTo>
                      <a:pt x="6" y="30"/>
                    </a:lnTo>
                    <a:lnTo>
                      <a:pt x="10" y="32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6" y="30"/>
                    </a:lnTo>
                    <a:lnTo>
                      <a:pt x="30" y="26"/>
                    </a:lnTo>
                    <a:lnTo>
                      <a:pt x="32" y="20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30" y="8"/>
                    </a:lnTo>
                    <a:lnTo>
                      <a:pt x="26" y="4"/>
                    </a:lnTo>
                    <a:lnTo>
                      <a:pt x="22" y="2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0" name="Freeform 327"/>
              <p:cNvSpPr>
                <a:spLocks/>
              </p:cNvSpPr>
              <p:nvPr userDrawn="1"/>
            </p:nvSpPr>
            <p:spPr bwMode="auto">
              <a:xfrm>
                <a:off x="5949950" y="5232400"/>
                <a:ext cx="50800" cy="5397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2" y="26"/>
                  </a:cxn>
                  <a:cxn ang="0">
                    <a:pos x="6" y="30"/>
                  </a:cxn>
                  <a:cxn ang="0">
                    <a:pos x="10" y="32"/>
                  </a:cxn>
                  <a:cxn ang="0">
                    <a:pos x="16" y="34"/>
                  </a:cxn>
                  <a:cxn ang="0">
                    <a:pos x="16" y="34"/>
                  </a:cxn>
                  <a:cxn ang="0">
                    <a:pos x="20" y="34"/>
                  </a:cxn>
                  <a:cxn ang="0">
                    <a:pos x="20" y="34"/>
                  </a:cxn>
                  <a:cxn ang="0">
                    <a:pos x="26" y="30"/>
                  </a:cxn>
                  <a:cxn ang="0">
                    <a:pos x="30" y="26"/>
                  </a:cxn>
                  <a:cxn ang="0">
                    <a:pos x="32" y="20"/>
                  </a:cxn>
                  <a:cxn ang="0">
                    <a:pos x="32" y="14"/>
                  </a:cxn>
                  <a:cxn ang="0">
                    <a:pos x="32" y="14"/>
                  </a:cxn>
                  <a:cxn ang="0">
                    <a:pos x="30" y="8"/>
                  </a:cxn>
                  <a:cxn ang="0">
                    <a:pos x="26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2" h="34">
                    <a:moveTo>
                      <a:pt x="16" y="0"/>
                    </a:moveTo>
                    <a:lnTo>
                      <a:pt x="16" y="0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2" y="26"/>
                    </a:lnTo>
                    <a:lnTo>
                      <a:pt x="6" y="30"/>
                    </a:lnTo>
                    <a:lnTo>
                      <a:pt x="10" y="32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6" y="30"/>
                    </a:lnTo>
                    <a:lnTo>
                      <a:pt x="30" y="26"/>
                    </a:lnTo>
                    <a:lnTo>
                      <a:pt x="32" y="20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30" y="8"/>
                    </a:lnTo>
                    <a:lnTo>
                      <a:pt x="26" y="4"/>
                    </a:lnTo>
                    <a:lnTo>
                      <a:pt x="22" y="2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1" name="Freeform 328"/>
              <p:cNvSpPr>
                <a:spLocks/>
              </p:cNvSpPr>
              <p:nvPr userDrawn="1"/>
            </p:nvSpPr>
            <p:spPr bwMode="auto">
              <a:xfrm>
                <a:off x="5854700" y="5245100"/>
                <a:ext cx="44450" cy="4762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6" y="26"/>
                  </a:cxn>
                  <a:cxn ang="0">
                    <a:pos x="10" y="28"/>
                  </a:cxn>
                  <a:cxn ang="0">
                    <a:pos x="14" y="30"/>
                  </a:cxn>
                  <a:cxn ang="0">
                    <a:pos x="14" y="30"/>
                  </a:cxn>
                  <a:cxn ang="0">
                    <a:pos x="18" y="30"/>
                  </a:cxn>
                  <a:cxn ang="0">
                    <a:pos x="18" y="30"/>
                  </a:cxn>
                  <a:cxn ang="0">
                    <a:pos x="24" y="26"/>
                  </a:cxn>
                  <a:cxn ang="0">
                    <a:pos x="26" y="22"/>
                  </a:cxn>
                  <a:cxn ang="0">
                    <a:pos x="28" y="16"/>
                  </a:cxn>
                  <a:cxn ang="0">
                    <a:pos x="28" y="10"/>
                  </a:cxn>
                  <a:cxn ang="0">
                    <a:pos x="28" y="10"/>
                  </a:cxn>
                  <a:cxn ang="0">
                    <a:pos x="26" y="6"/>
                  </a:cxn>
                  <a:cxn ang="0">
                    <a:pos x="22" y="2"/>
                  </a:cxn>
                  <a:cxn ang="0">
                    <a:pos x="18" y="0"/>
                  </a:cxn>
                  <a:cxn ang="0">
                    <a:pos x="14" y="0"/>
                  </a:cxn>
                </a:cxnLst>
                <a:rect l="0" t="0" r="r" b="b"/>
                <a:pathLst>
                  <a:path w="28" h="30">
                    <a:moveTo>
                      <a:pt x="14" y="0"/>
                    </a:moveTo>
                    <a:lnTo>
                      <a:pt x="14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6" y="26"/>
                    </a:lnTo>
                    <a:lnTo>
                      <a:pt x="10" y="28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4" y="26"/>
                    </a:lnTo>
                    <a:lnTo>
                      <a:pt x="26" y="22"/>
                    </a:lnTo>
                    <a:lnTo>
                      <a:pt x="28" y="16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6" y="6"/>
                    </a:lnTo>
                    <a:lnTo>
                      <a:pt x="22" y="2"/>
                    </a:lnTo>
                    <a:lnTo>
                      <a:pt x="18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2" name="Freeform 329"/>
              <p:cNvSpPr>
                <a:spLocks/>
              </p:cNvSpPr>
              <p:nvPr userDrawn="1"/>
            </p:nvSpPr>
            <p:spPr bwMode="auto">
              <a:xfrm>
                <a:off x="5854700" y="5245100"/>
                <a:ext cx="44450" cy="4762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6" y="26"/>
                  </a:cxn>
                  <a:cxn ang="0">
                    <a:pos x="10" y="28"/>
                  </a:cxn>
                  <a:cxn ang="0">
                    <a:pos x="14" y="30"/>
                  </a:cxn>
                  <a:cxn ang="0">
                    <a:pos x="14" y="30"/>
                  </a:cxn>
                  <a:cxn ang="0">
                    <a:pos x="18" y="30"/>
                  </a:cxn>
                  <a:cxn ang="0">
                    <a:pos x="18" y="30"/>
                  </a:cxn>
                  <a:cxn ang="0">
                    <a:pos x="24" y="26"/>
                  </a:cxn>
                  <a:cxn ang="0">
                    <a:pos x="26" y="22"/>
                  </a:cxn>
                  <a:cxn ang="0">
                    <a:pos x="28" y="16"/>
                  </a:cxn>
                  <a:cxn ang="0">
                    <a:pos x="28" y="10"/>
                  </a:cxn>
                  <a:cxn ang="0">
                    <a:pos x="28" y="10"/>
                  </a:cxn>
                  <a:cxn ang="0">
                    <a:pos x="26" y="6"/>
                  </a:cxn>
                  <a:cxn ang="0">
                    <a:pos x="22" y="2"/>
                  </a:cxn>
                  <a:cxn ang="0">
                    <a:pos x="18" y="0"/>
                  </a:cxn>
                  <a:cxn ang="0">
                    <a:pos x="14" y="0"/>
                  </a:cxn>
                </a:cxnLst>
                <a:rect l="0" t="0" r="r" b="b"/>
                <a:pathLst>
                  <a:path w="28" h="30">
                    <a:moveTo>
                      <a:pt x="14" y="0"/>
                    </a:moveTo>
                    <a:lnTo>
                      <a:pt x="14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6" y="26"/>
                    </a:lnTo>
                    <a:lnTo>
                      <a:pt x="10" y="28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4" y="26"/>
                    </a:lnTo>
                    <a:lnTo>
                      <a:pt x="26" y="22"/>
                    </a:lnTo>
                    <a:lnTo>
                      <a:pt x="28" y="16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6" y="6"/>
                    </a:lnTo>
                    <a:lnTo>
                      <a:pt x="22" y="2"/>
                    </a:lnTo>
                    <a:lnTo>
                      <a:pt x="18" y="0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3" name="Freeform 330"/>
              <p:cNvSpPr>
                <a:spLocks/>
              </p:cNvSpPr>
              <p:nvPr userDrawn="1"/>
            </p:nvSpPr>
            <p:spPr bwMode="auto">
              <a:xfrm>
                <a:off x="5756275" y="5238750"/>
                <a:ext cx="44450" cy="4127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4" y="20"/>
                  </a:cxn>
                  <a:cxn ang="0">
                    <a:pos x="6" y="24"/>
                  </a:cxn>
                  <a:cxn ang="0">
                    <a:pos x="10" y="26"/>
                  </a:cxn>
                  <a:cxn ang="0">
                    <a:pos x="14" y="26"/>
                  </a:cxn>
                  <a:cxn ang="0">
                    <a:pos x="14" y="26"/>
                  </a:cxn>
                  <a:cxn ang="0">
                    <a:pos x="18" y="26"/>
                  </a:cxn>
                  <a:cxn ang="0">
                    <a:pos x="18" y="26"/>
                  </a:cxn>
                  <a:cxn ang="0">
                    <a:pos x="22" y="24"/>
                  </a:cxn>
                  <a:cxn ang="0">
                    <a:pos x="26" y="20"/>
                  </a:cxn>
                  <a:cxn ang="0">
                    <a:pos x="28" y="16"/>
                  </a:cxn>
                  <a:cxn ang="0">
                    <a:pos x="28" y="10"/>
                  </a:cxn>
                  <a:cxn ang="0">
                    <a:pos x="28" y="10"/>
                  </a:cxn>
                  <a:cxn ang="0">
                    <a:pos x="26" y="6"/>
                  </a:cxn>
                  <a:cxn ang="0">
                    <a:pos x="22" y="2"/>
                  </a:cxn>
                  <a:cxn ang="0">
                    <a:pos x="18" y="0"/>
                  </a:cxn>
                  <a:cxn ang="0">
                    <a:pos x="14" y="0"/>
                  </a:cxn>
                </a:cxnLst>
                <a:rect l="0" t="0" r="r" b="b"/>
                <a:pathLst>
                  <a:path w="28" h="26">
                    <a:moveTo>
                      <a:pt x="14" y="0"/>
                    </a:moveTo>
                    <a:lnTo>
                      <a:pt x="14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6" y="2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4" y="20"/>
                    </a:lnTo>
                    <a:lnTo>
                      <a:pt x="6" y="24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22" y="24"/>
                    </a:lnTo>
                    <a:lnTo>
                      <a:pt x="26" y="20"/>
                    </a:lnTo>
                    <a:lnTo>
                      <a:pt x="28" y="16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6" y="6"/>
                    </a:lnTo>
                    <a:lnTo>
                      <a:pt x="22" y="2"/>
                    </a:lnTo>
                    <a:lnTo>
                      <a:pt x="18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4" name="Freeform 331"/>
              <p:cNvSpPr>
                <a:spLocks/>
              </p:cNvSpPr>
              <p:nvPr userDrawn="1"/>
            </p:nvSpPr>
            <p:spPr bwMode="auto">
              <a:xfrm>
                <a:off x="5756275" y="5238750"/>
                <a:ext cx="44450" cy="4127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4" y="20"/>
                  </a:cxn>
                  <a:cxn ang="0">
                    <a:pos x="6" y="24"/>
                  </a:cxn>
                  <a:cxn ang="0">
                    <a:pos x="10" y="26"/>
                  </a:cxn>
                  <a:cxn ang="0">
                    <a:pos x="14" y="26"/>
                  </a:cxn>
                  <a:cxn ang="0">
                    <a:pos x="14" y="26"/>
                  </a:cxn>
                  <a:cxn ang="0">
                    <a:pos x="18" y="26"/>
                  </a:cxn>
                  <a:cxn ang="0">
                    <a:pos x="18" y="26"/>
                  </a:cxn>
                  <a:cxn ang="0">
                    <a:pos x="22" y="24"/>
                  </a:cxn>
                  <a:cxn ang="0">
                    <a:pos x="26" y="20"/>
                  </a:cxn>
                  <a:cxn ang="0">
                    <a:pos x="28" y="16"/>
                  </a:cxn>
                  <a:cxn ang="0">
                    <a:pos x="28" y="10"/>
                  </a:cxn>
                  <a:cxn ang="0">
                    <a:pos x="28" y="10"/>
                  </a:cxn>
                  <a:cxn ang="0">
                    <a:pos x="26" y="6"/>
                  </a:cxn>
                  <a:cxn ang="0">
                    <a:pos x="22" y="2"/>
                  </a:cxn>
                  <a:cxn ang="0">
                    <a:pos x="18" y="0"/>
                  </a:cxn>
                  <a:cxn ang="0">
                    <a:pos x="14" y="0"/>
                  </a:cxn>
                </a:cxnLst>
                <a:rect l="0" t="0" r="r" b="b"/>
                <a:pathLst>
                  <a:path w="28" h="26">
                    <a:moveTo>
                      <a:pt x="14" y="0"/>
                    </a:moveTo>
                    <a:lnTo>
                      <a:pt x="14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6" y="2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4" y="20"/>
                    </a:lnTo>
                    <a:lnTo>
                      <a:pt x="6" y="24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22" y="24"/>
                    </a:lnTo>
                    <a:lnTo>
                      <a:pt x="26" y="20"/>
                    </a:lnTo>
                    <a:lnTo>
                      <a:pt x="28" y="16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6" y="6"/>
                    </a:lnTo>
                    <a:lnTo>
                      <a:pt x="22" y="2"/>
                    </a:lnTo>
                    <a:lnTo>
                      <a:pt x="18" y="0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5" name="Freeform 332"/>
              <p:cNvSpPr>
                <a:spLocks/>
              </p:cNvSpPr>
              <p:nvPr userDrawn="1"/>
            </p:nvSpPr>
            <p:spPr bwMode="auto">
              <a:xfrm>
                <a:off x="5664200" y="5216525"/>
                <a:ext cx="38100" cy="3810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6" y="20"/>
                  </a:cxn>
                  <a:cxn ang="0">
                    <a:pos x="8" y="22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2"/>
                  </a:cxn>
                  <a:cxn ang="0">
                    <a:pos x="16" y="22"/>
                  </a:cxn>
                  <a:cxn ang="0">
                    <a:pos x="20" y="20"/>
                  </a:cxn>
                  <a:cxn ang="0">
                    <a:pos x="22" y="18"/>
                  </a:cxn>
                  <a:cxn ang="0">
                    <a:pos x="24" y="12"/>
                  </a:cxn>
                  <a:cxn ang="0">
                    <a:pos x="24" y="8"/>
                  </a:cxn>
                  <a:cxn ang="0">
                    <a:pos x="24" y="8"/>
                  </a:cxn>
                  <a:cxn ang="0">
                    <a:pos x="22" y="4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6" y="20"/>
                    </a:lnTo>
                    <a:lnTo>
                      <a:pt x="8" y="22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20" y="20"/>
                    </a:lnTo>
                    <a:lnTo>
                      <a:pt x="22" y="18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2" y="4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6" name="Freeform 333"/>
              <p:cNvSpPr>
                <a:spLocks/>
              </p:cNvSpPr>
              <p:nvPr userDrawn="1"/>
            </p:nvSpPr>
            <p:spPr bwMode="auto">
              <a:xfrm>
                <a:off x="5664200" y="5216525"/>
                <a:ext cx="38100" cy="3810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6" y="20"/>
                  </a:cxn>
                  <a:cxn ang="0">
                    <a:pos x="8" y="22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2"/>
                  </a:cxn>
                  <a:cxn ang="0">
                    <a:pos x="16" y="22"/>
                  </a:cxn>
                  <a:cxn ang="0">
                    <a:pos x="20" y="20"/>
                  </a:cxn>
                  <a:cxn ang="0">
                    <a:pos x="22" y="18"/>
                  </a:cxn>
                  <a:cxn ang="0">
                    <a:pos x="24" y="12"/>
                  </a:cxn>
                  <a:cxn ang="0">
                    <a:pos x="24" y="8"/>
                  </a:cxn>
                  <a:cxn ang="0">
                    <a:pos x="24" y="8"/>
                  </a:cxn>
                  <a:cxn ang="0">
                    <a:pos x="22" y="4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6" y="20"/>
                    </a:lnTo>
                    <a:lnTo>
                      <a:pt x="8" y="22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20" y="20"/>
                    </a:lnTo>
                    <a:lnTo>
                      <a:pt x="22" y="18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2" y="4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7" name="Freeform 334"/>
              <p:cNvSpPr>
                <a:spLocks/>
              </p:cNvSpPr>
              <p:nvPr userDrawn="1"/>
            </p:nvSpPr>
            <p:spPr bwMode="auto">
              <a:xfrm>
                <a:off x="5578475" y="5175250"/>
                <a:ext cx="31750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4" y="20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4" y="22"/>
                  </a:cxn>
                  <a:cxn ang="0">
                    <a:pos x="14" y="22"/>
                  </a:cxn>
                  <a:cxn ang="0">
                    <a:pos x="16" y="20"/>
                  </a:cxn>
                  <a:cxn ang="0">
                    <a:pos x="20" y="16"/>
                  </a:cxn>
                  <a:cxn ang="0">
                    <a:pos x="20" y="12"/>
                  </a:cxn>
                  <a:cxn ang="0">
                    <a:pos x="20" y="8"/>
                  </a:cxn>
                  <a:cxn ang="0">
                    <a:pos x="20" y="8"/>
                  </a:cxn>
                  <a:cxn ang="0">
                    <a:pos x="20" y="6"/>
                  </a:cxn>
                  <a:cxn ang="0">
                    <a:pos x="16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2">
                    <a:moveTo>
                      <a:pt x="10" y="0"/>
                    </a:moveTo>
                    <a:lnTo>
                      <a:pt x="10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4" y="20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6" y="20"/>
                    </a:lnTo>
                    <a:lnTo>
                      <a:pt x="20" y="16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6"/>
                    </a:lnTo>
                    <a:lnTo>
                      <a:pt x="16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8" name="Freeform 335"/>
              <p:cNvSpPr>
                <a:spLocks/>
              </p:cNvSpPr>
              <p:nvPr userDrawn="1"/>
            </p:nvSpPr>
            <p:spPr bwMode="auto">
              <a:xfrm>
                <a:off x="5578475" y="5175250"/>
                <a:ext cx="31750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4" y="20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4" y="22"/>
                  </a:cxn>
                  <a:cxn ang="0">
                    <a:pos x="14" y="22"/>
                  </a:cxn>
                  <a:cxn ang="0">
                    <a:pos x="16" y="20"/>
                  </a:cxn>
                  <a:cxn ang="0">
                    <a:pos x="20" y="16"/>
                  </a:cxn>
                  <a:cxn ang="0">
                    <a:pos x="20" y="12"/>
                  </a:cxn>
                  <a:cxn ang="0">
                    <a:pos x="20" y="8"/>
                  </a:cxn>
                  <a:cxn ang="0">
                    <a:pos x="20" y="8"/>
                  </a:cxn>
                  <a:cxn ang="0">
                    <a:pos x="20" y="6"/>
                  </a:cxn>
                  <a:cxn ang="0">
                    <a:pos x="16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2">
                    <a:moveTo>
                      <a:pt x="10" y="0"/>
                    </a:moveTo>
                    <a:lnTo>
                      <a:pt x="10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4" y="20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6" y="20"/>
                    </a:lnTo>
                    <a:lnTo>
                      <a:pt x="20" y="16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6"/>
                    </a:lnTo>
                    <a:lnTo>
                      <a:pt x="16" y="2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9" name="Freeform 336"/>
              <p:cNvSpPr>
                <a:spLocks/>
              </p:cNvSpPr>
              <p:nvPr userDrawn="1"/>
            </p:nvSpPr>
            <p:spPr bwMode="auto">
              <a:xfrm>
                <a:off x="5499100" y="5121275"/>
                <a:ext cx="31750" cy="3175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4" y="18"/>
                  </a:cxn>
                  <a:cxn ang="0">
                    <a:pos x="10" y="20"/>
                  </a:cxn>
                  <a:cxn ang="0">
                    <a:pos x="10" y="20"/>
                  </a:cxn>
                  <a:cxn ang="0">
                    <a:pos x="12" y="18"/>
                  </a:cxn>
                  <a:cxn ang="0">
                    <a:pos x="12" y="18"/>
                  </a:cxn>
                  <a:cxn ang="0">
                    <a:pos x="16" y="18"/>
                  </a:cxn>
                  <a:cxn ang="0">
                    <a:pos x="18" y="14"/>
                  </a:cxn>
                  <a:cxn ang="0">
                    <a:pos x="20" y="10"/>
                  </a:cxn>
                  <a:cxn ang="0">
                    <a:pos x="18" y="8"/>
                  </a:cxn>
                  <a:cxn ang="0">
                    <a:pos x="18" y="8"/>
                  </a:cxn>
                  <a:cxn ang="0">
                    <a:pos x="16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0">
                    <a:moveTo>
                      <a:pt x="10" y="0"/>
                    </a:moveTo>
                    <a:lnTo>
                      <a:pt x="10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4" y="18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6" y="18"/>
                    </a:lnTo>
                    <a:lnTo>
                      <a:pt x="18" y="14"/>
                    </a:lnTo>
                    <a:lnTo>
                      <a:pt x="20" y="10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6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00" name="Freeform 337"/>
              <p:cNvSpPr>
                <a:spLocks/>
              </p:cNvSpPr>
              <p:nvPr userDrawn="1"/>
            </p:nvSpPr>
            <p:spPr bwMode="auto">
              <a:xfrm>
                <a:off x="5499100" y="5121275"/>
                <a:ext cx="31750" cy="3175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4" y="18"/>
                  </a:cxn>
                  <a:cxn ang="0">
                    <a:pos x="10" y="20"/>
                  </a:cxn>
                  <a:cxn ang="0">
                    <a:pos x="10" y="20"/>
                  </a:cxn>
                  <a:cxn ang="0">
                    <a:pos x="12" y="18"/>
                  </a:cxn>
                  <a:cxn ang="0">
                    <a:pos x="12" y="18"/>
                  </a:cxn>
                  <a:cxn ang="0">
                    <a:pos x="16" y="18"/>
                  </a:cxn>
                  <a:cxn ang="0">
                    <a:pos x="18" y="14"/>
                  </a:cxn>
                  <a:cxn ang="0">
                    <a:pos x="20" y="10"/>
                  </a:cxn>
                  <a:cxn ang="0">
                    <a:pos x="18" y="8"/>
                  </a:cxn>
                  <a:cxn ang="0">
                    <a:pos x="18" y="8"/>
                  </a:cxn>
                  <a:cxn ang="0">
                    <a:pos x="16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0">
                    <a:moveTo>
                      <a:pt x="10" y="0"/>
                    </a:moveTo>
                    <a:lnTo>
                      <a:pt x="10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4" y="18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6" y="18"/>
                    </a:lnTo>
                    <a:lnTo>
                      <a:pt x="18" y="14"/>
                    </a:lnTo>
                    <a:lnTo>
                      <a:pt x="20" y="10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6" y="2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01" name="Freeform 338"/>
              <p:cNvSpPr>
                <a:spLocks/>
              </p:cNvSpPr>
              <p:nvPr userDrawn="1"/>
            </p:nvSpPr>
            <p:spPr bwMode="auto">
              <a:xfrm>
                <a:off x="5429250" y="5051425"/>
                <a:ext cx="28575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4" y="16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8"/>
                  </a:cxn>
                  <a:cxn ang="0">
                    <a:pos x="12" y="18"/>
                  </a:cxn>
                  <a:cxn ang="0">
                    <a:pos x="16" y="16"/>
                  </a:cxn>
                  <a:cxn ang="0">
                    <a:pos x="18" y="14"/>
                  </a:cxn>
                  <a:cxn ang="0">
                    <a:pos x="18" y="10"/>
                  </a:cxn>
                  <a:cxn ang="0">
                    <a:pos x="18" y="8"/>
                  </a:cxn>
                  <a:cxn ang="0">
                    <a:pos x="18" y="8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4" y="16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6" y="16"/>
                    </a:lnTo>
                    <a:lnTo>
                      <a:pt x="18" y="14"/>
                    </a:lnTo>
                    <a:lnTo>
                      <a:pt x="18" y="10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4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02" name="Freeform 339"/>
              <p:cNvSpPr>
                <a:spLocks/>
              </p:cNvSpPr>
              <p:nvPr userDrawn="1"/>
            </p:nvSpPr>
            <p:spPr bwMode="auto">
              <a:xfrm>
                <a:off x="5429250" y="5051425"/>
                <a:ext cx="28575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4" y="16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8"/>
                  </a:cxn>
                  <a:cxn ang="0">
                    <a:pos x="12" y="18"/>
                  </a:cxn>
                  <a:cxn ang="0">
                    <a:pos x="16" y="16"/>
                  </a:cxn>
                  <a:cxn ang="0">
                    <a:pos x="18" y="14"/>
                  </a:cxn>
                  <a:cxn ang="0">
                    <a:pos x="18" y="10"/>
                  </a:cxn>
                  <a:cxn ang="0">
                    <a:pos x="18" y="8"/>
                  </a:cxn>
                  <a:cxn ang="0">
                    <a:pos x="18" y="8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4" y="16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6" y="16"/>
                    </a:lnTo>
                    <a:lnTo>
                      <a:pt x="18" y="14"/>
                    </a:lnTo>
                    <a:lnTo>
                      <a:pt x="18" y="10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4" y="2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03" name="Freeform 340"/>
              <p:cNvSpPr>
                <a:spLocks/>
              </p:cNvSpPr>
              <p:nvPr userDrawn="1"/>
            </p:nvSpPr>
            <p:spPr bwMode="auto">
              <a:xfrm>
                <a:off x="5375275" y="4975225"/>
                <a:ext cx="25400" cy="2222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2" y="4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4" y="14"/>
                  </a:cxn>
                  <a:cxn ang="0">
                    <a:pos x="8" y="14"/>
                  </a:cxn>
                  <a:cxn ang="0">
                    <a:pos x="8" y="14"/>
                  </a:cxn>
                  <a:cxn ang="0">
                    <a:pos x="10" y="14"/>
                  </a:cxn>
                  <a:cxn ang="0">
                    <a:pos x="10" y="14"/>
                  </a:cxn>
                  <a:cxn ang="0">
                    <a:pos x="12" y="14"/>
                  </a:cxn>
                  <a:cxn ang="0">
                    <a:pos x="14" y="10"/>
                  </a:cxn>
                  <a:cxn ang="0">
                    <a:pos x="16" y="8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2" y="0"/>
                  </a:cxn>
                  <a:cxn ang="0">
                    <a:pos x="8" y="0"/>
                  </a:cxn>
                </a:cxnLst>
                <a:rect l="0" t="0" r="r" b="b"/>
                <a:pathLst>
                  <a:path w="16" h="14">
                    <a:moveTo>
                      <a:pt x="8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4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2" y="14"/>
                    </a:lnTo>
                    <a:lnTo>
                      <a:pt x="14" y="10"/>
                    </a:lnTo>
                    <a:lnTo>
                      <a:pt x="16" y="8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2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04" name="Freeform 341"/>
              <p:cNvSpPr>
                <a:spLocks/>
              </p:cNvSpPr>
              <p:nvPr userDrawn="1"/>
            </p:nvSpPr>
            <p:spPr bwMode="auto">
              <a:xfrm>
                <a:off x="5375275" y="4975225"/>
                <a:ext cx="25400" cy="2222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2" y="4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4" y="14"/>
                  </a:cxn>
                  <a:cxn ang="0">
                    <a:pos x="8" y="14"/>
                  </a:cxn>
                  <a:cxn ang="0">
                    <a:pos x="8" y="14"/>
                  </a:cxn>
                  <a:cxn ang="0">
                    <a:pos x="10" y="14"/>
                  </a:cxn>
                  <a:cxn ang="0">
                    <a:pos x="10" y="14"/>
                  </a:cxn>
                  <a:cxn ang="0">
                    <a:pos x="12" y="14"/>
                  </a:cxn>
                  <a:cxn ang="0">
                    <a:pos x="14" y="10"/>
                  </a:cxn>
                  <a:cxn ang="0">
                    <a:pos x="16" y="8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2" y="0"/>
                  </a:cxn>
                  <a:cxn ang="0">
                    <a:pos x="8" y="0"/>
                  </a:cxn>
                </a:cxnLst>
                <a:rect l="0" t="0" r="r" b="b"/>
                <a:pathLst>
                  <a:path w="16" h="14">
                    <a:moveTo>
                      <a:pt x="8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4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2" y="14"/>
                    </a:lnTo>
                    <a:lnTo>
                      <a:pt x="14" y="10"/>
                    </a:lnTo>
                    <a:lnTo>
                      <a:pt x="16" y="8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2" y="0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05" name="Freeform 342"/>
              <p:cNvSpPr>
                <a:spLocks/>
              </p:cNvSpPr>
              <p:nvPr userDrawn="1"/>
            </p:nvSpPr>
            <p:spPr bwMode="auto">
              <a:xfrm>
                <a:off x="5337175" y="4886325"/>
                <a:ext cx="19050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8" y="14"/>
                  </a:cxn>
                  <a:cxn ang="0">
                    <a:pos x="8" y="14"/>
                  </a:cxn>
                  <a:cxn ang="0">
                    <a:pos x="12" y="10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4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2" y="10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06" name="Freeform 343"/>
              <p:cNvSpPr>
                <a:spLocks/>
              </p:cNvSpPr>
              <p:nvPr userDrawn="1"/>
            </p:nvSpPr>
            <p:spPr bwMode="auto">
              <a:xfrm>
                <a:off x="5337175" y="4886325"/>
                <a:ext cx="19050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8" y="14"/>
                  </a:cxn>
                  <a:cxn ang="0">
                    <a:pos x="8" y="14"/>
                  </a:cxn>
                  <a:cxn ang="0">
                    <a:pos x="12" y="10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4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2" y="10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0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07" name="Freeform 344"/>
              <p:cNvSpPr>
                <a:spLocks/>
              </p:cNvSpPr>
              <p:nvPr userDrawn="1"/>
            </p:nvSpPr>
            <p:spPr bwMode="auto">
              <a:xfrm>
                <a:off x="5311775" y="4791075"/>
                <a:ext cx="19050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8" y="14"/>
                  </a:cxn>
                  <a:cxn ang="0">
                    <a:pos x="8" y="14"/>
                  </a:cxn>
                  <a:cxn ang="0">
                    <a:pos x="12" y="10"/>
                  </a:cxn>
                  <a:cxn ang="0">
                    <a:pos x="12" y="6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4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2" y="10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08" name="Freeform 345"/>
              <p:cNvSpPr>
                <a:spLocks/>
              </p:cNvSpPr>
              <p:nvPr userDrawn="1"/>
            </p:nvSpPr>
            <p:spPr bwMode="auto">
              <a:xfrm>
                <a:off x="5311775" y="4791075"/>
                <a:ext cx="19050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8" y="14"/>
                  </a:cxn>
                  <a:cxn ang="0">
                    <a:pos x="8" y="14"/>
                  </a:cxn>
                  <a:cxn ang="0">
                    <a:pos x="12" y="10"/>
                  </a:cxn>
                  <a:cxn ang="0">
                    <a:pos x="12" y="6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4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2" y="10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09" name="Freeform 346"/>
              <p:cNvSpPr>
                <a:spLocks/>
              </p:cNvSpPr>
              <p:nvPr userDrawn="1"/>
            </p:nvSpPr>
            <p:spPr bwMode="auto">
              <a:xfrm>
                <a:off x="6045200" y="5207000"/>
                <a:ext cx="50800" cy="5397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2" y="26"/>
                  </a:cxn>
                  <a:cxn ang="0">
                    <a:pos x="6" y="30"/>
                  </a:cxn>
                  <a:cxn ang="0">
                    <a:pos x="10" y="32"/>
                  </a:cxn>
                  <a:cxn ang="0">
                    <a:pos x="16" y="34"/>
                  </a:cxn>
                  <a:cxn ang="0">
                    <a:pos x="16" y="34"/>
                  </a:cxn>
                  <a:cxn ang="0">
                    <a:pos x="20" y="34"/>
                  </a:cxn>
                  <a:cxn ang="0">
                    <a:pos x="20" y="34"/>
                  </a:cxn>
                  <a:cxn ang="0">
                    <a:pos x="26" y="30"/>
                  </a:cxn>
                  <a:cxn ang="0">
                    <a:pos x="30" y="26"/>
                  </a:cxn>
                  <a:cxn ang="0">
                    <a:pos x="32" y="20"/>
                  </a:cxn>
                  <a:cxn ang="0">
                    <a:pos x="32" y="14"/>
                  </a:cxn>
                  <a:cxn ang="0">
                    <a:pos x="32" y="14"/>
                  </a:cxn>
                  <a:cxn ang="0">
                    <a:pos x="30" y="8"/>
                  </a:cxn>
                  <a:cxn ang="0">
                    <a:pos x="26" y="4"/>
                  </a:cxn>
                  <a:cxn ang="0">
                    <a:pos x="20" y="2"/>
                  </a:cxn>
                  <a:cxn ang="0">
                    <a:pos x="16" y="0"/>
                  </a:cxn>
                </a:cxnLst>
                <a:rect l="0" t="0" r="r" b="b"/>
                <a:pathLst>
                  <a:path w="32" h="34">
                    <a:moveTo>
                      <a:pt x="16" y="0"/>
                    </a:moveTo>
                    <a:lnTo>
                      <a:pt x="16" y="0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2" y="26"/>
                    </a:lnTo>
                    <a:lnTo>
                      <a:pt x="6" y="30"/>
                    </a:lnTo>
                    <a:lnTo>
                      <a:pt x="10" y="32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6" y="30"/>
                    </a:lnTo>
                    <a:lnTo>
                      <a:pt x="30" y="26"/>
                    </a:lnTo>
                    <a:lnTo>
                      <a:pt x="32" y="20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30" y="8"/>
                    </a:lnTo>
                    <a:lnTo>
                      <a:pt x="26" y="4"/>
                    </a:lnTo>
                    <a:lnTo>
                      <a:pt x="20" y="2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10" name="Freeform 347"/>
              <p:cNvSpPr>
                <a:spLocks/>
              </p:cNvSpPr>
              <p:nvPr userDrawn="1"/>
            </p:nvSpPr>
            <p:spPr bwMode="auto">
              <a:xfrm>
                <a:off x="6045200" y="5207000"/>
                <a:ext cx="50800" cy="5397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2" y="26"/>
                  </a:cxn>
                  <a:cxn ang="0">
                    <a:pos x="6" y="30"/>
                  </a:cxn>
                  <a:cxn ang="0">
                    <a:pos x="10" y="32"/>
                  </a:cxn>
                  <a:cxn ang="0">
                    <a:pos x="16" y="34"/>
                  </a:cxn>
                  <a:cxn ang="0">
                    <a:pos x="16" y="34"/>
                  </a:cxn>
                  <a:cxn ang="0">
                    <a:pos x="20" y="34"/>
                  </a:cxn>
                  <a:cxn ang="0">
                    <a:pos x="20" y="34"/>
                  </a:cxn>
                  <a:cxn ang="0">
                    <a:pos x="26" y="30"/>
                  </a:cxn>
                  <a:cxn ang="0">
                    <a:pos x="30" y="26"/>
                  </a:cxn>
                  <a:cxn ang="0">
                    <a:pos x="32" y="20"/>
                  </a:cxn>
                  <a:cxn ang="0">
                    <a:pos x="32" y="14"/>
                  </a:cxn>
                  <a:cxn ang="0">
                    <a:pos x="32" y="14"/>
                  </a:cxn>
                  <a:cxn ang="0">
                    <a:pos x="30" y="8"/>
                  </a:cxn>
                  <a:cxn ang="0">
                    <a:pos x="26" y="4"/>
                  </a:cxn>
                  <a:cxn ang="0">
                    <a:pos x="20" y="2"/>
                  </a:cxn>
                  <a:cxn ang="0">
                    <a:pos x="16" y="0"/>
                  </a:cxn>
                </a:cxnLst>
                <a:rect l="0" t="0" r="r" b="b"/>
                <a:pathLst>
                  <a:path w="32" h="34">
                    <a:moveTo>
                      <a:pt x="16" y="0"/>
                    </a:moveTo>
                    <a:lnTo>
                      <a:pt x="16" y="0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2" y="26"/>
                    </a:lnTo>
                    <a:lnTo>
                      <a:pt x="6" y="30"/>
                    </a:lnTo>
                    <a:lnTo>
                      <a:pt x="10" y="32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6" y="30"/>
                    </a:lnTo>
                    <a:lnTo>
                      <a:pt x="30" y="26"/>
                    </a:lnTo>
                    <a:lnTo>
                      <a:pt x="32" y="20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30" y="8"/>
                    </a:lnTo>
                    <a:lnTo>
                      <a:pt x="26" y="4"/>
                    </a:lnTo>
                    <a:lnTo>
                      <a:pt x="20" y="2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11" name="Freeform 348"/>
              <p:cNvSpPr>
                <a:spLocks/>
              </p:cNvSpPr>
              <p:nvPr userDrawn="1"/>
            </p:nvSpPr>
            <p:spPr bwMode="auto">
              <a:xfrm>
                <a:off x="6137275" y="5168900"/>
                <a:ext cx="44450" cy="4762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4" y="26"/>
                  </a:cxn>
                  <a:cxn ang="0">
                    <a:pos x="8" y="30"/>
                  </a:cxn>
                  <a:cxn ang="0">
                    <a:pos x="14" y="30"/>
                  </a:cxn>
                  <a:cxn ang="0">
                    <a:pos x="14" y="30"/>
                  </a:cxn>
                  <a:cxn ang="0">
                    <a:pos x="18" y="30"/>
                  </a:cxn>
                  <a:cxn ang="0">
                    <a:pos x="18" y="30"/>
                  </a:cxn>
                  <a:cxn ang="0">
                    <a:pos x="22" y="26"/>
                  </a:cxn>
                  <a:cxn ang="0">
                    <a:pos x="26" y="22"/>
                  </a:cxn>
                  <a:cxn ang="0">
                    <a:pos x="28" y="18"/>
                  </a:cxn>
                  <a:cxn ang="0">
                    <a:pos x="28" y="12"/>
                  </a:cxn>
                  <a:cxn ang="0">
                    <a:pos x="28" y="12"/>
                  </a:cxn>
                  <a:cxn ang="0">
                    <a:pos x="26" y="6"/>
                  </a:cxn>
                  <a:cxn ang="0">
                    <a:pos x="22" y="4"/>
                  </a:cxn>
                  <a:cxn ang="0">
                    <a:pos x="18" y="2"/>
                  </a:cxn>
                  <a:cxn ang="0">
                    <a:pos x="14" y="0"/>
                  </a:cxn>
                </a:cxnLst>
                <a:rect l="0" t="0" r="r" b="b"/>
                <a:pathLst>
                  <a:path w="28" h="30">
                    <a:moveTo>
                      <a:pt x="14" y="0"/>
                    </a:moveTo>
                    <a:lnTo>
                      <a:pt x="14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4" y="4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4" y="26"/>
                    </a:lnTo>
                    <a:lnTo>
                      <a:pt x="8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2" y="26"/>
                    </a:lnTo>
                    <a:lnTo>
                      <a:pt x="26" y="22"/>
                    </a:lnTo>
                    <a:lnTo>
                      <a:pt x="28" y="18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6" y="6"/>
                    </a:lnTo>
                    <a:lnTo>
                      <a:pt x="22" y="4"/>
                    </a:lnTo>
                    <a:lnTo>
                      <a:pt x="18" y="2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12" name="Freeform 349"/>
              <p:cNvSpPr>
                <a:spLocks/>
              </p:cNvSpPr>
              <p:nvPr userDrawn="1"/>
            </p:nvSpPr>
            <p:spPr bwMode="auto">
              <a:xfrm>
                <a:off x="6137275" y="5168900"/>
                <a:ext cx="44450" cy="4762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4" y="26"/>
                  </a:cxn>
                  <a:cxn ang="0">
                    <a:pos x="8" y="30"/>
                  </a:cxn>
                  <a:cxn ang="0">
                    <a:pos x="14" y="30"/>
                  </a:cxn>
                  <a:cxn ang="0">
                    <a:pos x="14" y="30"/>
                  </a:cxn>
                  <a:cxn ang="0">
                    <a:pos x="18" y="30"/>
                  </a:cxn>
                  <a:cxn ang="0">
                    <a:pos x="18" y="30"/>
                  </a:cxn>
                  <a:cxn ang="0">
                    <a:pos x="22" y="26"/>
                  </a:cxn>
                  <a:cxn ang="0">
                    <a:pos x="26" y="22"/>
                  </a:cxn>
                  <a:cxn ang="0">
                    <a:pos x="28" y="18"/>
                  </a:cxn>
                  <a:cxn ang="0">
                    <a:pos x="28" y="12"/>
                  </a:cxn>
                  <a:cxn ang="0">
                    <a:pos x="28" y="12"/>
                  </a:cxn>
                  <a:cxn ang="0">
                    <a:pos x="26" y="6"/>
                  </a:cxn>
                  <a:cxn ang="0">
                    <a:pos x="22" y="4"/>
                  </a:cxn>
                  <a:cxn ang="0">
                    <a:pos x="18" y="2"/>
                  </a:cxn>
                  <a:cxn ang="0">
                    <a:pos x="14" y="0"/>
                  </a:cxn>
                </a:cxnLst>
                <a:rect l="0" t="0" r="r" b="b"/>
                <a:pathLst>
                  <a:path w="28" h="30">
                    <a:moveTo>
                      <a:pt x="14" y="0"/>
                    </a:moveTo>
                    <a:lnTo>
                      <a:pt x="14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4" y="4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4" y="26"/>
                    </a:lnTo>
                    <a:lnTo>
                      <a:pt x="8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2" y="26"/>
                    </a:lnTo>
                    <a:lnTo>
                      <a:pt x="26" y="22"/>
                    </a:lnTo>
                    <a:lnTo>
                      <a:pt x="28" y="18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6" y="6"/>
                    </a:lnTo>
                    <a:lnTo>
                      <a:pt x="22" y="4"/>
                    </a:lnTo>
                    <a:lnTo>
                      <a:pt x="18" y="2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13" name="Freeform 350"/>
              <p:cNvSpPr>
                <a:spLocks/>
              </p:cNvSpPr>
              <p:nvPr userDrawn="1"/>
            </p:nvSpPr>
            <p:spPr bwMode="auto">
              <a:xfrm>
                <a:off x="6219825" y="5114925"/>
                <a:ext cx="41275" cy="4127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0" y="6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4" y="24"/>
                  </a:cxn>
                  <a:cxn ang="0">
                    <a:pos x="8" y="26"/>
                  </a:cxn>
                  <a:cxn ang="0">
                    <a:pos x="12" y="26"/>
                  </a:cxn>
                  <a:cxn ang="0">
                    <a:pos x="12" y="26"/>
                  </a:cxn>
                  <a:cxn ang="0">
                    <a:pos x="16" y="26"/>
                  </a:cxn>
                  <a:cxn ang="0">
                    <a:pos x="16" y="26"/>
                  </a:cxn>
                  <a:cxn ang="0">
                    <a:pos x="20" y="24"/>
                  </a:cxn>
                  <a:cxn ang="0">
                    <a:pos x="24" y="20"/>
                  </a:cxn>
                  <a:cxn ang="0">
                    <a:pos x="26" y="16"/>
                  </a:cxn>
                  <a:cxn ang="0">
                    <a:pos x="26" y="10"/>
                  </a:cxn>
                  <a:cxn ang="0">
                    <a:pos x="26" y="10"/>
                  </a:cxn>
                  <a:cxn ang="0">
                    <a:pos x="24" y="6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6" h="26">
                    <a:moveTo>
                      <a:pt x="12" y="0"/>
                    </a:moveTo>
                    <a:lnTo>
                      <a:pt x="12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4" y="4"/>
                    </a:lnTo>
                    <a:lnTo>
                      <a:pt x="0" y="6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4" y="24"/>
                    </a:lnTo>
                    <a:lnTo>
                      <a:pt x="8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20" y="24"/>
                    </a:lnTo>
                    <a:lnTo>
                      <a:pt x="24" y="20"/>
                    </a:lnTo>
                    <a:lnTo>
                      <a:pt x="26" y="16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4" y="6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14" name="Freeform 351"/>
              <p:cNvSpPr>
                <a:spLocks/>
              </p:cNvSpPr>
              <p:nvPr userDrawn="1"/>
            </p:nvSpPr>
            <p:spPr bwMode="auto">
              <a:xfrm>
                <a:off x="6219825" y="5114925"/>
                <a:ext cx="41275" cy="4127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0" y="6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4" y="24"/>
                  </a:cxn>
                  <a:cxn ang="0">
                    <a:pos x="8" y="26"/>
                  </a:cxn>
                  <a:cxn ang="0">
                    <a:pos x="12" y="26"/>
                  </a:cxn>
                  <a:cxn ang="0">
                    <a:pos x="12" y="26"/>
                  </a:cxn>
                  <a:cxn ang="0">
                    <a:pos x="16" y="26"/>
                  </a:cxn>
                  <a:cxn ang="0">
                    <a:pos x="16" y="26"/>
                  </a:cxn>
                  <a:cxn ang="0">
                    <a:pos x="20" y="24"/>
                  </a:cxn>
                  <a:cxn ang="0">
                    <a:pos x="24" y="20"/>
                  </a:cxn>
                  <a:cxn ang="0">
                    <a:pos x="26" y="16"/>
                  </a:cxn>
                  <a:cxn ang="0">
                    <a:pos x="26" y="10"/>
                  </a:cxn>
                  <a:cxn ang="0">
                    <a:pos x="26" y="10"/>
                  </a:cxn>
                  <a:cxn ang="0">
                    <a:pos x="24" y="6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6" h="26">
                    <a:moveTo>
                      <a:pt x="12" y="0"/>
                    </a:moveTo>
                    <a:lnTo>
                      <a:pt x="12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4" y="4"/>
                    </a:lnTo>
                    <a:lnTo>
                      <a:pt x="0" y="6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4" y="24"/>
                    </a:lnTo>
                    <a:lnTo>
                      <a:pt x="8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20" y="24"/>
                    </a:lnTo>
                    <a:lnTo>
                      <a:pt x="24" y="20"/>
                    </a:lnTo>
                    <a:lnTo>
                      <a:pt x="26" y="16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4" y="6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15" name="Freeform 352"/>
              <p:cNvSpPr>
                <a:spLocks/>
              </p:cNvSpPr>
              <p:nvPr userDrawn="1"/>
            </p:nvSpPr>
            <p:spPr bwMode="auto">
              <a:xfrm>
                <a:off x="6289675" y="5048250"/>
                <a:ext cx="38100" cy="3810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6" y="22"/>
                  </a:cxn>
                  <a:cxn ang="0">
                    <a:pos x="8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4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2" y="18"/>
                  </a:cxn>
                  <a:cxn ang="0">
                    <a:pos x="24" y="14"/>
                  </a:cxn>
                  <a:cxn ang="0">
                    <a:pos x="24" y="8"/>
                  </a:cxn>
                  <a:cxn ang="0">
                    <a:pos x="24" y="8"/>
                  </a:cxn>
                  <a:cxn ang="0">
                    <a:pos x="22" y="4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6" y="22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2" y="18"/>
                    </a:lnTo>
                    <a:lnTo>
                      <a:pt x="24" y="14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2" y="4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16" name="Freeform 353"/>
              <p:cNvSpPr>
                <a:spLocks/>
              </p:cNvSpPr>
              <p:nvPr userDrawn="1"/>
            </p:nvSpPr>
            <p:spPr bwMode="auto">
              <a:xfrm>
                <a:off x="6289675" y="5048250"/>
                <a:ext cx="38100" cy="3810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6" y="22"/>
                  </a:cxn>
                  <a:cxn ang="0">
                    <a:pos x="8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4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2" y="18"/>
                  </a:cxn>
                  <a:cxn ang="0">
                    <a:pos x="24" y="14"/>
                  </a:cxn>
                  <a:cxn ang="0">
                    <a:pos x="24" y="8"/>
                  </a:cxn>
                  <a:cxn ang="0">
                    <a:pos x="24" y="8"/>
                  </a:cxn>
                  <a:cxn ang="0">
                    <a:pos x="22" y="4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6" y="22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2" y="18"/>
                    </a:lnTo>
                    <a:lnTo>
                      <a:pt x="24" y="14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2" y="4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17" name="Freeform 354"/>
              <p:cNvSpPr>
                <a:spLocks/>
              </p:cNvSpPr>
              <p:nvPr userDrawn="1"/>
            </p:nvSpPr>
            <p:spPr bwMode="auto">
              <a:xfrm>
                <a:off x="6350000" y="4968875"/>
                <a:ext cx="31750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0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2" y="22"/>
                  </a:cxn>
                  <a:cxn ang="0">
                    <a:pos x="12" y="22"/>
                  </a:cxn>
                  <a:cxn ang="0">
                    <a:pos x="16" y="20"/>
                  </a:cxn>
                  <a:cxn ang="0">
                    <a:pos x="20" y="16"/>
                  </a:cxn>
                  <a:cxn ang="0">
                    <a:pos x="20" y="12"/>
                  </a:cxn>
                  <a:cxn ang="0">
                    <a:pos x="20" y="8"/>
                  </a:cxn>
                  <a:cxn ang="0">
                    <a:pos x="20" y="8"/>
                  </a:cxn>
                  <a:cxn ang="0">
                    <a:pos x="18" y="4"/>
                  </a:cxn>
                  <a:cxn ang="0">
                    <a:pos x="16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2">
                    <a:moveTo>
                      <a:pt x="10" y="0"/>
                    </a:moveTo>
                    <a:lnTo>
                      <a:pt x="10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0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0"/>
                    </a:lnTo>
                    <a:lnTo>
                      <a:pt x="20" y="16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18" y="4"/>
                    </a:lnTo>
                    <a:lnTo>
                      <a:pt x="16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18" name="Freeform 355"/>
              <p:cNvSpPr>
                <a:spLocks/>
              </p:cNvSpPr>
              <p:nvPr userDrawn="1"/>
            </p:nvSpPr>
            <p:spPr bwMode="auto">
              <a:xfrm>
                <a:off x="6350000" y="4968875"/>
                <a:ext cx="31750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0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2" y="22"/>
                  </a:cxn>
                  <a:cxn ang="0">
                    <a:pos x="12" y="22"/>
                  </a:cxn>
                  <a:cxn ang="0">
                    <a:pos x="16" y="20"/>
                  </a:cxn>
                  <a:cxn ang="0">
                    <a:pos x="20" y="16"/>
                  </a:cxn>
                  <a:cxn ang="0">
                    <a:pos x="20" y="12"/>
                  </a:cxn>
                  <a:cxn ang="0">
                    <a:pos x="20" y="8"/>
                  </a:cxn>
                  <a:cxn ang="0">
                    <a:pos x="20" y="8"/>
                  </a:cxn>
                  <a:cxn ang="0">
                    <a:pos x="18" y="4"/>
                  </a:cxn>
                  <a:cxn ang="0">
                    <a:pos x="16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2">
                    <a:moveTo>
                      <a:pt x="10" y="0"/>
                    </a:moveTo>
                    <a:lnTo>
                      <a:pt x="10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0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0"/>
                    </a:lnTo>
                    <a:lnTo>
                      <a:pt x="20" y="16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18" y="4"/>
                    </a:lnTo>
                    <a:lnTo>
                      <a:pt x="16" y="2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19" name="Freeform 356"/>
              <p:cNvSpPr>
                <a:spLocks/>
              </p:cNvSpPr>
              <p:nvPr userDrawn="1"/>
            </p:nvSpPr>
            <p:spPr bwMode="auto">
              <a:xfrm>
                <a:off x="6391275" y="4883150"/>
                <a:ext cx="31750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4" y="16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8"/>
                  </a:cxn>
                  <a:cxn ang="0">
                    <a:pos x="12" y="18"/>
                  </a:cxn>
                  <a:cxn ang="0">
                    <a:pos x="16" y="16"/>
                  </a:cxn>
                  <a:cxn ang="0">
                    <a:pos x="18" y="14"/>
                  </a:cxn>
                  <a:cxn ang="0">
                    <a:pos x="20" y="10"/>
                  </a:cxn>
                  <a:cxn ang="0">
                    <a:pos x="20" y="6"/>
                  </a:cxn>
                  <a:cxn ang="0">
                    <a:pos x="20" y="6"/>
                  </a:cxn>
                  <a:cxn ang="0">
                    <a:pos x="16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18">
                    <a:moveTo>
                      <a:pt x="10" y="0"/>
                    </a:moveTo>
                    <a:lnTo>
                      <a:pt x="10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4" y="16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6" y="16"/>
                    </a:lnTo>
                    <a:lnTo>
                      <a:pt x="18" y="14"/>
                    </a:lnTo>
                    <a:lnTo>
                      <a:pt x="20" y="10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16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20" name="Freeform 357"/>
              <p:cNvSpPr>
                <a:spLocks/>
              </p:cNvSpPr>
              <p:nvPr userDrawn="1"/>
            </p:nvSpPr>
            <p:spPr bwMode="auto">
              <a:xfrm>
                <a:off x="6391275" y="4883150"/>
                <a:ext cx="31750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4" y="16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8"/>
                  </a:cxn>
                  <a:cxn ang="0">
                    <a:pos x="12" y="18"/>
                  </a:cxn>
                  <a:cxn ang="0">
                    <a:pos x="16" y="16"/>
                  </a:cxn>
                  <a:cxn ang="0">
                    <a:pos x="18" y="14"/>
                  </a:cxn>
                  <a:cxn ang="0">
                    <a:pos x="20" y="10"/>
                  </a:cxn>
                  <a:cxn ang="0">
                    <a:pos x="20" y="6"/>
                  </a:cxn>
                  <a:cxn ang="0">
                    <a:pos x="20" y="6"/>
                  </a:cxn>
                  <a:cxn ang="0">
                    <a:pos x="16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18">
                    <a:moveTo>
                      <a:pt x="10" y="0"/>
                    </a:moveTo>
                    <a:lnTo>
                      <a:pt x="10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4" y="16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6" y="16"/>
                    </a:lnTo>
                    <a:lnTo>
                      <a:pt x="18" y="14"/>
                    </a:lnTo>
                    <a:lnTo>
                      <a:pt x="20" y="10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16" y="2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21" name="Freeform 358"/>
              <p:cNvSpPr>
                <a:spLocks/>
              </p:cNvSpPr>
              <p:nvPr userDrawn="1"/>
            </p:nvSpPr>
            <p:spPr bwMode="auto">
              <a:xfrm>
                <a:off x="6419850" y="4787900"/>
                <a:ext cx="25400" cy="2857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4" y="16"/>
                  </a:cxn>
                  <a:cxn ang="0">
                    <a:pos x="16" y="14"/>
                  </a:cxn>
                  <a:cxn ang="0">
                    <a:pos x="16" y="10"/>
                  </a:cxn>
                  <a:cxn ang="0">
                    <a:pos x="16" y="6"/>
                  </a:cxn>
                  <a:cxn ang="0">
                    <a:pos x="16" y="6"/>
                  </a:cxn>
                  <a:cxn ang="0">
                    <a:pos x="14" y="2"/>
                  </a:cxn>
                  <a:cxn ang="0">
                    <a:pos x="8" y="0"/>
                  </a:cxn>
                </a:cxnLst>
                <a:rect l="0" t="0" r="r" b="b"/>
                <a:pathLst>
                  <a:path w="16" h="18">
                    <a:moveTo>
                      <a:pt x="8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4" y="16"/>
                    </a:lnTo>
                    <a:lnTo>
                      <a:pt x="16" y="14"/>
                    </a:lnTo>
                    <a:lnTo>
                      <a:pt x="16" y="10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4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22" name="Freeform 359"/>
              <p:cNvSpPr>
                <a:spLocks/>
              </p:cNvSpPr>
              <p:nvPr userDrawn="1"/>
            </p:nvSpPr>
            <p:spPr bwMode="auto">
              <a:xfrm>
                <a:off x="6419850" y="4787900"/>
                <a:ext cx="25400" cy="2857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4" y="16"/>
                  </a:cxn>
                  <a:cxn ang="0">
                    <a:pos x="16" y="14"/>
                  </a:cxn>
                  <a:cxn ang="0">
                    <a:pos x="16" y="10"/>
                  </a:cxn>
                  <a:cxn ang="0">
                    <a:pos x="16" y="6"/>
                  </a:cxn>
                  <a:cxn ang="0">
                    <a:pos x="16" y="6"/>
                  </a:cxn>
                  <a:cxn ang="0">
                    <a:pos x="14" y="2"/>
                  </a:cxn>
                  <a:cxn ang="0">
                    <a:pos x="8" y="0"/>
                  </a:cxn>
                </a:cxnLst>
                <a:rect l="0" t="0" r="r" b="b"/>
                <a:pathLst>
                  <a:path w="16" h="18">
                    <a:moveTo>
                      <a:pt x="8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4" y="16"/>
                    </a:lnTo>
                    <a:lnTo>
                      <a:pt x="16" y="14"/>
                    </a:lnTo>
                    <a:lnTo>
                      <a:pt x="16" y="10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4" y="2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23" name="Freeform 360"/>
              <p:cNvSpPr>
                <a:spLocks/>
              </p:cNvSpPr>
              <p:nvPr userDrawn="1"/>
            </p:nvSpPr>
            <p:spPr bwMode="auto">
              <a:xfrm>
                <a:off x="6429375" y="4692650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0" y="14"/>
                  </a:cxn>
                  <a:cxn ang="0">
                    <a:pos x="10" y="14"/>
                  </a:cxn>
                  <a:cxn ang="0">
                    <a:pos x="12" y="14"/>
                  </a:cxn>
                  <a:cxn ang="0">
                    <a:pos x="14" y="12"/>
                  </a:cxn>
                  <a:cxn ang="0">
                    <a:pos x="16" y="8"/>
                  </a:cxn>
                  <a:cxn ang="0">
                    <a:pos x="16" y="6"/>
                  </a:cxn>
                  <a:cxn ang="0">
                    <a:pos x="16" y="6"/>
                  </a:cxn>
                  <a:cxn ang="0">
                    <a:pos x="12" y="0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2" y="14"/>
                    </a:lnTo>
                    <a:lnTo>
                      <a:pt x="14" y="12"/>
                    </a:lnTo>
                    <a:lnTo>
                      <a:pt x="16" y="8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2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24" name="Freeform 361"/>
              <p:cNvSpPr>
                <a:spLocks/>
              </p:cNvSpPr>
              <p:nvPr userDrawn="1"/>
            </p:nvSpPr>
            <p:spPr bwMode="auto">
              <a:xfrm>
                <a:off x="6429375" y="4692650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0" y="14"/>
                  </a:cxn>
                  <a:cxn ang="0">
                    <a:pos x="10" y="14"/>
                  </a:cxn>
                  <a:cxn ang="0">
                    <a:pos x="12" y="14"/>
                  </a:cxn>
                  <a:cxn ang="0">
                    <a:pos x="14" y="12"/>
                  </a:cxn>
                  <a:cxn ang="0">
                    <a:pos x="16" y="8"/>
                  </a:cxn>
                  <a:cxn ang="0">
                    <a:pos x="16" y="6"/>
                  </a:cxn>
                  <a:cxn ang="0">
                    <a:pos x="16" y="6"/>
                  </a:cxn>
                  <a:cxn ang="0">
                    <a:pos x="12" y="0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2" y="14"/>
                    </a:lnTo>
                    <a:lnTo>
                      <a:pt x="14" y="12"/>
                    </a:lnTo>
                    <a:lnTo>
                      <a:pt x="16" y="8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2" y="0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25" name="Freeform 362"/>
              <p:cNvSpPr>
                <a:spLocks/>
              </p:cNvSpPr>
              <p:nvPr userDrawn="1"/>
            </p:nvSpPr>
            <p:spPr bwMode="auto">
              <a:xfrm>
                <a:off x="6423025" y="4594225"/>
                <a:ext cx="22225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4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8" y="14"/>
                  </a:cxn>
                  <a:cxn ang="0">
                    <a:pos x="8" y="14"/>
                  </a:cxn>
                  <a:cxn ang="0">
                    <a:pos x="12" y="10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4" h="14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2" y="10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26" name="Freeform 363"/>
              <p:cNvSpPr>
                <a:spLocks/>
              </p:cNvSpPr>
              <p:nvPr userDrawn="1"/>
            </p:nvSpPr>
            <p:spPr bwMode="auto">
              <a:xfrm>
                <a:off x="6423025" y="4594225"/>
                <a:ext cx="22225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4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8" y="14"/>
                  </a:cxn>
                  <a:cxn ang="0">
                    <a:pos x="8" y="14"/>
                  </a:cxn>
                  <a:cxn ang="0">
                    <a:pos x="12" y="10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4" h="14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2" y="10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0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27" name="Freeform 364"/>
              <p:cNvSpPr>
                <a:spLocks/>
              </p:cNvSpPr>
              <p:nvPr userDrawn="1"/>
            </p:nvSpPr>
            <p:spPr bwMode="auto">
              <a:xfrm>
                <a:off x="6397625" y="4502150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2" y="8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0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0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28" name="Freeform 365"/>
              <p:cNvSpPr>
                <a:spLocks/>
              </p:cNvSpPr>
              <p:nvPr userDrawn="1"/>
            </p:nvSpPr>
            <p:spPr bwMode="auto">
              <a:xfrm>
                <a:off x="6397625" y="4502150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2" y="8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0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0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29" name="Freeform 366"/>
              <p:cNvSpPr>
                <a:spLocks/>
              </p:cNvSpPr>
              <p:nvPr userDrawn="1"/>
            </p:nvSpPr>
            <p:spPr bwMode="auto">
              <a:xfrm>
                <a:off x="6162675" y="5048250"/>
                <a:ext cx="44450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10"/>
                  </a:cxn>
                  <a:cxn ang="0">
                    <a:pos x="0" y="14"/>
                  </a:cxn>
                  <a:cxn ang="0">
                    <a:pos x="2" y="20"/>
                  </a:cxn>
                  <a:cxn ang="0">
                    <a:pos x="4" y="24"/>
                  </a:cxn>
                  <a:cxn ang="0">
                    <a:pos x="4" y="24"/>
                  </a:cxn>
                  <a:cxn ang="0">
                    <a:pos x="8" y="28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20" y="28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8" y="20"/>
                  </a:cxn>
                  <a:cxn ang="0">
                    <a:pos x="28" y="14"/>
                  </a:cxn>
                  <a:cxn ang="0">
                    <a:pos x="28" y="10"/>
                  </a:cxn>
                  <a:cxn ang="0">
                    <a:pos x="24" y="4"/>
                  </a:cxn>
                  <a:cxn ang="0">
                    <a:pos x="24" y="4"/>
                  </a:cxn>
                  <a:cxn ang="0">
                    <a:pos x="20" y="2"/>
                  </a:cxn>
                  <a:cxn ang="0">
                    <a:pos x="14" y="0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lnTo>
                      <a:pt x="14" y="0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10"/>
                    </a:lnTo>
                    <a:lnTo>
                      <a:pt x="0" y="14"/>
                    </a:lnTo>
                    <a:lnTo>
                      <a:pt x="2" y="20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8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20" y="28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8" y="20"/>
                    </a:lnTo>
                    <a:lnTo>
                      <a:pt x="28" y="14"/>
                    </a:lnTo>
                    <a:lnTo>
                      <a:pt x="28" y="10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0" y="2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30" name="Freeform 367"/>
              <p:cNvSpPr>
                <a:spLocks/>
              </p:cNvSpPr>
              <p:nvPr userDrawn="1"/>
            </p:nvSpPr>
            <p:spPr bwMode="auto">
              <a:xfrm>
                <a:off x="6162675" y="5048250"/>
                <a:ext cx="44450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10"/>
                  </a:cxn>
                  <a:cxn ang="0">
                    <a:pos x="0" y="14"/>
                  </a:cxn>
                  <a:cxn ang="0">
                    <a:pos x="2" y="20"/>
                  </a:cxn>
                  <a:cxn ang="0">
                    <a:pos x="4" y="24"/>
                  </a:cxn>
                  <a:cxn ang="0">
                    <a:pos x="4" y="24"/>
                  </a:cxn>
                  <a:cxn ang="0">
                    <a:pos x="8" y="28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20" y="28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8" y="20"/>
                  </a:cxn>
                  <a:cxn ang="0">
                    <a:pos x="28" y="14"/>
                  </a:cxn>
                  <a:cxn ang="0">
                    <a:pos x="28" y="10"/>
                  </a:cxn>
                  <a:cxn ang="0">
                    <a:pos x="24" y="4"/>
                  </a:cxn>
                  <a:cxn ang="0">
                    <a:pos x="24" y="4"/>
                  </a:cxn>
                  <a:cxn ang="0">
                    <a:pos x="20" y="2"/>
                  </a:cxn>
                  <a:cxn ang="0">
                    <a:pos x="14" y="0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lnTo>
                      <a:pt x="14" y="0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10"/>
                    </a:lnTo>
                    <a:lnTo>
                      <a:pt x="0" y="14"/>
                    </a:lnTo>
                    <a:lnTo>
                      <a:pt x="2" y="20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8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20" y="28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8" y="20"/>
                    </a:lnTo>
                    <a:lnTo>
                      <a:pt x="28" y="14"/>
                    </a:lnTo>
                    <a:lnTo>
                      <a:pt x="28" y="10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0" y="2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31" name="Freeform 368"/>
              <p:cNvSpPr>
                <a:spLocks/>
              </p:cNvSpPr>
              <p:nvPr userDrawn="1"/>
            </p:nvSpPr>
            <p:spPr bwMode="auto">
              <a:xfrm>
                <a:off x="6096000" y="5099050"/>
                <a:ext cx="41275" cy="4127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2" y="18"/>
                  </a:cxn>
                  <a:cxn ang="0">
                    <a:pos x="4" y="22"/>
                  </a:cxn>
                  <a:cxn ang="0">
                    <a:pos x="4" y="22"/>
                  </a:cxn>
                  <a:cxn ang="0">
                    <a:pos x="8" y="24"/>
                  </a:cxn>
                  <a:cxn ang="0">
                    <a:pos x="14" y="26"/>
                  </a:cxn>
                  <a:cxn ang="0">
                    <a:pos x="14" y="26"/>
                  </a:cxn>
                  <a:cxn ang="0">
                    <a:pos x="18" y="24"/>
                  </a:cxn>
                  <a:cxn ang="0">
                    <a:pos x="22" y="22"/>
                  </a:cxn>
                  <a:cxn ang="0">
                    <a:pos x="22" y="22"/>
                  </a:cxn>
                  <a:cxn ang="0">
                    <a:pos x="24" y="18"/>
                  </a:cxn>
                  <a:cxn ang="0">
                    <a:pos x="26" y="12"/>
                  </a:cxn>
                  <a:cxn ang="0">
                    <a:pos x="24" y="8"/>
                  </a:cxn>
                  <a:cxn ang="0">
                    <a:pos x="22" y="4"/>
                  </a:cxn>
                  <a:cxn ang="0">
                    <a:pos x="22" y="4"/>
                  </a:cxn>
                  <a:cxn ang="0">
                    <a:pos x="18" y="2"/>
                  </a:cxn>
                  <a:cxn ang="0">
                    <a:pos x="14" y="0"/>
                  </a:cxn>
                </a:cxnLst>
                <a:rect l="0" t="0" r="r" b="b"/>
                <a:pathLst>
                  <a:path w="26" h="26">
                    <a:moveTo>
                      <a:pt x="14" y="0"/>
                    </a:moveTo>
                    <a:lnTo>
                      <a:pt x="14" y="0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2" y="18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8" y="24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8" y="24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4" y="18"/>
                    </a:lnTo>
                    <a:lnTo>
                      <a:pt x="26" y="12"/>
                    </a:lnTo>
                    <a:lnTo>
                      <a:pt x="24" y="8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18" y="2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32" name="Freeform 369"/>
              <p:cNvSpPr>
                <a:spLocks/>
              </p:cNvSpPr>
              <p:nvPr userDrawn="1"/>
            </p:nvSpPr>
            <p:spPr bwMode="auto">
              <a:xfrm>
                <a:off x="6096000" y="5099050"/>
                <a:ext cx="41275" cy="4127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2" y="18"/>
                  </a:cxn>
                  <a:cxn ang="0">
                    <a:pos x="4" y="22"/>
                  </a:cxn>
                  <a:cxn ang="0">
                    <a:pos x="4" y="22"/>
                  </a:cxn>
                  <a:cxn ang="0">
                    <a:pos x="8" y="24"/>
                  </a:cxn>
                  <a:cxn ang="0">
                    <a:pos x="14" y="26"/>
                  </a:cxn>
                  <a:cxn ang="0">
                    <a:pos x="14" y="26"/>
                  </a:cxn>
                  <a:cxn ang="0">
                    <a:pos x="18" y="24"/>
                  </a:cxn>
                  <a:cxn ang="0">
                    <a:pos x="22" y="22"/>
                  </a:cxn>
                  <a:cxn ang="0">
                    <a:pos x="22" y="22"/>
                  </a:cxn>
                  <a:cxn ang="0">
                    <a:pos x="24" y="18"/>
                  </a:cxn>
                  <a:cxn ang="0">
                    <a:pos x="26" y="12"/>
                  </a:cxn>
                  <a:cxn ang="0">
                    <a:pos x="24" y="8"/>
                  </a:cxn>
                  <a:cxn ang="0">
                    <a:pos x="22" y="4"/>
                  </a:cxn>
                  <a:cxn ang="0">
                    <a:pos x="22" y="4"/>
                  </a:cxn>
                  <a:cxn ang="0">
                    <a:pos x="18" y="2"/>
                  </a:cxn>
                  <a:cxn ang="0">
                    <a:pos x="14" y="0"/>
                  </a:cxn>
                </a:cxnLst>
                <a:rect l="0" t="0" r="r" b="b"/>
                <a:pathLst>
                  <a:path w="26" h="26">
                    <a:moveTo>
                      <a:pt x="14" y="0"/>
                    </a:moveTo>
                    <a:lnTo>
                      <a:pt x="14" y="0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2" y="18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8" y="24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8" y="24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4" y="18"/>
                    </a:lnTo>
                    <a:lnTo>
                      <a:pt x="26" y="12"/>
                    </a:lnTo>
                    <a:lnTo>
                      <a:pt x="24" y="8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18" y="2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33" name="Freeform 370"/>
              <p:cNvSpPr>
                <a:spLocks/>
              </p:cNvSpPr>
              <p:nvPr userDrawn="1"/>
            </p:nvSpPr>
            <p:spPr bwMode="auto">
              <a:xfrm>
                <a:off x="6022975" y="5137150"/>
                <a:ext cx="34925" cy="3492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6"/>
                  </a:cxn>
                  <a:cxn ang="0">
                    <a:pos x="0" y="12"/>
                  </a:cxn>
                  <a:cxn ang="0">
                    <a:pos x="0" y="16"/>
                  </a:cxn>
                  <a:cxn ang="0">
                    <a:pos x="4" y="20"/>
                  </a:cxn>
                  <a:cxn ang="0">
                    <a:pos x="4" y="20"/>
                  </a:cxn>
                  <a:cxn ang="0">
                    <a:pos x="8" y="22"/>
                  </a:cxn>
                  <a:cxn ang="0">
                    <a:pos x="12" y="22"/>
                  </a:cxn>
                  <a:cxn ang="0">
                    <a:pos x="12" y="22"/>
                  </a:cxn>
                  <a:cxn ang="0">
                    <a:pos x="16" y="22"/>
                  </a:cxn>
                  <a:cxn ang="0">
                    <a:pos x="20" y="20"/>
                  </a:cxn>
                  <a:cxn ang="0">
                    <a:pos x="20" y="20"/>
                  </a:cxn>
                  <a:cxn ang="0">
                    <a:pos x="22" y="16"/>
                  </a:cxn>
                  <a:cxn ang="0">
                    <a:pos x="22" y="12"/>
                  </a:cxn>
                  <a:cxn ang="0">
                    <a:pos x="22" y="6"/>
                  </a:cxn>
                  <a:cxn ang="0">
                    <a:pos x="20" y="4"/>
                  </a:cxn>
                  <a:cxn ang="0">
                    <a:pos x="20" y="4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2" h="22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6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8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22" y="16"/>
                    </a:lnTo>
                    <a:lnTo>
                      <a:pt x="22" y="12"/>
                    </a:lnTo>
                    <a:lnTo>
                      <a:pt x="22" y="6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34" name="Freeform 371"/>
              <p:cNvSpPr>
                <a:spLocks/>
              </p:cNvSpPr>
              <p:nvPr userDrawn="1"/>
            </p:nvSpPr>
            <p:spPr bwMode="auto">
              <a:xfrm>
                <a:off x="6022975" y="5137150"/>
                <a:ext cx="34925" cy="3492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6"/>
                  </a:cxn>
                  <a:cxn ang="0">
                    <a:pos x="0" y="12"/>
                  </a:cxn>
                  <a:cxn ang="0">
                    <a:pos x="0" y="16"/>
                  </a:cxn>
                  <a:cxn ang="0">
                    <a:pos x="4" y="20"/>
                  </a:cxn>
                  <a:cxn ang="0">
                    <a:pos x="4" y="20"/>
                  </a:cxn>
                  <a:cxn ang="0">
                    <a:pos x="8" y="22"/>
                  </a:cxn>
                  <a:cxn ang="0">
                    <a:pos x="12" y="22"/>
                  </a:cxn>
                  <a:cxn ang="0">
                    <a:pos x="12" y="22"/>
                  </a:cxn>
                  <a:cxn ang="0">
                    <a:pos x="16" y="22"/>
                  </a:cxn>
                  <a:cxn ang="0">
                    <a:pos x="20" y="20"/>
                  </a:cxn>
                  <a:cxn ang="0">
                    <a:pos x="20" y="20"/>
                  </a:cxn>
                  <a:cxn ang="0">
                    <a:pos x="22" y="16"/>
                  </a:cxn>
                  <a:cxn ang="0">
                    <a:pos x="22" y="12"/>
                  </a:cxn>
                  <a:cxn ang="0">
                    <a:pos x="22" y="6"/>
                  </a:cxn>
                  <a:cxn ang="0">
                    <a:pos x="20" y="4"/>
                  </a:cxn>
                  <a:cxn ang="0">
                    <a:pos x="20" y="4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2" h="22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6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8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22" y="16"/>
                    </a:lnTo>
                    <a:lnTo>
                      <a:pt x="22" y="12"/>
                    </a:lnTo>
                    <a:lnTo>
                      <a:pt x="22" y="6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6" y="0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35" name="Freeform 372"/>
              <p:cNvSpPr>
                <a:spLocks/>
              </p:cNvSpPr>
              <p:nvPr userDrawn="1"/>
            </p:nvSpPr>
            <p:spPr bwMode="auto">
              <a:xfrm>
                <a:off x="5943600" y="5159375"/>
                <a:ext cx="31750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4" y="18"/>
                  </a:cxn>
                  <a:cxn ang="0">
                    <a:pos x="4" y="18"/>
                  </a:cxn>
                  <a:cxn ang="0">
                    <a:pos x="6" y="20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4" y="20"/>
                  </a:cxn>
                  <a:cxn ang="0">
                    <a:pos x="18" y="18"/>
                  </a:cxn>
                  <a:cxn ang="0">
                    <a:pos x="18" y="18"/>
                  </a:cxn>
                  <a:cxn ang="0">
                    <a:pos x="20" y="14"/>
                  </a:cxn>
                  <a:cxn ang="0">
                    <a:pos x="20" y="10"/>
                  </a:cxn>
                  <a:cxn ang="0">
                    <a:pos x="20" y="6"/>
                  </a:cxn>
                  <a:cxn ang="0">
                    <a:pos x="18" y="4"/>
                  </a:cxn>
                  <a:cxn ang="0">
                    <a:pos x="18" y="4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2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6" y="20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4" y="20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20" y="14"/>
                    </a:lnTo>
                    <a:lnTo>
                      <a:pt x="20" y="10"/>
                    </a:lnTo>
                    <a:lnTo>
                      <a:pt x="20" y="6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4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36" name="Freeform 373"/>
              <p:cNvSpPr>
                <a:spLocks/>
              </p:cNvSpPr>
              <p:nvPr userDrawn="1"/>
            </p:nvSpPr>
            <p:spPr bwMode="auto">
              <a:xfrm>
                <a:off x="5943600" y="5159375"/>
                <a:ext cx="31750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4" y="18"/>
                  </a:cxn>
                  <a:cxn ang="0">
                    <a:pos x="4" y="18"/>
                  </a:cxn>
                  <a:cxn ang="0">
                    <a:pos x="6" y="20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4" y="20"/>
                  </a:cxn>
                  <a:cxn ang="0">
                    <a:pos x="18" y="18"/>
                  </a:cxn>
                  <a:cxn ang="0">
                    <a:pos x="18" y="18"/>
                  </a:cxn>
                  <a:cxn ang="0">
                    <a:pos x="20" y="14"/>
                  </a:cxn>
                  <a:cxn ang="0">
                    <a:pos x="20" y="10"/>
                  </a:cxn>
                  <a:cxn ang="0">
                    <a:pos x="20" y="6"/>
                  </a:cxn>
                  <a:cxn ang="0">
                    <a:pos x="18" y="4"/>
                  </a:cxn>
                  <a:cxn ang="0">
                    <a:pos x="18" y="4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2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6" y="20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4" y="20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20" y="14"/>
                    </a:lnTo>
                    <a:lnTo>
                      <a:pt x="20" y="10"/>
                    </a:lnTo>
                    <a:lnTo>
                      <a:pt x="20" y="6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4" y="2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37" name="Freeform 374"/>
              <p:cNvSpPr>
                <a:spLocks/>
              </p:cNvSpPr>
              <p:nvPr userDrawn="1"/>
            </p:nvSpPr>
            <p:spPr bwMode="auto">
              <a:xfrm>
                <a:off x="5861050" y="5168900"/>
                <a:ext cx="31750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2" y="12"/>
                  </a:cxn>
                  <a:cxn ang="0">
                    <a:pos x="4" y="16"/>
                  </a:cxn>
                  <a:cxn ang="0">
                    <a:pos x="4" y="16"/>
                  </a:cxn>
                  <a:cxn ang="0">
                    <a:pos x="6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4" y="18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18" y="12"/>
                  </a:cxn>
                  <a:cxn ang="0">
                    <a:pos x="20" y="10"/>
                  </a:cxn>
                  <a:cxn ang="0">
                    <a:pos x="18" y="6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4" y="0"/>
                  </a:cxn>
                  <a:cxn ang="0">
                    <a:pos x="10" y="0"/>
                  </a:cxn>
                </a:cxnLst>
                <a:rect l="0" t="0" r="r" b="b"/>
                <a:pathLst>
                  <a:path w="20" h="18">
                    <a:moveTo>
                      <a:pt x="10" y="0"/>
                    </a:moveTo>
                    <a:lnTo>
                      <a:pt x="10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2" y="12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6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4" y="18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8" y="12"/>
                    </a:lnTo>
                    <a:lnTo>
                      <a:pt x="20" y="10"/>
                    </a:lnTo>
                    <a:lnTo>
                      <a:pt x="18" y="6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4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38" name="Freeform 375"/>
              <p:cNvSpPr>
                <a:spLocks/>
              </p:cNvSpPr>
              <p:nvPr userDrawn="1"/>
            </p:nvSpPr>
            <p:spPr bwMode="auto">
              <a:xfrm>
                <a:off x="5861050" y="5168900"/>
                <a:ext cx="31750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2" y="12"/>
                  </a:cxn>
                  <a:cxn ang="0">
                    <a:pos x="4" y="16"/>
                  </a:cxn>
                  <a:cxn ang="0">
                    <a:pos x="4" y="16"/>
                  </a:cxn>
                  <a:cxn ang="0">
                    <a:pos x="6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4" y="18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18" y="12"/>
                  </a:cxn>
                  <a:cxn ang="0">
                    <a:pos x="20" y="10"/>
                  </a:cxn>
                  <a:cxn ang="0">
                    <a:pos x="18" y="6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4" y="0"/>
                  </a:cxn>
                  <a:cxn ang="0">
                    <a:pos x="10" y="0"/>
                  </a:cxn>
                </a:cxnLst>
                <a:rect l="0" t="0" r="r" b="b"/>
                <a:pathLst>
                  <a:path w="20" h="18">
                    <a:moveTo>
                      <a:pt x="10" y="0"/>
                    </a:moveTo>
                    <a:lnTo>
                      <a:pt x="10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2" y="12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6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4" y="18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8" y="12"/>
                    </a:lnTo>
                    <a:lnTo>
                      <a:pt x="20" y="10"/>
                    </a:lnTo>
                    <a:lnTo>
                      <a:pt x="18" y="6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4" y="0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39" name="Freeform 376"/>
              <p:cNvSpPr>
                <a:spLocks/>
              </p:cNvSpPr>
              <p:nvPr userDrawn="1"/>
            </p:nvSpPr>
            <p:spPr bwMode="auto">
              <a:xfrm>
                <a:off x="5781675" y="5162550"/>
                <a:ext cx="25400" cy="2857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4"/>
                  </a:cxn>
                  <a:cxn ang="0">
                    <a:pos x="2" y="14"/>
                  </a:cxn>
                  <a:cxn ang="0">
                    <a:pos x="4" y="16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0" y="16"/>
                  </a:cxn>
                  <a:cxn ang="0">
                    <a:pos x="14" y="14"/>
                  </a:cxn>
                  <a:cxn ang="0">
                    <a:pos x="14" y="14"/>
                  </a:cxn>
                  <a:cxn ang="0">
                    <a:pos x="16" y="12"/>
                  </a:cxn>
                  <a:cxn ang="0">
                    <a:pos x="16" y="8"/>
                  </a:cxn>
                  <a:cxn ang="0">
                    <a:pos x="16" y="6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10" y="2"/>
                  </a:cxn>
                  <a:cxn ang="0">
                    <a:pos x="8" y="0"/>
                  </a:cxn>
                </a:cxnLst>
                <a:rect l="0" t="0" r="r" b="b"/>
                <a:pathLst>
                  <a:path w="16" h="18">
                    <a:moveTo>
                      <a:pt x="8" y="0"/>
                    </a:moveTo>
                    <a:lnTo>
                      <a:pt x="8" y="0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0" y="16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6" y="12"/>
                    </a:lnTo>
                    <a:lnTo>
                      <a:pt x="16" y="8"/>
                    </a:lnTo>
                    <a:lnTo>
                      <a:pt x="16" y="6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0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40" name="Freeform 377"/>
              <p:cNvSpPr>
                <a:spLocks/>
              </p:cNvSpPr>
              <p:nvPr userDrawn="1"/>
            </p:nvSpPr>
            <p:spPr bwMode="auto">
              <a:xfrm>
                <a:off x="5781675" y="5162550"/>
                <a:ext cx="25400" cy="2857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4"/>
                  </a:cxn>
                  <a:cxn ang="0">
                    <a:pos x="2" y="14"/>
                  </a:cxn>
                  <a:cxn ang="0">
                    <a:pos x="4" y="16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0" y="16"/>
                  </a:cxn>
                  <a:cxn ang="0">
                    <a:pos x="14" y="14"/>
                  </a:cxn>
                  <a:cxn ang="0">
                    <a:pos x="14" y="14"/>
                  </a:cxn>
                  <a:cxn ang="0">
                    <a:pos x="16" y="12"/>
                  </a:cxn>
                  <a:cxn ang="0">
                    <a:pos x="16" y="8"/>
                  </a:cxn>
                  <a:cxn ang="0">
                    <a:pos x="16" y="6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10" y="2"/>
                  </a:cxn>
                  <a:cxn ang="0">
                    <a:pos x="8" y="0"/>
                  </a:cxn>
                </a:cxnLst>
                <a:rect l="0" t="0" r="r" b="b"/>
                <a:pathLst>
                  <a:path w="16" h="18">
                    <a:moveTo>
                      <a:pt x="8" y="0"/>
                    </a:moveTo>
                    <a:lnTo>
                      <a:pt x="8" y="0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0" y="16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6" y="12"/>
                    </a:lnTo>
                    <a:lnTo>
                      <a:pt x="16" y="8"/>
                    </a:lnTo>
                    <a:lnTo>
                      <a:pt x="16" y="6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0" y="2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41" name="Freeform 378"/>
              <p:cNvSpPr>
                <a:spLocks/>
              </p:cNvSpPr>
              <p:nvPr userDrawn="1"/>
            </p:nvSpPr>
            <p:spPr bwMode="auto">
              <a:xfrm>
                <a:off x="5702300" y="5143500"/>
                <a:ext cx="22225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12" y="12"/>
                  </a:cxn>
                  <a:cxn ang="0">
                    <a:pos x="12" y="12"/>
                  </a:cxn>
                  <a:cxn ang="0">
                    <a:pos x="14" y="8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0"/>
                  </a:cxn>
                </a:cxnLst>
                <a:rect l="0" t="0" r="r" b="b"/>
                <a:pathLst>
                  <a:path w="14" h="14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4" y="8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42" name="Freeform 379"/>
              <p:cNvSpPr>
                <a:spLocks/>
              </p:cNvSpPr>
              <p:nvPr userDrawn="1"/>
            </p:nvSpPr>
            <p:spPr bwMode="auto">
              <a:xfrm>
                <a:off x="5702300" y="5143500"/>
                <a:ext cx="22225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12" y="12"/>
                  </a:cxn>
                  <a:cxn ang="0">
                    <a:pos x="12" y="12"/>
                  </a:cxn>
                  <a:cxn ang="0">
                    <a:pos x="14" y="8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0"/>
                  </a:cxn>
                </a:cxnLst>
                <a:rect l="0" t="0" r="r" b="b"/>
                <a:pathLst>
                  <a:path w="14" h="14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4" y="8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43" name="Freeform 380"/>
              <p:cNvSpPr>
                <a:spLocks/>
              </p:cNvSpPr>
              <p:nvPr userDrawn="1"/>
            </p:nvSpPr>
            <p:spPr bwMode="auto">
              <a:xfrm>
                <a:off x="5626100" y="5108575"/>
                <a:ext cx="22225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12" y="12"/>
                  </a:cxn>
                  <a:cxn ang="0">
                    <a:pos x="12" y="12"/>
                  </a:cxn>
                  <a:cxn ang="0">
                    <a:pos x="14" y="6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0"/>
                  </a:cxn>
                </a:cxnLst>
                <a:rect l="0" t="0" r="r" b="b"/>
                <a:pathLst>
                  <a:path w="14" h="14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4" y="6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44" name="Freeform 381"/>
              <p:cNvSpPr>
                <a:spLocks/>
              </p:cNvSpPr>
              <p:nvPr userDrawn="1"/>
            </p:nvSpPr>
            <p:spPr bwMode="auto">
              <a:xfrm>
                <a:off x="5626100" y="5108575"/>
                <a:ext cx="22225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12" y="12"/>
                  </a:cxn>
                  <a:cxn ang="0">
                    <a:pos x="12" y="12"/>
                  </a:cxn>
                  <a:cxn ang="0">
                    <a:pos x="14" y="6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0"/>
                  </a:cxn>
                </a:cxnLst>
                <a:rect l="0" t="0" r="r" b="b"/>
                <a:pathLst>
                  <a:path w="14" h="14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4" y="6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45" name="Freeform 382"/>
              <p:cNvSpPr>
                <a:spLocks/>
              </p:cNvSpPr>
              <p:nvPr userDrawn="1"/>
            </p:nvSpPr>
            <p:spPr bwMode="auto">
              <a:xfrm>
                <a:off x="5559425" y="5060950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46" name="Freeform 383"/>
              <p:cNvSpPr>
                <a:spLocks/>
              </p:cNvSpPr>
              <p:nvPr userDrawn="1"/>
            </p:nvSpPr>
            <p:spPr bwMode="auto">
              <a:xfrm>
                <a:off x="5559425" y="5060950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47" name="Freeform 384"/>
              <p:cNvSpPr>
                <a:spLocks/>
              </p:cNvSpPr>
              <p:nvPr userDrawn="1"/>
            </p:nvSpPr>
            <p:spPr bwMode="auto">
              <a:xfrm>
                <a:off x="5502275" y="5003800"/>
                <a:ext cx="15875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8" y="10"/>
                  </a:cxn>
                  <a:cxn ang="0">
                    <a:pos x="8" y="10"/>
                  </a:cxn>
                  <a:cxn ang="0">
                    <a:pos x="10" y="6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4" y="0"/>
                  </a:cxn>
                </a:cxnLst>
                <a:rect l="0" t="0" r="r" b="b"/>
                <a:pathLst>
                  <a:path w="10" h="10">
                    <a:moveTo>
                      <a:pt x="4" y="0"/>
                    </a:moveTo>
                    <a:lnTo>
                      <a:pt x="4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10" y="6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48" name="Freeform 385"/>
              <p:cNvSpPr>
                <a:spLocks/>
              </p:cNvSpPr>
              <p:nvPr userDrawn="1"/>
            </p:nvSpPr>
            <p:spPr bwMode="auto">
              <a:xfrm>
                <a:off x="5502275" y="5003800"/>
                <a:ext cx="15875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8" y="10"/>
                  </a:cxn>
                  <a:cxn ang="0">
                    <a:pos x="8" y="10"/>
                  </a:cxn>
                  <a:cxn ang="0">
                    <a:pos x="10" y="6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4" y="0"/>
                  </a:cxn>
                </a:cxnLst>
                <a:rect l="0" t="0" r="r" b="b"/>
                <a:pathLst>
                  <a:path w="10" h="10">
                    <a:moveTo>
                      <a:pt x="4" y="0"/>
                    </a:moveTo>
                    <a:lnTo>
                      <a:pt x="4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10" y="6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49" name="Freeform 386"/>
              <p:cNvSpPr>
                <a:spLocks/>
              </p:cNvSpPr>
              <p:nvPr userDrawn="1"/>
            </p:nvSpPr>
            <p:spPr bwMode="auto">
              <a:xfrm>
                <a:off x="6223000" y="4991100"/>
                <a:ext cx="44450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4"/>
                  </a:cxn>
                  <a:cxn ang="0">
                    <a:pos x="4" y="24"/>
                  </a:cxn>
                  <a:cxn ang="0">
                    <a:pos x="8" y="26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18" y="26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6" y="18"/>
                  </a:cxn>
                  <a:cxn ang="0">
                    <a:pos x="28" y="14"/>
                  </a:cxn>
                  <a:cxn ang="0">
                    <a:pos x="26" y="8"/>
                  </a:cxn>
                  <a:cxn ang="0">
                    <a:pos x="24" y="4"/>
                  </a:cxn>
                  <a:cxn ang="0">
                    <a:pos x="24" y="4"/>
                  </a:cxn>
                  <a:cxn ang="0">
                    <a:pos x="18" y="0"/>
                  </a:cxn>
                  <a:cxn ang="0">
                    <a:pos x="14" y="0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lnTo>
                      <a:pt x="14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8" y="26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8" y="26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6" y="18"/>
                    </a:lnTo>
                    <a:lnTo>
                      <a:pt x="28" y="14"/>
                    </a:lnTo>
                    <a:lnTo>
                      <a:pt x="26" y="8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18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50" name="Freeform 387"/>
              <p:cNvSpPr>
                <a:spLocks/>
              </p:cNvSpPr>
              <p:nvPr userDrawn="1"/>
            </p:nvSpPr>
            <p:spPr bwMode="auto">
              <a:xfrm>
                <a:off x="6223000" y="4991100"/>
                <a:ext cx="44450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4"/>
                  </a:cxn>
                  <a:cxn ang="0">
                    <a:pos x="4" y="24"/>
                  </a:cxn>
                  <a:cxn ang="0">
                    <a:pos x="8" y="26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18" y="26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6" y="18"/>
                  </a:cxn>
                  <a:cxn ang="0">
                    <a:pos x="28" y="14"/>
                  </a:cxn>
                  <a:cxn ang="0">
                    <a:pos x="26" y="8"/>
                  </a:cxn>
                  <a:cxn ang="0">
                    <a:pos x="24" y="4"/>
                  </a:cxn>
                  <a:cxn ang="0">
                    <a:pos x="24" y="4"/>
                  </a:cxn>
                  <a:cxn ang="0">
                    <a:pos x="18" y="0"/>
                  </a:cxn>
                  <a:cxn ang="0">
                    <a:pos x="14" y="0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lnTo>
                      <a:pt x="14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8" y="26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8" y="26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6" y="18"/>
                    </a:lnTo>
                    <a:lnTo>
                      <a:pt x="28" y="14"/>
                    </a:lnTo>
                    <a:lnTo>
                      <a:pt x="26" y="8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18" y="0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51" name="Freeform 388"/>
              <p:cNvSpPr>
                <a:spLocks/>
              </p:cNvSpPr>
              <p:nvPr userDrawn="1"/>
            </p:nvSpPr>
            <p:spPr bwMode="auto">
              <a:xfrm>
                <a:off x="6273800" y="4924425"/>
                <a:ext cx="38100" cy="3810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6" y="0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2" y="22"/>
                  </a:cxn>
                  <a:cxn ang="0">
                    <a:pos x="6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0" y="22"/>
                  </a:cxn>
                  <a:cxn ang="0">
                    <a:pos x="24" y="18"/>
                  </a:cxn>
                  <a:cxn ang="0">
                    <a:pos x="24" y="12"/>
                  </a:cxn>
                  <a:cxn ang="0">
                    <a:pos x="24" y="8"/>
                  </a:cxn>
                  <a:cxn ang="0">
                    <a:pos x="20" y="4"/>
                  </a:cxn>
                  <a:cxn ang="0">
                    <a:pos x="20" y="4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6" y="0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6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4" y="18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52" name="Freeform 389"/>
              <p:cNvSpPr>
                <a:spLocks/>
              </p:cNvSpPr>
              <p:nvPr userDrawn="1"/>
            </p:nvSpPr>
            <p:spPr bwMode="auto">
              <a:xfrm>
                <a:off x="6273800" y="4924425"/>
                <a:ext cx="38100" cy="3810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6" y="0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2" y="22"/>
                  </a:cxn>
                  <a:cxn ang="0">
                    <a:pos x="6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0" y="22"/>
                  </a:cxn>
                  <a:cxn ang="0">
                    <a:pos x="24" y="18"/>
                  </a:cxn>
                  <a:cxn ang="0">
                    <a:pos x="24" y="12"/>
                  </a:cxn>
                  <a:cxn ang="0">
                    <a:pos x="24" y="8"/>
                  </a:cxn>
                  <a:cxn ang="0">
                    <a:pos x="20" y="4"/>
                  </a:cxn>
                  <a:cxn ang="0">
                    <a:pos x="20" y="4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6" y="0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6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4" y="18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6" y="0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53" name="Freeform 390"/>
              <p:cNvSpPr>
                <a:spLocks/>
              </p:cNvSpPr>
              <p:nvPr userDrawn="1"/>
            </p:nvSpPr>
            <p:spPr bwMode="auto">
              <a:xfrm>
                <a:off x="6308725" y="4851400"/>
                <a:ext cx="38100" cy="3492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8"/>
                  </a:cxn>
                  <a:cxn ang="0">
                    <a:pos x="4" y="18"/>
                  </a:cxn>
                  <a:cxn ang="0">
                    <a:pos x="8" y="22"/>
                  </a:cxn>
                  <a:cxn ang="0">
                    <a:pos x="12" y="22"/>
                  </a:cxn>
                  <a:cxn ang="0">
                    <a:pos x="12" y="22"/>
                  </a:cxn>
                  <a:cxn ang="0">
                    <a:pos x="16" y="22"/>
                  </a:cxn>
                  <a:cxn ang="0">
                    <a:pos x="20" y="18"/>
                  </a:cxn>
                  <a:cxn ang="0">
                    <a:pos x="20" y="18"/>
                  </a:cxn>
                  <a:cxn ang="0">
                    <a:pos x="22" y="14"/>
                  </a:cxn>
                  <a:cxn ang="0">
                    <a:pos x="24" y="10"/>
                  </a:cxn>
                  <a:cxn ang="0">
                    <a:pos x="22" y="6"/>
                  </a:cxn>
                  <a:cxn ang="0">
                    <a:pos x="20" y="2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2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8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2" y="14"/>
                    </a:lnTo>
                    <a:lnTo>
                      <a:pt x="24" y="10"/>
                    </a:lnTo>
                    <a:lnTo>
                      <a:pt x="22" y="6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54" name="Freeform 391"/>
              <p:cNvSpPr>
                <a:spLocks/>
              </p:cNvSpPr>
              <p:nvPr userDrawn="1"/>
            </p:nvSpPr>
            <p:spPr bwMode="auto">
              <a:xfrm>
                <a:off x="6308725" y="4851400"/>
                <a:ext cx="38100" cy="3492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8"/>
                  </a:cxn>
                  <a:cxn ang="0">
                    <a:pos x="4" y="18"/>
                  </a:cxn>
                  <a:cxn ang="0">
                    <a:pos x="8" y="22"/>
                  </a:cxn>
                  <a:cxn ang="0">
                    <a:pos x="12" y="22"/>
                  </a:cxn>
                  <a:cxn ang="0">
                    <a:pos x="12" y="22"/>
                  </a:cxn>
                  <a:cxn ang="0">
                    <a:pos x="16" y="22"/>
                  </a:cxn>
                  <a:cxn ang="0">
                    <a:pos x="20" y="18"/>
                  </a:cxn>
                  <a:cxn ang="0">
                    <a:pos x="20" y="18"/>
                  </a:cxn>
                  <a:cxn ang="0">
                    <a:pos x="22" y="14"/>
                  </a:cxn>
                  <a:cxn ang="0">
                    <a:pos x="24" y="10"/>
                  </a:cxn>
                  <a:cxn ang="0">
                    <a:pos x="22" y="6"/>
                  </a:cxn>
                  <a:cxn ang="0">
                    <a:pos x="20" y="2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2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8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2" y="14"/>
                    </a:lnTo>
                    <a:lnTo>
                      <a:pt x="24" y="10"/>
                    </a:lnTo>
                    <a:lnTo>
                      <a:pt x="22" y="6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55" name="Freeform 392"/>
              <p:cNvSpPr>
                <a:spLocks/>
              </p:cNvSpPr>
              <p:nvPr userDrawn="1"/>
            </p:nvSpPr>
            <p:spPr bwMode="auto">
              <a:xfrm>
                <a:off x="6334125" y="4772025"/>
                <a:ext cx="31750" cy="3175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6" y="20"/>
                  </a:cxn>
                  <a:cxn ang="0">
                    <a:pos x="10" y="20"/>
                  </a:cxn>
                  <a:cxn ang="0">
                    <a:pos x="10" y="20"/>
                  </a:cxn>
                  <a:cxn ang="0">
                    <a:pos x="14" y="20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20" y="14"/>
                  </a:cxn>
                  <a:cxn ang="0">
                    <a:pos x="20" y="10"/>
                  </a:cxn>
                  <a:cxn ang="0">
                    <a:pos x="20" y="6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4" y="0"/>
                  </a:cxn>
                  <a:cxn ang="0">
                    <a:pos x="10" y="0"/>
                  </a:cxn>
                </a:cxnLst>
                <a:rect l="0" t="0" r="r" b="b"/>
                <a:pathLst>
                  <a:path w="20" h="20">
                    <a:moveTo>
                      <a:pt x="10" y="0"/>
                    </a:moveTo>
                    <a:lnTo>
                      <a:pt x="10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6" y="20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4" y="20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20" y="14"/>
                    </a:lnTo>
                    <a:lnTo>
                      <a:pt x="20" y="10"/>
                    </a:lnTo>
                    <a:lnTo>
                      <a:pt x="20" y="6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4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56" name="Freeform 393"/>
              <p:cNvSpPr>
                <a:spLocks/>
              </p:cNvSpPr>
              <p:nvPr userDrawn="1"/>
            </p:nvSpPr>
            <p:spPr bwMode="auto">
              <a:xfrm>
                <a:off x="6334125" y="4772025"/>
                <a:ext cx="31750" cy="3175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6" y="20"/>
                  </a:cxn>
                  <a:cxn ang="0">
                    <a:pos x="10" y="20"/>
                  </a:cxn>
                  <a:cxn ang="0">
                    <a:pos x="10" y="20"/>
                  </a:cxn>
                  <a:cxn ang="0">
                    <a:pos x="14" y="20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20" y="14"/>
                  </a:cxn>
                  <a:cxn ang="0">
                    <a:pos x="20" y="10"/>
                  </a:cxn>
                  <a:cxn ang="0">
                    <a:pos x="20" y="6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4" y="0"/>
                  </a:cxn>
                  <a:cxn ang="0">
                    <a:pos x="10" y="0"/>
                  </a:cxn>
                </a:cxnLst>
                <a:rect l="0" t="0" r="r" b="b"/>
                <a:pathLst>
                  <a:path w="20" h="20">
                    <a:moveTo>
                      <a:pt x="10" y="0"/>
                    </a:moveTo>
                    <a:lnTo>
                      <a:pt x="10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6" y="20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4" y="20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20" y="14"/>
                    </a:lnTo>
                    <a:lnTo>
                      <a:pt x="20" y="10"/>
                    </a:lnTo>
                    <a:lnTo>
                      <a:pt x="20" y="6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4" y="0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57" name="Freeform 394"/>
              <p:cNvSpPr>
                <a:spLocks/>
              </p:cNvSpPr>
              <p:nvPr userDrawn="1"/>
            </p:nvSpPr>
            <p:spPr bwMode="auto">
              <a:xfrm>
                <a:off x="6343650" y="4689475"/>
                <a:ext cx="28575" cy="2857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4" y="18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2" y="18"/>
                  </a:cxn>
                  <a:cxn ang="0">
                    <a:pos x="14" y="16"/>
                  </a:cxn>
                  <a:cxn ang="0">
                    <a:pos x="14" y="16"/>
                  </a:cxn>
                  <a:cxn ang="0">
                    <a:pos x="16" y="12"/>
                  </a:cxn>
                  <a:cxn ang="0">
                    <a:pos x="18" y="10"/>
                  </a:cxn>
                  <a:cxn ang="0">
                    <a:pos x="16" y="6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12" y="0"/>
                  </a:cxn>
                  <a:cxn ang="0">
                    <a:pos x="8" y="0"/>
                  </a:cxn>
                </a:cxnLst>
                <a:rect l="0" t="0" r="r" b="b"/>
                <a:pathLst>
                  <a:path w="18" h="18">
                    <a:moveTo>
                      <a:pt x="8" y="0"/>
                    </a:moveTo>
                    <a:lnTo>
                      <a:pt x="8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4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6" y="12"/>
                    </a:lnTo>
                    <a:lnTo>
                      <a:pt x="18" y="10"/>
                    </a:lnTo>
                    <a:lnTo>
                      <a:pt x="16" y="6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58" name="Freeform 395"/>
              <p:cNvSpPr>
                <a:spLocks/>
              </p:cNvSpPr>
              <p:nvPr userDrawn="1"/>
            </p:nvSpPr>
            <p:spPr bwMode="auto">
              <a:xfrm>
                <a:off x="6343650" y="4689475"/>
                <a:ext cx="28575" cy="2857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4" y="18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2" y="18"/>
                  </a:cxn>
                  <a:cxn ang="0">
                    <a:pos x="14" y="16"/>
                  </a:cxn>
                  <a:cxn ang="0">
                    <a:pos x="14" y="16"/>
                  </a:cxn>
                  <a:cxn ang="0">
                    <a:pos x="16" y="12"/>
                  </a:cxn>
                  <a:cxn ang="0">
                    <a:pos x="18" y="10"/>
                  </a:cxn>
                  <a:cxn ang="0">
                    <a:pos x="16" y="6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12" y="0"/>
                  </a:cxn>
                  <a:cxn ang="0">
                    <a:pos x="8" y="0"/>
                  </a:cxn>
                </a:cxnLst>
                <a:rect l="0" t="0" r="r" b="b"/>
                <a:pathLst>
                  <a:path w="18" h="18">
                    <a:moveTo>
                      <a:pt x="8" y="0"/>
                    </a:moveTo>
                    <a:lnTo>
                      <a:pt x="8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4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6" y="12"/>
                    </a:lnTo>
                    <a:lnTo>
                      <a:pt x="18" y="10"/>
                    </a:lnTo>
                    <a:lnTo>
                      <a:pt x="16" y="6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59" name="Freeform 396"/>
              <p:cNvSpPr>
                <a:spLocks/>
              </p:cNvSpPr>
              <p:nvPr userDrawn="1"/>
            </p:nvSpPr>
            <p:spPr bwMode="auto">
              <a:xfrm>
                <a:off x="6337300" y="4606925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4"/>
                  </a:cxn>
                  <a:cxn ang="0">
                    <a:pos x="2" y="14"/>
                  </a:cxn>
                  <a:cxn ang="0">
                    <a:pos x="4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0" y="16"/>
                  </a:cxn>
                  <a:cxn ang="0">
                    <a:pos x="14" y="14"/>
                  </a:cxn>
                  <a:cxn ang="0">
                    <a:pos x="14" y="14"/>
                  </a:cxn>
                  <a:cxn ang="0">
                    <a:pos x="16" y="12"/>
                  </a:cxn>
                  <a:cxn ang="0">
                    <a:pos x="16" y="8"/>
                  </a:cxn>
                  <a:cxn ang="0">
                    <a:pos x="16" y="6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10" y="2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0" y="16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6" y="12"/>
                    </a:lnTo>
                    <a:lnTo>
                      <a:pt x="16" y="8"/>
                    </a:lnTo>
                    <a:lnTo>
                      <a:pt x="16" y="6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0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60" name="Freeform 397"/>
              <p:cNvSpPr>
                <a:spLocks/>
              </p:cNvSpPr>
              <p:nvPr userDrawn="1"/>
            </p:nvSpPr>
            <p:spPr bwMode="auto">
              <a:xfrm>
                <a:off x="6337300" y="4606925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4"/>
                  </a:cxn>
                  <a:cxn ang="0">
                    <a:pos x="2" y="14"/>
                  </a:cxn>
                  <a:cxn ang="0">
                    <a:pos x="4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0" y="16"/>
                  </a:cxn>
                  <a:cxn ang="0">
                    <a:pos x="14" y="14"/>
                  </a:cxn>
                  <a:cxn ang="0">
                    <a:pos x="14" y="14"/>
                  </a:cxn>
                  <a:cxn ang="0">
                    <a:pos x="16" y="12"/>
                  </a:cxn>
                  <a:cxn ang="0">
                    <a:pos x="16" y="8"/>
                  </a:cxn>
                  <a:cxn ang="0">
                    <a:pos x="16" y="6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10" y="2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0" y="16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6" y="12"/>
                    </a:lnTo>
                    <a:lnTo>
                      <a:pt x="16" y="8"/>
                    </a:lnTo>
                    <a:lnTo>
                      <a:pt x="16" y="6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0" y="2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61" name="Freeform 398"/>
              <p:cNvSpPr>
                <a:spLocks/>
              </p:cNvSpPr>
              <p:nvPr userDrawn="1"/>
            </p:nvSpPr>
            <p:spPr bwMode="auto">
              <a:xfrm>
                <a:off x="6315075" y="4527550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8"/>
                  </a:cxn>
                  <a:cxn ang="0">
                    <a:pos x="2" y="14"/>
                  </a:cxn>
                  <a:cxn ang="0">
                    <a:pos x="2" y="14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4" y="14"/>
                  </a:cxn>
                  <a:cxn ang="0">
                    <a:pos x="14" y="14"/>
                  </a:cxn>
                  <a:cxn ang="0">
                    <a:pos x="16" y="8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8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6" y="8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62" name="Freeform 399"/>
              <p:cNvSpPr>
                <a:spLocks/>
              </p:cNvSpPr>
              <p:nvPr userDrawn="1"/>
            </p:nvSpPr>
            <p:spPr bwMode="auto">
              <a:xfrm>
                <a:off x="6315075" y="4527550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8"/>
                  </a:cxn>
                  <a:cxn ang="0">
                    <a:pos x="2" y="14"/>
                  </a:cxn>
                  <a:cxn ang="0">
                    <a:pos x="2" y="14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4" y="14"/>
                  </a:cxn>
                  <a:cxn ang="0">
                    <a:pos x="14" y="14"/>
                  </a:cxn>
                  <a:cxn ang="0">
                    <a:pos x="16" y="8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8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6" y="8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63" name="Freeform 400"/>
              <p:cNvSpPr>
                <a:spLocks/>
              </p:cNvSpPr>
              <p:nvPr userDrawn="1"/>
            </p:nvSpPr>
            <p:spPr bwMode="auto">
              <a:xfrm>
                <a:off x="6283325" y="445452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64" name="Freeform 401"/>
              <p:cNvSpPr>
                <a:spLocks/>
              </p:cNvSpPr>
              <p:nvPr userDrawn="1"/>
            </p:nvSpPr>
            <p:spPr bwMode="auto">
              <a:xfrm>
                <a:off x="6283325" y="445452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65" name="Freeform 402"/>
              <p:cNvSpPr>
                <a:spLocks/>
              </p:cNvSpPr>
              <p:nvPr userDrawn="1"/>
            </p:nvSpPr>
            <p:spPr bwMode="auto">
              <a:xfrm>
                <a:off x="6235700" y="438467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2"/>
                  </a:cxn>
                  <a:cxn ang="0">
                    <a:pos x="10" y="12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66" name="Freeform 403"/>
              <p:cNvSpPr>
                <a:spLocks/>
              </p:cNvSpPr>
              <p:nvPr userDrawn="1"/>
            </p:nvSpPr>
            <p:spPr bwMode="auto">
              <a:xfrm>
                <a:off x="6235700" y="438467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2"/>
                  </a:cxn>
                  <a:cxn ang="0">
                    <a:pos x="10" y="12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67" name="Freeform 404"/>
              <p:cNvSpPr>
                <a:spLocks/>
              </p:cNvSpPr>
              <p:nvPr userDrawn="1"/>
            </p:nvSpPr>
            <p:spPr bwMode="auto">
              <a:xfrm>
                <a:off x="6175375" y="432752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68" name="Freeform 405"/>
              <p:cNvSpPr>
                <a:spLocks/>
              </p:cNvSpPr>
              <p:nvPr userDrawn="1"/>
            </p:nvSpPr>
            <p:spPr bwMode="auto">
              <a:xfrm>
                <a:off x="6175375" y="432752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8" name="Groupe 579"/>
            <p:cNvGrpSpPr/>
            <p:nvPr userDrawn="1"/>
          </p:nvGrpSpPr>
          <p:grpSpPr>
            <a:xfrm>
              <a:off x="5626100" y="4295776"/>
              <a:ext cx="676275" cy="825499"/>
              <a:chOff x="5626100" y="4295775"/>
              <a:chExt cx="676275" cy="825500"/>
            </a:xfrm>
            <a:grpFill/>
          </p:grpSpPr>
          <p:sp>
            <p:nvSpPr>
              <p:cNvPr id="9" name="Freeform 407"/>
              <p:cNvSpPr>
                <a:spLocks/>
              </p:cNvSpPr>
              <p:nvPr userDrawn="1"/>
            </p:nvSpPr>
            <p:spPr bwMode="auto">
              <a:xfrm>
                <a:off x="6242050" y="4826000"/>
                <a:ext cx="38100" cy="3492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8"/>
                  </a:cxn>
                  <a:cxn ang="0">
                    <a:pos x="4" y="20"/>
                  </a:cxn>
                  <a:cxn ang="0">
                    <a:pos x="8" y="22"/>
                  </a:cxn>
                  <a:cxn ang="0">
                    <a:pos x="8" y="22"/>
                  </a:cxn>
                  <a:cxn ang="0">
                    <a:pos x="12" y="22"/>
                  </a:cxn>
                  <a:cxn ang="0">
                    <a:pos x="12" y="22"/>
                  </a:cxn>
                  <a:cxn ang="0">
                    <a:pos x="16" y="22"/>
                  </a:cxn>
                  <a:cxn ang="0">
                    <a:pos x="18" y="20"/>
                  </a:cxn>
                  <a:cxn ang="0">
                    <a:pos x="22" y="18"/>
                  </a:cxn>
                  <a:cxn ang="0">
                    <a:pos x="22" y="14"/>
                  </a:cxn>
                  <a:cxn ang="0">
                    <a:pos x="22" y="14"/>
                  </a:cxn>
                  <a:cxn ang="0">
                    <a:pos x="24" y="10"/>
                  </a:cxn>
                  <a:cxn ang="0">
                    <a:pos x="22" y="6"/>
                  </a:cxn>
                  <a:cxn ang="0">
                    <a:pos x="18" y="2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2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8"/>
                    </a:lnTo>
                    <a:lnTo>
                      <a:pt x="4" y="20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18" y="20"/>
                    </a:lnTo>
                    <a:lnTo>
                      <a:pt x="22" y="18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4" y="10"/>
                    </a:lnTo>
                    <a:lnTo>
                      <a:pt x="22" y="6"/>
                    </a:lnTo>
                    <a:lnTo>
                      <a:pt x="18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" name="Freeform 408"/>
              <p:cNvSpPr>
                <a:spLocks/>
              </p:cNvSpPr>
              <p:nvPr userDrawn="1"/>
            </p:nvSpPr>
            <p:spPr bwMode="auto">
              <a:xfrm>
                <a:off x="6242050" y="4826000"/>
                <a:ext cx="38100" cy="3492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8"/>
                  </a:cxn>
                  <a:cxn ang="0">
                    <a:pos x="4" y="20"/>
                  </a:cxn>
                  <a:cxn ang="0">
                    <a:pos x="8" y="22"/>
                  </a:cxn>
                  <a:cxn ang="0">
                    <a:pos x="8" y="22"/>
                  </a:cxn>
                  <a:cxn ang="0">
                    <a:pos x="12" y="22"/>
                  </a:cxn>
                  <a:cxn ang="0">
                    <a:pos x="12" y="22"/>
                  </a:cxn>
                  <a:cxn ang="0">
                    <a:pos x="16" y="22"/>
                  </a:cxn>
                  <a:cxn ang="0">
                    <a:pos x="18" y="20"/>
                  </a:cxn>
                  <a:cxn ang="0">
                    <a:pos x="22" y="18"/>
                  </a:cxn>
                  <a:cxn ang="0">
                    <a:pos x="22" y="14"/>
                  </a:cxn>
                  <a:cxn ang="0">
                    <a:pos x="22" y="14"/>
                  </a:cxn>
                  <a:cxn ang="0">
                    <a:pos x="24" y="10"/>
                  </a:cxn>
                  <a:cxn ang="0">
                    <a:pos x="22" y="6"/>
                  </a:cxn>
                  <a:cxn ang="0">
                    <a:pos x="18" y="2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2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8"/>
                    </a:lnTo>
                    <a:lnTo>
                      <a:pt x="4" y="20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18" y="20"/>
                    </a:lnTo>
                    <a:lnTo>
                      <a:pt x="22" y="18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4" y="10"/>
                    </a:lnTo>
                    <a:lnTo>
                      <a:pt x="22" y="6"/>
                    </a:lnTo>
                    <a:lnTo>
                      <a:pt x="18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" name="Freeform 409"/>
              <p:cNvSpPr>
                <a:spLocks/>
              </p:cNvSpPr>
              <p:nvPr userDrawn="1"/>
            </p:nvSpPr>
            <p:spPr bwMode="auto">
              <a:xfrm>
                <a:off x="6213475" y="4889500"/>
                <a:ext cx="34925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2" y="16"/>
                  </a:cxn>
                  <a:cxn ang="0">
                    <a:pos x="4" y="20"/>
                  </a:cxn>
                  <a:cxn ang="0">
                    <a:pos x="8" y="22"/>
                  </a:cxn>
                  <a:cxn ang="0">
                    <a:pos x="8" y="22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6" y="20"/>
                  </a:cxn>
                  <a:cxn ang="0">
                    <a:pos x="20" y="18"/>
                  </a:cxn>
                  <a:cxn ang="0">
                    <a:pos x="20" y="14"/>
                  </a:cxn>
                  <a:cxn ang="0">
                    <a:pos x="20" y="14"/>
                  </a:cxn>
                  <a:cxn ang="0">
                    <a:pos x="22" y="10"/>
                  </a:cxn>
                  <a:cxn ang="0">
                    <a:pos x="20" y="6"/>
                  </a:cxn>
                  <a:cxn ang="0">
                    <a:pos x="18" y="4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22" h="22">
                    <a:moveTo>
                      <a:pt x="10" y="0"/>
                    </a:moveTo>
                    <a:lnTo>
                      <a:pt x="10" y="0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2" y="16"/>
                    </a:lnTo>
                    <a:lnTo>
                      <a:pt x="4" y="20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6" y="20"/>
                    </a:lnTo>
                    <a:lnTo>
                      <a:pt x="20" y="18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2" y="10"/>
                    </a:lnTo>
                    <a:lnTo>
                      <a:pt x="20" y="6"/>
                    </a:lnTo>
                    <a:lnTo>
                      <a:pt x="18" y="4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" name="Freeform 410"/>
              <p:cNvSpPr>
                <a:spLocks/>
              </p:cNvSpPr>
              <p:nvPr userDrawn="1"/>
            </p:nvSpPr>
            <p:spPr bwMode="auto">
              <a:xfrm>
                <a:off x="6213475" y="4889500"/>
                <a:ext cx="34925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2" y="16"/>
                  </a:cxn>
                  <a:cxn ang="0">
                    <a:pos x="4" y="20"/>
                  </a:cxn>
                  <a:cxn ang="0">
                    <a:pos x="8" y="22"/>
                  </a:cxn>
                  <a:cxn ang="0">
                    <a:pos x="8" y="22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6" y="20"/>
                  </a:cxn>
                  <a:cxn ang="0">
                    <a:pos x="20" y="18"/>
                  </a:cxn>
                  <a:cxn ang="0">
                    <a:pos x="20" y="14"/>
                  </a:cxn>
                  <a:cxn ang="0">
                    <a:pos x="20" y="14"/>
                  </a:cxn>
                  <a:cxn ang="0">
                    <a:pos x="22" y="10"/>
                  </a:cxn>
                  <a:cxn ang="0">
                    <a:pos x="20" y="6"/>
                  </a:cxn>
                  <a:cxn ang="0">
                    <a:pos x="18" y="4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22" h="22">
                    <a:moveTo>
                      <a:pt x="10" y="0"/>
                    </a:moveTo>
                    <a:lnTo>
                      <a:pt x="10" y="0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2" y="16"/>
                    </a:lnTo>
                    <a:lnTo>
                      <a:pt x="4" y="20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6" y="20"/>
                    </a:lnTo>
                    <a:lnTo>
                      <a:pt x="20" y="18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2" y="10"/>
                    </a:lnTo>
                    <a:lnTo>
                      <a:pt x="20" y="6"/>
                    </a:lnTo>
                    <a:lnTo>
                      <a:pt x="18" y="4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" name="Freeform 411"/>
              <p:cNvSpPr>
                <a:spLocks/>
              </p:cNvSpPr>
              <p:nvPr userDrawn="1"/>
            </p:nvSpPr>
            <p:spPr bwMode="auto">
              <a:xfrm>
                <a:off x="6175375" y="4949825"/>
                <a:ext cx="28575" cy="3175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2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6"/>
                  </a:cxn>
                  <a:cxn ang="0">
                    <a:pos x="2" y="18"/>
                  </a:cxn>
                  <a:cxn ang="0">
                    <a:pos x="6" y="20"/>
                  </a:cxn>
                  <a:cxn ang="0">
                    <a:pos x="6" y="20"/>
                  </a:cxn>
                  <a:cxn ang="0">
                    <a:pos x="8" y="20"/>
                  </a:cxn>
                  <a:cxn ang="0">
                    <a:pos x="8" y="20"/>
                  </a:cxn>
                  <a:cxn ang="0">
                    <a:pos x="14" y="18"/>
                  </a:cxn>
                  <a:cxn ang="0">
                    <a:pos x="18" y="12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4" y="2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</a:cxnLst>
                <a:rect l="0" t="0" r="r" b="b"/>
                <a:pathLst>
                  <a:path w="18" h="20">
                    <a:moveTo>
                      <a:pt x="8" y="0"/>
                    </a:moveTo>
                    <a:lnTo>
                      <a:pt x="8" y="0"/>
                    </a:lnTo>
                    <a:lnTo>
                      <a:pt x="2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2" y="18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14" y="18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6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" name="Freeform 412"/>
              <p:cNvSpPr>
                <a:spLocks/>
              </p:cNvSpPr>
              <p:nvPr userDrawn="1"/>
            </p:nvSpPr>
            <p:spPr bwMode="auto">
              <a:xfrm>
                <a:off x="6175375" y="4949825"/>
                <a:ext cx="28575" cy="3175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2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6"/>
                  </a:cxn>
                  <a:cxn ang="0">
                    <a:pos x="2" y="18"/>
                  </a:cxn>
                  <a:cxn ang="0">
                    <a:pos x="6" y="20"/>
                  </a:cxn>
                  <a:cxn ang="0">
                    <a:pos x="6" y="20"/>
                  </a:cxn>
                  <a:cxn ang="0">
                    <a:pos x="8" y="20"/>
                  </a:cxn>
                  <a:cxn ang="0">
                    <a:pos x="8" y="20"/>
                  </a:cxn>
                  <a:cxn ang="0">
                    <a:pos x="14" y="18"/>
                  </a:cxn>
                  <a:cxn ang="0">
                    <a:pos x="18" y="12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4" y="2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</a:cxnLst>
                <a:rect l="0" t="0" r="r" b="b"/>
                <a:pathLst>
                  <a:path w="18" h="20">
                    <a:moveTo>
                      <a:pt x="8" y="0"/>
                    </a:moveTo>
                    <a:lnTo>
                      <a:pt x="8" y="0"/>
                    </a:lnTo>
                    <a:lnTo>
                      <a:pt x="2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2" y="18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14" y="18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6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" name="Freeform 413"/>
              <p:cNvSpPr>
                <a:spLocks/>
              </p:cNvSpPr>
              <p:nvPr userDrawn="1"/>
            </p:nvSpPr>
            <p:spPr bwMode="auto">
              <a:xfrm>
                <a:off x="6124575" y="5003800"/>
                <a:ext cx="28575" cy="2540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2" y="12"/>
                  </a:cxn>
                  <a:cxn ang="0">
                    <a:pos x="4" y="14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10" y="16"/>
                  </a:cxn>
                  <a:cxn ang="0">
                    <a:pos x="10" y="16"/>
                  </a:cxn>
                  <a:cxn ang="0">
                    <a:pos x="14" y="14"/>
                  </a:cxn>
                  <a:cxn ang="0">
                    <a:pos x="18" y="10"/>
                  </a:cxn>
                  <a:cxn ang="0">
                    <a:pos x="18" y="10"/>
                  </a:cxn>
                  <a:cxn ang="0">
                    <a:pos x="18" y="6"/>
                  </a:cxn>
                  <a:cxn ang="0">
                    <a:pos x="16" y="4"/>
                  </a:cxn>
                  <a:cxn ang="0">
                    <a:pos x="14" y="2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6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4" y="14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6" y="4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" name="Freeform 414"/>
              <p:cNvSpPr>
                <a:spLocks/>
              </p:cNvSpPr>
              <p:nvPr userDrawn="1"/>
            </p:nvSpPr>
            <p:spPr bwMode="auto">
              <a:xfrm>
                <a:off x="6124575" y="5003800"/>
                <a:ext cx="28575" cy="2540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2" y="12"/>
                  </a:cxn>
                  <a:cxn ang="0">
                    <a:pos x="4" y="14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10" y="16"/>
                  </a:cxn>
                  <a:cxn ang="0">
                    <a:pos x="10" y="16"/>
                  </a:cxn>
                  <a:cxn ang="0">
                    <a:pos x="14" y="14"/>
                  </a:cxn>
                  <a:cxn ang="0">
                    <a:pos x="18" y="10"/>
                  </a:cxn>
                  <a:cxn ang="0">
                    <a:pos x="18" y="10"/>
                  </a:cxn>
                  <a:cxn ang="0">
                    <a:pos x="18" y="6"/>
                  </a:cxn>
                  <a:cxn ang="0">
                    <a:pos x="16" y="4"/>
                  </a:cxn>
                  <a:cxn ang="0">
                    <a:pos x="14" y="2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6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4" y="14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6" y="4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" name="Freeform 415"/>
              <p:cNvSpPr>
                <a:spLocks/>
              </p:cNvSpPr>
              <p:nvPr userDrawn="1"/>
            </p:nvSpPr>
            <p:spPr bwMode="auto">
              <a:xfrm>
                <a:off x="6067425" y="5045075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4" y="14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4" y="14"/>
                  </a:cxn>
                  <a:cxn ang="0">
                    <a:pos x="16" y="10"/>
                  </a:cxn>
                  <a:cxn ang="0">
                    <a:pos x="16" y="10"/>
                  </a:cxn>
                  <a:cxn ang="0">
                    <a:pos x="16" y="6"/>
                  </a:cxn>
                  <a:cxn ang="0">
                    <a:pos x="16" y="4"/>
                  </a:cxn>
                  <a:cxn ang="0">
                    <a:pos x="14" y="2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4" y="14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6"/>
                    </a:lnTo>
                    <a:lnTo>
                      <a:pt x="16" y="4"/>
                    </a:lnTo>
                    <a:lnTo>
                      <a:pt x="14" y="2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" name="Freeform 416"/>
              <p:cNvSpPr>
                <a:spLocks/>
              </p:cNvSpPr>
              <p:nvPr userDrawn="1"/>
            </p:nvSpPr>
            <p:spPr bwMode="auto">
              <a:xfrm>
                <a:off x="6067425" y="5045075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4" y="14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4" y="14"/>
                  </a:cxn>
                  <a:cxn ang="0">
                    <a:pos x="16" y="10"/>
                  </a:cxn>
                  <a:cxn ang="0">
                    <a:pos x="16" y="10"/>
                  </a:cxn>
                  <a:cxn ang="0">
                    <a:pos x="16" y="6"/>
                  </a:cxn>
                  <a:cxn ang="0">
                    <a:pos x="16" y="4"/>
                  </a:cxn>
                  <a:cxn ang="0">
                    <a:pos x="14" y="2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4" y="14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6"/>
                    </a:lnTo>
                    <a:lnTo>
                      <a:pt x="16" y="4"/>
                    </a:lnTo>
                    <a:lnTo>
                      <a:pt x="14" y="2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" name="Freeform 417"/>
              <p:cNvSpPr>
                <a:spLocks/>
              </p:cNvSpPr>
              <p:nvPr userDrawn="1"/>
            </p:nvSpPr>
            <p:spPr bwMode="auto">
              <a:xfrm>
                <a:off x="6007100" y="5076825"/>
                <a:ext cx="19050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10"/>
                  </a:cxn>
                  <a:cxn ang="0">
                    <a:pos x="4" y="14"/>
                  </a:cxn>
                  <a:cxn ang="0">
                    <a:pos x="4" y="14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10" y="12"/>
                  </a:cxn>
                  <a:cxn ang="0">
                    <a:pos x="12" y="8"/>
                  </a:cxn>
                  <a:cxn ang="0">
                    <a:pos x="12" y="8"/>
                  </a:cxn>
                  <a:cxn ang="0">
                    <a:pos x="12" y="4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4">
                    <a:moveTo>
                      <a:pt x="6" y="0"/>
                    </a:moveTo>
                    <a:lnTo>
                      <a:pt x="6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10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0" y="12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" name="Freeform 418"/>
              <p:cNvSpPr>
                <a:spLocks/>
              </p:cNvSpPr>
              <p:nvPr userDrawn="1"/>
            </p:nvSpPr>
            <p:spPr bwMode="auto">
              <a:xfrm>
                <a:off x="6007100" y="5076825"/>
                <a:ext cx="19050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10"/>
                  </a:cxn>
                  <a:cxn ang="0">
                    <a:pos x="4" y="14"/>
                  </a:cxn>
                  <a:cxn ang="0">
                    <a:pos x="4" y="14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10" y="12"/>
                  </a:cxn>
                  <a:cxn ang="0">
                    <a:pos x="12" y="8"/>
                  </a:cxn>
                  <a:cxn ang="0">
                    <a:pos x="12" y="8"/>
                  </a:cxn>
                  <a:cxn ang="0">
                    <a:pos x="12" y="4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4">
                    <a:moveTo>
                      <a:pt x="6" y="0"/>
                    </a:moveTo>
                    <a:lnTo>
                      <a:pt x="6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10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0" y="12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" name="Freeform 419"/>
              <p:cNvSpPr>
                <a:spLocks/>
              </p:cNvSpPr>
              <p:nvPr userDrawn="1"/>
            </p:nvSpPr>
            <p:spPr bwMode="auto">
              <a:xfrm>
                <a:off x="5937250" y="509587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2" y="10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2"/>
                  </a:cxn>
                  <a:cxn ang="0">
                    <a:pos x="12" y="8"/>
                  </a:cxn>
                  <a:cxn ang="0">
                    <a:pos x="12" y="8"/>
                  </a:cxn>
                  <a:cxn ang="0">
                    <a:pos x="12" y="2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10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2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" name="Freeform 420"/>
              <p:cNvSpPr>
                <a:spLocks/>
              </p:cNvSpPr>
              <p:nvPr userDrawn="1"/>
            </p:nvSpPr>
            <p:spPr bwMode="auto">
              <a:xfrm>
                <a:off x="5937250" y="509587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2" y="10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2"/>
                  </a:cxn>
                  <a:cxn ang="0">
                    <a:pos x="12" y="8"/>
                  </a:cxn>
                  <a:cxn ang="0">
                    <a:pos x="12" y="8"/>
                  </a:cxn>
                  <a:cxn ang="0">
                    <a:pos x="12" y="2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10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2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" name="Freeform 421"/>
              <p:cNvSpPr>
                <a:spLocks/>
              </p:cNvSpPr>
              <p:nvPr userDrawn="1"/>
            </p:nvSpPr>
            <p:spPr bwMode="auto">
              <a:xfrm>
                <a:off x="5867400" y="510222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2" y="8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2" y="8"/>
                  </a:cxn>
                  <a:cxn ang="0">
                    <a:pos x="12" y="8"/>
                  </a:cxn>
                  <a:cxn ang="0">
                    <a:pos x="10" y="4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0" y="4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" name="Freeform 422"/>
              <p:cNvSpPr>
                <a:spLocks/>
              </p:cNvSpPr>
              <p:nvPr userDrawn="1"/>
            </p:nvSpPr>
            <p:spPr bwMode="auto">
              <a:xfrm>
                <a:off x="5867400" y="510222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2" y="8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2" y="8"/>
                  </a:cxn>
                  <a:cxn ang="0">
                    <a:pos x="12" y="8"/>
                  </a:cxn>
                  <a:cxn ang="0">
                    <a:pos x="10" y="4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0" y="4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" name="Freeform 423"/>
              <p:cNvSpPr>
                <a:spLocks/>
              </p:cNvSpPr>
              <p:nvPr userDrawn="1"/>
            </p:nvSpPr>
            <p:spPr bwMode="auto">
              <a:xfrm>
                <a:off x="5797550" y="5099050"/>
                <a:ext cx="15875" cy="1587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8" y="8"/>
                  </a:cxn>
                  <a:cxn ang="0">
                    <a:pos x="10" y="6"/>
                  </a:cxn>
                  <a:cxn ang="0">
                    <a:pos x="10" y="6"/>
                  </a:cxn>
                  <a:cxn ang="0">
                    <a:pos x="10" y="2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6" y="0"/>
                  </a:cxn>
                </a:cxnLst>
                <a:rect l="0" t="0" r="r" b="b"/>
                <a:pathLst>
                  <a:path w="10" h="10">
                    <a:moveTo>
                      <a:pt x="6" y="0"/>
                    </a:moveTo>
                    <a:lnTo>
                      <a:pt x="6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8" y="8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" name="Freeform 424"/>
              <p:cNvSpPr>
                <a:spLocks/>
              </p:cNvSpPr>
              <p:nvPr userDrawn="1"/>
            </p:nvSpPr>
            <p:spPr bwMode="auto">
              <a:xfrm>
                <a:off x="5797550" y="5099050"/>
                <a:ext cx="15875" cy="1587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8" y="8"/>
                  </a:cxn>
                  <a:cxn ang="0">
                    <a:pos x="10" y="6"/>
                  </a:cxn>
                  <a:cxn ang="0">
                    <a:pos x="10" y="6"/>
                  </a:cxn>
                  <a:cxn ang="0">
                    <a:pos x="10" y="2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6" y="0"/>
                  </a:cxn>
                </a:cxnLst>
                <a:rect l="0" t="0" r="r" b="b"/>
                <a:pathLst>
                  <a:path w="10" h="10">
                    <a:moveTo>
                      <a:pt x="6" y="0"/>
                    </a:moveTo>
                    <a:lnTo>
                      <a:pt x="6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8" y="8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" name="Freeform 425"/>
              <p:cNvSpPr>
                <a:spLocks/>
              </p:cNvSpPr>
              <p:nvPr userDrawn="1"/>
            </p:nvSpPr>
            <p:spPr bwMode="auto">
              <a:xfrm>
                <a:off x="5730875" y="5080000"/>
                <a:ext cx="12700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6" y="8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8" y="2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10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8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" name="Freeform 426"/>
              <p:cNvSpPr>
                <a:spLocks/>
              </p:cNvSpPr>
              <p:nvPr userDrawn="1"/>
            </p:nvSpPr>
            <p:spPr bwMode="auto">
              <a:xfrm>
                <a:off x="5730875" y="5080000"/>
                <a:ext cx="12700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6" y="8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8" y="2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10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8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" name="Freeform 427"/>
              <p:cNvSpPr>
                <a:spLocks/>
              </p:cNvSpPr>
              <p:nvPr userDrawn="1"/>
            </p:nvSpPr>
            <p:spPr bwMode="auto">
              <a:xfrm>
                <a:off x="6261100" y="4756150"/>
                <a:ext cx="34925" cy="3810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2"/>
                  </a:cxn>
                  <a:cxn ang="0">
                    <a:pos x="8" y="24"/>
                  </a:cxn>
                  <a:cxn ang="0">
                    <a:pos x="8" y="24"/>
                  </a:cxn>
                  <a:cxn ang="0">
                    <a:pos x="10" y="24"/>
                  </a:cxn>
                  <a:cxn ang="0">
                    <a:pos x="10" y="24"/>
                  </a:cxn>
                  <a:cxn ang="0">
                    <a:pos x="14" y="24"/>
                  </a:cxn>
                  <a:cxn ang="0">
                    <a:pos x="18" y="22"/>
                  </a:cxn>
                  <a:cxn ang="0">
                    <a:pos x="20" y="18"/>
                  </a:cxn>
                  <a:cxn ang="0">
                    <a:pos x="22" y="14"/>
                  </a:cxn>
                  <a:cxn ang="0">
                    <a:pos x="22" y="14"/>
                  </a:cxn>
                  <a:cxn ang="0">
                    <a:pos x="22" y="10"/>
                  </a:cxn>
                  <a:cxn ang="0">
                    <a:pos x="22" y="6"/>
                  </a:cxn>
                  <a:cxn ang="0">
                    <a:pos x="18" y="2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2" y="0"/>
                  </a:cxn>
                </a:cxnLst>
                <a:rect l="0" t="0" r="r" b="b"/>
                <a:pathLst>
                  <a:path w="22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2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10" y="24"/>
                    </a:lnTo>
                    <a:lnTo>
                      <a:pt x="10" y="24"/>
                    </a:lnTo>
                    <a:lnTo>
                      <a:pt x="14" y="24"/>
                    </a:lnTo>
                    <a:lnTo>
                      <a:pt x="18" y="22"/>
                    </a:lnTo>
                    <a:lnTo>
                      <a:pt x="20" y="18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2" y="10"/>
                    </a:lnTo>
                    <a:lnTo>
                      <a:pt x="22" y="6"/>
                    </a:lnTo>
                    <a:lnTo>
                      <a:pt x="18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0" name="Freeform 428"/>
              <p:cNvSpPr>
                <a:spLocks/>
              </p:cNvSpPr>
              <p:nvPr userDrawn="1"/>
            </p:nvSpPr>
            <p:spPr bwMode="auto">
              <a:xfrm>
                <a:off x="6261100" y="4756150"/>
                <a:ext cx="34925" cy="3810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2"/>
                  </a:cxn>
                  <a:cxn ang="0">
                    <a:pos x="8" y="24"/>
                  </a:cxn>
                  <a:cxn ang="0">
                    <a:pos x="8" y="24"/>
                  </a:cxn>
                  <a:cxn ang="0">
                    <a:pos x="10" y="24"/>
                  </a:cxn>
                  <a:cxn ang="0">
                    <a:pos x="10" y="24"/>
                  </a:cxn>
                  <a:cxn ang="0">
                    <a:pos x="14" y="24"/>
                  </a:cxn>
                  <a:cxn ang="0">
                    <a:pos x="18" y="22"/>
                  </a:cxn>
                  <a:cxn ang="0">
                    <a:pos x="20" y="18"/>
                  </a:cxn>
                  <a:cxn ang="0">
                    <a:pos x="22" y="14"/>
                  </a:cxn>
                  <a:cxn ang="0">
                    <a:pos x="22" y="14"/>
                  </a:cxn>
                  <a:cxn ang="0">
                    <a:pos x="22" y="10"/>
                  </a:cxn>
                  <a:cxn ang="0">
                    <a:pos x="22" y="6"/>
                  </a:cxn>
                  <a:cxn ang="0">
                    <a:pos x="18" y="2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2" y="0"/>
                  </a:cxn>
                </a:cxnLst>
                <a:rect l="0" t="0" r="r" b="b"/>
                <a:pathLst>
                  <a:path w="22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2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10" y="24"/>
                    </a:lnTo>
                    <a:lnTo>
                      <a:pt x="10" y="24"/>
                    </a:lnTo>
                    <a:lnTo>
                      <a:pt x="14" y="24"/>
                    </a:lnTo>
                    <a:lnTo>
                      <a:pt x="18" y="22"/>
                    </a:lnTo>
                    <a:lnTo>
                      <a:pt x="20" y="18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2" y="10"/>
                    </a:lnTo>
                    <a:lnTo>
                      <a:pt x="22" y="6"/>
                    </a:lnTo>
                    <a:lnTo>
                      <a:pt x="18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1" name="Freeform 429"/>
              <p:cNvSpPr>
                <a:spLocks/>
              </p:cNvSpPr>
              <p:nvPr userDrawn="1"/>
            </p:nvSpPr>
            <p:spPr bwMode="auto">
              <a:xfrm>
                <a:off x="6267450" y="4686300"/>
                <a:ext cx="34925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4" y="20"/>
                  </a:cxn>
                  <a:cxn ang="0">
                    <a:pos x="8" y="22"/>
                  </a:cxn>
                  <a:cxn ang="0">
                    <a:pos x="8" y="22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8" y="20"/>
                  </a:cxn>
                  <a:cxn ang="0">
                    <a:pos x="20" y="18"/>
                  </a:cxn>
                  <a:cxn ang="0">
                    <a:pos x="22" y="14"/>
                  </a:cxn>
                  <a:cxn ang="0">
                    <a:pos x="22" y="14"/>
                  </a:cxn>
                  <a:cxn ang="0">
                    <a:pos x="22" y="10"/>
                  </a:cxn>
                  <a:cxn ang="0">
                    <a:pos x="20" y="6"/>
                  </a:cxn>
                  <a:cxn ang="0">
                    <a:pos x="18" y="2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</a:cxnLst>
                <a:rect l="0" t="0" r="r" b="b"/>
                <a:pathLst>
                  <a:path w="22" h="22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4" y="20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8" y="20"/>
                    </a:lnTo>
                    <a:lnTo>
                      <a:pt x="20" y="18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2" y="10"/>
                    </a:lnTo>
                    <a:lnTo>
                      <a:pt x="20" y="6"/>
                    </a:lnTo>
                    <a:lnTo>
                      <a:pt x="18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2" name="Freeform 430"/>
              <p:cNvSpPr>
                <a:spLocks/>
              </p:cNvSpPr>
              <p:nvPr userDrawn="1"/>
            </p:nvSpPr>
            <p:spPr bwMode="auto">
              <a:xfrm>
                <a:off x="6267450" y="4686300"/>
                <a:ext cx="34925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4" y="20"/>
                  </a:cxn>
                  <a:cxn ang="0">
                    <a:pos x="8" y="22"/>
                  </a:cxn>
                  <a:cxn ang="0">
                    <a:pos x="8" y="22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8" y="20"/>
                  </a:cxn>
                  <a:cxn ang="0">
                    <a:pos x="20" y="18"/>
                  </a:cxn>
                  <a:cxn ang="0">
                    <a:pos x="22" y="14"/>
                  </a:cxn>
                  <a:cxn ang="0">
                    <a:pos x="22" y="14"/>
                  </a:cxn>
                  <a:cxn ang="0">
                    <a:pos x="22" y="10"/>
                  </a:cxn>
                  <a:cxn ang="0">
                    <a:pos x="20" y="6"/>
                  </a:cxn>
                  <a:cxn ang="0">
                    <a:pos x="18" y="2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</a:cxnLst>
                <a:rect l="0" t="0" r="r" b="b"/>
                <a:pathLst>
                  <a:path w="22" h="22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4" y="20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8" y="20"/>
                    </a:lnTo>
                    <a:lnTo>
                      <a:pt x="20" y="18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2" y="10"/>
                    </a:lnTo>
                    <a:lnTo>
                      <a:pt x="20" y="6"/>
                    </a:lnTo>
                    <a:lnTo>
                      <a:pt x="18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3" name="Freeform 431"/>
              <p:cNvSpPr>
                <a:spLocks/>
              </p:cNvSpPr>
              <p:nvPr userDrawn="1"/>
            </p:nvSpPr>
            <p:spPr bwMode="auto">
              <a:xfrm>
                <a:off x="6264275" y="4616450"/>
                <a:ext cx="28575" cy="3175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6"/>
                  </a:cxn>
                  <a:cxn ang="0">
                    <a:pos x="4" y="18"/>
                  </a:cxn>
                  <a:cxn ang="0">
                    <a:pos x="6" y="20"/>
                  </a:cxn>
                  <a:cxn ang="0">
                    <a:pos x="6" y="20"/>
                  </a:cxn>
                  <a:cxn ang="0">
                    <a:pos x="8" y="20"/>
                  </a:cxn>
                  <a:cxn ang="0">
                    <a:pos x="8" y="20"/>
                  </a:cxn>
                  <a:cxn ang="0">
                    <a:pos x="14" y="18"/>
                  </a:cxn>
                  <a:cxn ang="0">
                    <a:pos x="18" y="14"/>
                  </a:cxn>
                  <a:cxn ang="0">
                    <a:pos x="18" y="14"/>
                  </a:cxn>
                  <a:cxn ang="0">
                    <a:pos x="18" y="10"/>
                  </a:cxn>
                  <a:cxn ang="0">
                    <a:pos x="18" y="6"/>
                  </a:cxn>
                  <a:cxn ang="0">
                    <a:pos x="14" y="2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8" y="0"/>
                  </a:cxn>
                </a:cxnLst>
                <a:rect l="0" t="0" r="r" b="b"/>
                <a:pathLst>
                  <a:path w="18" h="20">
                    <a:moveTo>
                      <a:pt x="8" y="0"/>
                    </a:moveTo>
                    <a:lnTo>
                      <a:pt x="8" y="0"/>
                    </a:lnTo>
                    <a:lnTo>
                      <a:pt x="4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4" y="18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14" y="18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4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4" name="Freeform 432"/>
              <p:cNvSpPr>
                <a:spLocks/>
              </p:cNvSpPr>
              <p:nvPr userDrawn="1"/>
            </p:nvSpPr>
            <p:spPr bwMode="auto">
              <a:xfrm>
                <a:off x="6264275" y="4616450"/>
                <a:ext cx="28575" cy="3175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6"/>
                  </a:cxn>
                  <a:cxn ang="0">
                    <a:pos x="4" y="18"/>
                  </a:cxn>
                  <a:cxn ang="0">
                    <a:pos x="6" y="20"/>
                  </a:cxn>
                  <a:cxn ang="0">
                    <a:pos x="6" y="20"/>
                  </a:cxn>
                  <a:cxn ang="0">
                    <a:pos x="8" y="20"/>
                  </a:cxn>
                  <a:cxn ang="0">
                    <a:pos x="8" y="20"/>
                  </a:cxn>
                  <a:cxn ang="0">
                    <a:pos x="14" y="18"/>
                  </a:cxn>
                  <a:cxn ang="0">
                    <a:pos x="18" y="14"/>
                  </a:cxn>
                  <a:cxn ang="0">
                    <a:pos x="18" y="14"/>
                  </a:cxn>
                  <a:cxn ang="0">
                    <a:pos x="18" y="10"/>
                  </a:cxn>
                  <a:cxn ang="0">
                    <a:pos x="18" y="6"/>
                  </a:cxn>
                  <a:cxn ang="0">
                    <a:pos x="14" y="2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8" y="0"/>
                  </a:cxn>
                </a:cxnLst>
                <a:rect l="0" t="0" r="r" b="b"/>
                <a:pathLst>
                  <a:path w="18" h="20">
                    <a:moveTo>
                      <a:pt x="8" y="0"/>
                    </a:moveTo>
                    <a:lnTo>
                      <a:pt x="8" y="0"/>
                    </a:lnTo>
                    <a:lnTo>
                      <a:pt x="4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4" y="18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14" y="18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4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5" name="Freeform 433"/>
              <p:cNvSpPr>
                <a:spLocks/>
              </p:cNvSpPr>
              <p:nvPr userDrawn="1"/>
            </p:nvSpPr>
            <p:spPr bwMode="auto">
              <a:xfrm>
                <a:off x="6245225" y="4549775"/>
                <a:ext cx="28575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8"/>
                  </a:cxn>
                  <a:cxn ang="0">
                    <a:pos x="2" y="8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6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4" y="16"/>
                  </a:cxn>
                  <a:cxn ang="0">
                    <a:pos x="18" y="12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6" y="4"/>
                  </a:cxn>
                  <a:cxn ang="0">
                    <a:pos x="14" y="2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4" y="16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6" y="4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6" name="Freeform 434"/>
              <p:cNvSpPr>
                <a:spLocks/>
              </p:cNvSpPr>
              <p:nvPr userDrawn="1"/>
            </p:nvSpPr>
            <p:spPr bwMode="auto">
              <a:xfrm>
                <a:off x="6245225" y="4549775"/>
                <a:ext cx="28575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8"/>
                  </a:cxn>
                  <a:cxn ang="0">
                    <a:pos x="2" y="8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6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4" y="16"/>
                  </a:cxn>
                  <a:cxn ang="0">
                    <a:pos x="18" y="12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6" y="4"/>
                  </a:cxn>
                  <a:cxn ang="0">
                    <a:pos x="14" y="2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4" y="16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6" y="4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7" name="Freeform 435"/>
              <p:cNvSpPr>
                <a:spLocks/>
              </p:cNvSpPr>
              <p:nvPr userDrawn="1"/>
            </p:nvSpPr>
            <p:spPr bwMode="auto">
              <a:xfrm>
                <a:off x="6216650" y="4486275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2" y="12"/>
                  </a:cxn>
                  <a:cxn ang="0">
                    <a:pos x="4" y="14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4" y="14"/>
                  </a:cxn>
                  <a:cxn ang="0">
                    <a:pos x="16" y="10"/>
                  </a:cxn>
                  <a:cxn ang="0">
                    <a:pos x="16" y="10"/>
                  </a:cxn>
                  <a:cxn ang="0">
                    <a:pos x="16" y="8"/>
                  </a:cxn>
                  <a:cxn ang="0">
                    <a:pos x="16" y="4"/>
                  </a:cxn>
                  <a:cxn ang="0">
                    <a:pos x="14" y="2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4" y="14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8"/>
                    </a:lnTo>
                    <a:lnTo>
                      <a:pt x="16" y="4"/>
                    </a:lnTo>
                    <a:lnTo>
                      <a:pt x="14" y="2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8" name="Freeform 436"/>
              <p:cNvSpPr>
                <a:spLocks/>
              </p:cNvSpPr>
              <p:nvPr userDrawn="1"/>
            </p:nvSpPr>
            <p:spPr bwMode="auto">
              <a:xfrm>
                <a:off x="6216650" y="4486275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2" y="12"/>
                  </a:cxn>
                  <a:cxn ang="0">
                    <a:pos x="4" y="14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4" y="14"/>
                  </a:cxn>
                  <a:cxn ang="0">
                    <a:pos x="16" y="10"/>
                  </a:cxn>
                  <a:cxn ang="0">
                    <a:pos x="16" y="10"/>
                  </a:cxn>
                  <a:cxn ang="0">
                    <a:pos x="16" y="8"/>
                  </a:cxn>
                  <a:cxn ang="0">
                    <a:pos x="16" y="4"/>
                  </a:cxn>
                  <a:cxn ang="0">
                    <a:pos x="14" y="2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4" y="14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8"/>
                    </a:lnTo>
                    <a:lnTo>
                      <a:pt x="16" y="4"/>
                    </a:lnTo>
                    <a:lnTo>
                      <a:pt x="14" y="2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9" name="Freeform 437"/>
              <p:cNvSpPr>
                <a:spLocks/>
              </p:cNvSpPr>
              <p:nvPr userDrawn="1"/>
            </p:nvSpPr>
            <p:spPr bwMode="auto">
              <a:xfrm>
                <a:off x="6178550" y="4429125"/>
                <a:ext cx="22225" cy="2540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2"/>
                  </a:cxn>
                  <a:cxn ang="0">
                    <a:pos x="4" y="14"/>
                  </a:cxn>
                  <a:cxn ang="0">
                    <a:pos x="4" y="14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10"/>
                  </a:cxn>
                  <a:cxn ang="0">
                    <a:pos x="14" y="10"/>
                  </a:cxn>
                  <a:cxn ang="0">
                    <a:pos x="12" y="4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6" y="0"/>
                  </a:cxn>
                </a:cxnLst>
                <a:rect l="0" t="0" r="r" b="b"/>
                <a:pathLst>
                  <a:path w="14" h="16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2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12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2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0" name="Freeform 438"/>
              <p:cNvSpPr>
                <a:spLocks/>
              </p:cNvSpPr>
              <p:nvPr userDrawn="1"/>
            </p:nvSpPr>
            <p:spPr bwMode="auto">
              <a:xfrm>
                <a:off x="6178550" y="4429125"/>
                <a:ext cx="22225" cy="2540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2"/>
                  </a:cxn>
                  <a:cxn ang="0">
                    <a:pos x="4" y="14"/>
                  </a:cxn>
                  <a:cxn ang="0">
                    <a:pos x="4" y="14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10"/>
                  </a:cxn>
                  <a:cxn ang="0">
                    <a:pos x="14" y="10"/>
                  </a:cxn>
                  <a:cxn ang="0">
                    <a:pos x="12" y="4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6" y="0"/>
                  </a:cxn>
                </a:cxnLst>
                <a:rect l="0" t="0" r="r" b="b"/>
                <a:pathLst>
                  <a:path w="14" h="16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2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12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2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1" name="Freeform 439"/>
              <p:cNvSpPr>
                <a:spLocks/>
              </p:cNvSpPr>
              <p:nvPr userDrawn="1"/>
            </p:nvSpPr>
            <p:spPr bwMode="auto">
              <a:xfrm>
                <a:off x="6130925" y="4381500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10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8" y="12"/>
                  </a:cxn>
                  <a:cxn ang="0">
                    <a:pos x="12" y="8"/>
                  </a:cxn>
                  <a:cxn ang="0">
                    <a:pos x="12" y="8"/>
                  </a:cxn>
                  <a:cxn ang="0">
                    <a:pos x="10" y="4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10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0" y="4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2" name="Freeform 440"/>
              <p:cNvSpPr>
                <a:spLocks/>
              </p:cNvSpPr>
              <p:nvPr userDrawn="1"/>
            </p:nvSpPr>
            <p:spPr bwMode="auto">
              <a:xfrm>
                <a:off x="6130925" y="4381500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10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8" y="12"/>
                  </a:cxn>
                  <a:cxn ang="0">
                    <a:pos x="12" y="8"/>
                  </a:cxn>
                  <a:cxn ang="0">
                    <a:pos x="12" y="8"/>
                  </a:cxn>
                  <a:cxn ang="0">
                    <a:pos x="10" y="4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10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0" y="4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3" name="Freeform 441"/>
              <p:cNvSpPr>
                <a:spLocks/>
              </p:cNvSpPr>
              <p:nvPr userDrawn="1"/>
            </p:nvSpPr>
            <p:spPr bwMode="auto">
              <a:xfrm>
                <a:off x="6070600" y="434022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2"/>
                  </a:cxn>
                  <a:cxn ang="0">
                    <a:pos x="12" y="8"/>
                  </a:cxn>
                  <a:cxn ang="0">
                    <a:pos x="12" y="8"/>
                  </a:cxn>
                  <a:cxn ang="0">
                    <a:pos x="12" y="4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2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4" name="Freeform 442"/>
              <p:cNvSpPr>
                <a:spLocks/>
              </p:cNvSpPr>
              <p:nvPr userDrawn="1"/>
            </p:nvSpPr>
            <p:spPr bwMode="auto">
              <a:xfrm>
                <a:off x="6070600" y="434022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2"/>
                  </a:cxn>
                  <a:cxn ang="0">
                    <a:pos x="12" y="8"/>
                  </a:cxn>
                  <a:cxn ang="0">
                    <a:pos x="12" y="8"/>
                  </a:cxn>
                  <a:cxn ang="0">
                    <a:pos x="12" y="4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2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5" name="Freeform 443"/>
              <p:cNvSpPr>
                <a:spLocks/>
              </p:cNvSpPr>
              <p:nvPr userDrawn="1"/>
            </p:nvSpPr>
            <p:spPr bwMode="auto">
              <a:xfrm>
                <a:off x="6007100" y="4311650"/>
                <a:ext cx="15875" cy="1587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2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8" y="10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10" y="4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0" h="10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8" y="10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4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6" name="Freeform 444"/>
              <p:cNvSpPr>
                <a:spLocks/>
              </p:cNvSpPr>
              <p:nvPr userDrawn="1"/>
            </p:nvSpPr>
            <p:spPr bwMode="auto">
              <a:xfrm>
                <a:off x="6007100" y="4311650"/>
                <a:ext cx="15875" cy="1587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2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8" y="10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10" y="4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0" h="10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8" y="10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4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7" name="Freeform 445"/>
              <p:cNvSpPr>
                <a:spLocks/>
              </p:cNvSpPr>
              <p:nvPr userDrawn="1"/>
            </p:nvSpPr>
            <p:spPr bwMode="auto">
              <a:xfrm>
                <a:off x="5940425" y="4295775"/>
                <a:ext cx="15875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8" y="8"/>
                  </a:cxn>
                  <a:cxn ang="0">
                    <a:pos x="10" y="6"/>
                  </a:cxn>
                  <a:cxn ang="0">
                    <a:pos x="10" y="6"/>
                  </a:cxn>
                  <a:cxn ang="0">
                    <a:pos x="8" y="2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</a:cxnLst>
                <a:rect l="0" t="0" r="r" b="b"/>
                <a:pathLst>
                  <a:path w="10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8" name="Freeform 446"/>
              <p:cNvSpPr>
                <a:spLocks/>
              </p:cNvSpPr>
              <p:nvPr userDrawn="1"/>
            </p:nvSpPr>
            <p:spPr bwMode="auto">
              <a:xfrm>
                <a:off x="5940425" y="4295775"/>
                <a:ext cx="15875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8" y="8"/>
                  </a:cxn>
                  <a:cxn ang="0">
                    <a:pos x="10" y="6"/>
                  </a:cxn>
                  <a:cxn ang="0">
                    <a:pos x="10" y="6"/>
                  </a:cxn>
                  <a:cxn ang="0">
                    <a:pos x="8" y="2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</a:cxnLst>
                <a:rect l="0" t="0" r="r" b="b"/>
                <a:pathLst>
                  <a:path w="10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9" name="Freeform 447"/>
              <p:cNvSpPr>
                <a:spLocks/>
              </p:cNvSpPr>
              <p:nvPr userDrawn="1"/>
            </p:nvSpPr>
            <p:spPr bwMode="auto">
              <a:xfrm>
                <a:off x="6200775" y="4629150"/>
                <a:ext cx="34925" cy="3175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4" y="18"/>
                  </a:cxn>
                  <a:cxn ang="0">
                    <a:pos x="12" y="20"/>
                  </a:cxn>
                  <a:cxn ang="0">
                    <a:pos x="12" y="20"/>
                  </a:cxn>
                  <a:cxn ang="0">
                    <a:pos x="14" y="20"/>
                  </a:cxn>
                  <a:cxn ang="0">
                    <a:pos x="14" y="20"/>
                  </a:cxn>
                  <a:cxn ang="0">
                    <a:pos x="18" y="18"/>
                  </a:cxn>
                  <a:cxn ang="0">
                    <a:pos x="20" y="14"/>
                  </a:cxn>
                  <a:cxn ang="0">
                    <a:pos x="22" y="10"/>
                  </a:cxn>
                  <a:cxn ang="0">
                    <a:pos x="20" y="6"/>
                  </a:cxn>
                  <a:cxn ang="0">
                    <a:pos x="20" y="6"/>
                  </a:cxn>
                  <a:cxn ang="0">
                    <a:pos x="18" y="2"/>
                  </a:cxn>
                  <a:cxn ang="0">
                    <a:pos x="12" y="0"/>
                  </a:cxn>
                </a:cxnLst>
                <a:rect l="0" t="0" r="r" b="b"/>
                <a:pathLst>
                  <a:path w="22" h="20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4" y="18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8" y="18"/>
                    </a:lnTo>
                    <a:lnTo>
                      <a:pt x="20" y="14"/>
                    </a:lnTo>
                    <a:lnTo>
                      <a:pt x="22" y="10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18" y="2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0" name="Freeform 448"/>
              <p:cNvSpPr>
                <a:spLocks/>
              </p:cNvSpPr>
              <p:nvPr userDrawn="1"/>
            </p:nvSpPr>
            <p:spPr bwMode="auto">
              <a:xfrm>
                <a:off x="6200775" y="4629150"/>
                <a:ext cx="34925" cy="3175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4" y="18"/>
                  </a:cxn>
                  <a:cxn ang="0">
                    <a:pos x="12" y="20"/>
                  </a:cxn>
                  <a:cxn ang="0">
                    <a:pos x="12" y="20"/>
                  </a:cxn>
                  <a:cxn ang="0">
                    <a:pos x="14" y="20"/>
                  </a:cxn>
                  <a:cxn ang="0">
                    <a:pos x="14" y="20"/>
                  </a:cxn>
                  <a:cxn ang="0">
                    <a:pos x="18" y="18"/>
                  </a:cxn>
                  <a:cxn ang="0">
                    <a:pos x="20" y="14"/>
                  </a:cxn>
                  <a:cxn ang="0">
                    <a:pos x="22" y="10"/>
                  </a:cxn>
                  <a:cxn ang="0">
                    <a:pos x="20" y="6"/>
                  </a:cxn>
                  <a:cxn ang="0">
                    <a:pos x="20" y="6"/>
                  </a:cxn>
                  <a:cxn ang="0">
                    <a:pos x="18" y="2"/>
                  </a:cxn>
                  <a:cxn ang="0">
                    <a:pos x="12" y="0"/>
                  </a:cxn>
                </a:cxnLst>
                <a:rect l="0" t="0" r="r" b="b"/>
                <a:pathLst>
                  <a:path w="22" h="20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4" y="18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8" y="18"/>
                    </a:lnTo>
                    <a:lnTo>
                      <a:pt x="20" y="14"/>
                    </a:lnTo>
                    <a:lnTo>
                      <a:pt x="22" y="10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18" y="2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1" name="Freeform 449"/>
              <p:cNvSpPr>
                <a:spLocks/>
              </p:cNvSpPr>
              <p:nvPr userDrawn="1"/>
            </p:nvSpPr>
            <p:spPr bwMode="auto">
              <a:xfrm>
                <a:off x="6210300" y="4689475"/>
                <a:ext cx="28575" cy="2857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4" y="16"/>
                  </a:cxn>
                  <a:cxn ang="0">
                    <a:pos x="16" y="14"/>
                  </a:cxn>
                  <a:cxn ang="0">
                    <a:pos x="18" y="10"/>
                  </a:cxn>
                  <a:cxn ang="0">
                    <a:pos x="18" y="6"/>
                  </a:cxn>
                  <a:cxn ang="0">
                    <a:pos x="18" y="6"/>
                  </a:cxn>
                  <a:cxn ang="0">
                    <a:pos x="14" y="2"/>
                  </a:cxn>
                  <a:cxn ang="0">
                    <a:pos x="8" y="0"/>
                  </a:cxn>
                </a:cxnLst>
                <a:rect l="0" t="0" r="r" b="b"/>
                <a:pathLst>
                  <a:path w="18" h="18">
                    <a:moveTo>
                      <a:pt x="8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4" y="16"/>
                    </a:lnTo>
                    <a:lnTo>
                      <a:pt x="16" y="14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4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2" name="Freeform 450"/>
              <p:cNvSpPr>
                <a:spLocks/>
              </p:cNvSpPr>
              <p:nvPr userDrawn="1"/>
            </p:nvSpPr>
            <p:spPr bwMode="auto">
              <a:xfrm>
                <a:off x="6210300" y="4689475"/>
                <a:ext cx="28575" cy="2857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4" y="16"/>
                  </a:cxn>
                  <a:cxn ang="0">
                    <a:pos x="16" y="14"/>
                  </a:cxn>
                  <a:cxn ang="0">
                    <a:pos x="18" y="10"/>
                  </a:cxn>
                  <a:cxn ang="0">
                    <a:pos x="18" y="6"/>
                  </a:cxn>
                  <a:cxn ang="0">
                    <a:pos x="18" y="6"/>
                  </a:cxn>
                  <a:cxn ang="0">
                    <a:pos x="14" y="2"/>
                  </a:cxn>
                  <a:cxn ang="0">
                    <a:pos x="8" y="0"/>
                  </a:cxn>
                </a:cxnLst>
                <a:rect l="0" t="0" r="r" b="b"/>
                <a:pathLst>
                  <a:path w="18" h="18">
                    <a:moveTo>
                      <a:pt x="8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4" y="16"/>
                    </a:lnTo>
                    <a:lnTo>
                      <a:pt x="16" y="14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4" y="2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3" name="Freeform 451"/>
              <p:cNvSpPr>
                <a:spLocks/>
              </p:cNvSpPr>
              <p:nvPr userDrawn="1"/>
            </p:nvSpPr>
            <p:spPr bwMode="auto">
              <a:xfrm>
                <a:off x="6203950" y="4749800"/>
                <a:ext cx="28575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6" y="2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4" y="16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8"/>
                  </a:cxn>
                  <a:cxn ang="0">
                    <a:pos x="12" y="18"/>
                  </a:cxn>
                  <a:cxn ang="0">
                    <a:pos x="14" y="16"/>
                  </a:cxn>
                  <a:cxn ang="0">
                    <a:pos x="16" y="14"/>
                  </a:cxn>
                  <a:cxn ang="0">
                    <a:pos x="18" y="10"/>
                  </a:cxn>
                  <a:cxn ang="0">
                    <a:pos x="16" y="6"/>
                  </a:cxn>
                  <a:cxn ang="0">
                    <a:pos x="16" y="6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4" y="16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4" y="16"/>
                    </a:lnTo>
                    <a:lnTo>
                      <a:pt x="16" y="14"/>
                    </a:lnTo>
                    <a:lnTo>
                      <a:pt x="18" y="10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4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4" name="Freeform 452"/>
              <p:cNvSpPr>
                <a:spLocks/>
              </p:cNvSpPr>
              <p:nvPr userDrawn="1"/>
            </p:nvSpPr>
            <p:spPr bwMode="auto">
              <a:xfrm>
                <a:off x="6203950" y="4749800"/>
                <a:ext cx="28575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6" y="2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4" y="16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8"/>
                  </a:cxn>
                  <a:cxn ang="0">
                    <a:pos x="12" y="18"/>
                  </a:cxn>
                  <a:cxn ang="0">
                    <a:pos x="14" y="16"/>
                  </a:cxn>
                  <a:cxn ang="0">
                    <a:pos x="16" y="14"/>
                  </a:cxn>
                  <a:cxn ang="0">
                    <a:pos x="18" y="10"/>
                  </a:cxn>
                  <a:cxn ang="0">
                    <a:pos x="16" y="6"/>
                  </a:cxn>
                  <a:cxn ang="0">
                    <a:pos x="16" y="6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4" y="16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4" y="16"/>
                    </a:lnTo>
                    <a:lnTo>
                      <a:pt x="16" y="14"/>
                    </a:lnTo>
                    <a:lnTo>
                      <a:pt x="18" y="10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4" y="2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5" name="Freeform 453"/>
              <p:cNvSpPr>
                <a:spLocks/>
              </p:cNvSpPr>
              <p:nvPr userDrawn="1"/>
            </p:nvSpPr>
            <p:spPr bwMode="auto">
              <a:xfrm>
                <a:off x="6191250" y="4810125"/>
                <a:ext cx="22225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0" y="4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0" y="16"/>
                  </a:cxn>
                  <a:cxn ang="0">
                    <a:pos x="10" y="16"/>
                  </a:cxn>
                  <a:cxn ang="0">
                    <a:pos x="14" y="12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2"/>
                  </a:cxn>
                  <a:cxn ang="0">
                    <a:pos x="8" y="0"/>
                  </a:cxn>
                </a:cxnLst>
                <a:rect l="0" t="0" r="r" b="b"/>
                <a:pathLst>
                  <a:path w="14" h="16">
                    <a:moveTo>
                      <a:pt x="8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0" y="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4" y="12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2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6" name="Freeform 454"/>
              <p:cNvSpPr>
                <a:spLocks/>
              </p:cNvSpPr>
              <p:nvPr userDrawn="1"/>
            </p:nvSpPr>
            <p:spPr bwMode="auto">
              <a:xfrm>
                <a:off x="6191250" y="4810125"/>
                <a:ext cx="22225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0" y="4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0" y="16"/>
                  </a:cxn>
                  <a:cxn ang="0">
                    <a:pos x="10" y="16"/>
                  </a:cxn>
                  <a:cxn ang="0">
                    <a:pos x="14" y="12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2"/>
                  </a:cxn>
                  <a:cxn ang="0">
                    <a:pos x="8" y="0"/>
                  </a:cxn>
                </a:cxnLst>
                <a:rect l="0" t="0" r="r" b="b"/>
                <a:pathLst>
                  <a:path w="14" h="16">
                    <a:moveTo>
                      <a:pt x="8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0" y="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4" y="12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2" y="2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7" name="Freeform 455"/>
              <p:cNvSpPr>
                <a:spLocks/>
              </p:cNvSpPr>
              <p:nvPr userDrawn="1"/>
            </p:nvSpPr>
            <p:spPr bwMode="auto">
              <a:xfrm>
                <a:off x="6165850" y="4867275"/>
                <a:ext cx="22225" cy="2222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4" y="12"/>
                  </a:cxn>
                  <a:cxn ang="0">
                    <a:pos x="8" y="14"/>
                  </a:cxn>
                  <a:cxn ang="0">
                    <a:pos x="8" y="14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2" y="10"/>
                  </a:cxn>
                  <a:cxn ang="0">
                    <a:pos x="14" y="4"/>
                  </a:cxn>
                  <a:cxn ang="0">
                    <a:pos x="14" y="4"/>
                  </a:cxn>
                  <a:cxn ang="0">
                    <a:pos x="12" y="2"/>
                  </a:cxn>
                  <a:cxn ang="0">
                    <a:pos x="8" y="0"/>
                  </a:cxn>
                </a:cxnLst>
                <a:rect l="0" t="0" r="r" b="b"/>
                <a:pathLst>
                  <a:path w="14" h="14">
                    <a:moveTo>
                      <a:pt x="8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12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10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2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8" name="Freeform 456"/>
              <p:cNvSpPr>
                <a:spLocks/>
              </p:cNvSpPr>
              <p:nvPr userDrawn="1"/>
            </p:nvSpPr>
            <p:spPr bwMode="auto">
              <a:xfrm>
                <a:off x="6165850" y="4867275"/>
                <a:ext cx="22225" cy="2222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4" y="12"/>
                  </a:cxn>
                  <a:cxn ang="0">
                    <a:pos x="8" y="14"/>
                  </a:cxn>
                  <a:cxn ang="0">
                    <a:pos x="8" y="14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2" y="10"/>
                  </a:cxn>
                  <a:cxn ang="0">
                    <a:pos x="14" y="4"/>
                  </a:cxn>
                  <a:cxn ang="0">
                    <a:pos x="14" y="4"/>
                  </a:cxn>
                  <a:cxn ang="0">
                    <a:pos x="12" y="2"/>
                  </a:cxn>
                  <a:cxn ang="0">
                    <a:pos x="8" y="0"/>
                  </a:cxn>
                </a:cxnLst>
                <a:rect l="0" t="0" r="r" b="b"/>
                <a:pathLst>
                  <a:path w="14" h="14">
                    <a:moveTo>
                      <a:pt x="8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12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10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2" y="2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9" name="Freeform 457"/>
              <p:cNvSpPr>
                <a:spLocks/>
              </p:cNvSpPr>
              <p:nvPr userDrawn="1"/>
            </p:nvSpPr>
            <p:spPr bwMode="auto">
              <a:xfrm>
                <a:off x="6134100" y="491807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8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8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8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0" name="Freeform 458"/>
              <p:cNvSpPr>
                <a:spLocks/>
              </p:cNvSpPr>
              <p:nvPr userDrawn="1"/>
            </p:nvSpPr>
            <p:spPr bwMode="auto">
              <a:xfrm>
                <a:off x="6134100" y="491807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8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8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8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1" name="Freeform 459"/>
              <p:cNvSpPr>
                <a:spLocks/>
              </p:cNvSpPr>
              <p:nvPr userDrawn="1"/>
            </p:nvSpPr>
            <p:spPr bwMode="auto">
              <a:xfrm>
                <a:off x="6092825" y="4962525"/>
                <a:ext cx="15875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10" y="8"/>
                  </a:cxn>
                  <a:cxn ang="0">
                    <a:pos x="10" y="4"/>
                  </a:cxn>
                  <a:cxn ang="0">
                    <a:pos x="10" y="4"/>
                  </a:cxn>
                  <a:cxn ang="0">
                    <a:pos x="8" y="0"/>
                  </a:cxn>
                  <a:cxn ang="0">
                    <a:pos x="4" y="0"/>
                  </a:cxn>
                </a:cxnLst>
                <a:rect l="0" t="0" r="r" b="b"/>
                <a:pathLst>
                  <a:path w="10" h="10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10" y="8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8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2" name="Freeform 460"/>
              <p:cNvSpPr>
                <a:spLocks/>
              </p:cNvSpPr>
              <p:nvPr userDrawn="1"/>
            </p:nvSpPr>
            <p:spPr bwMode="auto">
              <a:xfrm>
                <a:off x="6092825" y="4962525"/>
                <a:ext cx="15875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10" y="8"/>
                  </a:cxn>
                  <a:cxn ang="0">
                    <a:pos x="10" y="4"/>
                  </a:cxn>
                  <a:cxn ang="0">
                    <a:pos x="10" y="4"/>
                  </a:cxn>
                  <a:cxn ang="0">
                    <a:pos x="8" y="0"/>
                  </a:cxn>
                  <a:cxn ang="0">
                    <a:pos x="4" y="0"/>
                  </a:cxn>
                </a:cxnLst>
                <a:rect l="0" t="0" r="r" b="b"/>
                <a:pathLst>
                  <a:path w="10" h="10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10" y="8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8" y="0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3" name="Freeform 461"/>
              <p:cNvSpPr>
                <a:spLocks/>
              </p:cNvSpPr>
              <p:nvPr userDrawn="1"/>
            </p:nvSpPr>
            <p:spPr bwMode="auto">
              <a:xfrm>
                <a:off x="6042025" y="4997450"/>
                <a:ext cx="15875" cy="1587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6" y="8"/>
                  </a:cxn>
                  <a:cxn ang="0">
                    <a:pos x="6" y="8"/>
                  </a:cxn>
                  <a:cxn ang="0">
                    <a:pos x="10" y="6"/>
                  </a:cxn>
                  <a:cxn ang="0">
                    <a:pos x="10" y="4"/>
                  </a:cxn>
                  <a:cxn ang="0">
                    <a:pos x="10" y="4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0" h="10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10" y="6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8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4" name="Freeform 462"/>
              <p:cNvSpPr>
                <a:spLocks/>
              </p:cNvSpPr>
              <p:nvPr userDrawn="1"/>
            </p:nvSpPr>
            <p:spPr bwMode="auto">
              <a:xfrm>
                <a:off x="6042025" y="4997450"/>
                <a:ext cx="15875" cy="1587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6" y="8"/>
                  </a:cxn>
                  <a:cxn ang="0">
                    <a:pos x="6" y="8"/>
                  </a:cxn>
                  <a:cxn ang="0">
                    <a:pos x="10" y="6"/>
                  </a:cxn>
                  <a:cxn ang="0">
                    <a:pos x="10" y="4"/>
                  </a:cxn>
                  <a:cxn ang="0">
                    <a:pos x="10" y="4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0" h="10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10" y="6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8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5" name="Freeform 463"/>
              <p:cNvSpPr>
                <a:spLocks/>
              </p:cNvSpPr>
              <p:nvPr userDrawn="1"/>
            </p:nvSpPr>
            <p:spPr bwMode="auto">
              <a:xfrm>
                <a:off x="5988050" y="5022850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8"/>
                  </a:cxn>
                  <a:cxn ang="0">
                    <a:pos x="6" y="8"/>
                  </a:cxn>
                  <a:cxn ang="0">
                    <a:pos x="8" y="6"/>
                  </a:cxn>
                  <a:cxn ang="0">
                    <a:pos x="8" y="4"/>
                  </a:cxn>
                  <a:cxn ang="0">
                    <a:pos x="8" y="4"/>
                  </a:cxn>
                  <a:cxn ang="0">
                    <a:pos x="8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8" y="6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6" name="Freeform 464"/>
              <p:cNvSpPr>
                <a:spLocks/>
              </p:cNvSpPr>
              <p:nvPr userDrawn="1"/>
            </p:nvSpPr>
            <p:spPr bwMode="auto">
              <a:xfrm>
                <a:off x="5988050" y="5022850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8"/>
                  </a:cxn>
                  <a:cxn ang="0">
                    <a:pos x="6" y="8"/>
                  </a:cxn>
                  <a:cxn ang="0">
                    <a:pos x="8" y="6"/>
                  </a:cxn>
                  <a:cxn ang="0">
                    <a:pos x="8" y="4"/>
                  </a:cxn>
                  <a:cxn ang="0">
                    <a:pos x="8" y="4"/>
                  </a:cxn>
                  <a:cxn ang="0">
                    <a:pos x="8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8" y="6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7" name="Freeform 465"/>
              <p:cNvSpPr>
                <a:spLocks/>
              </p:cNvSpPr>
              <p:nvPr userDrawn="1"/>
            </p:nvSpPr>
            <p:spPr bwMode="auto">
              <a:xfrm>
                <a:off x="5930900" y="5038725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8" y="6"/>
                  </a:cxn>
                  <a:cxn ang="0">
                    <a:pos x="8" y="4"/>
                  </a:cxn>
                  <a:cxn ang="0">
                    <a:pos x="8" y="4"/>
                  </a:cxn>
                  <a:cxn ang="0">
                    <a:pos x="6" y="2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6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8" name="Freeform 466"/>
              <p:cNvSpPr>
                <a:spLocks/>
              </p:cNvSpPr>
              <p:nvPr userDrawn="1"/>
            </p:nvSpPr>
            <p:spPr bwMode="auto">
              <a:xfrm>
                <a:off x="5930900" y="5038725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8" y="6"/>
                  </a:cxn>
                  <a:cxn ang="0">
                    <a:pos x="8" y="4"/>
                  </a:cxn>
                  <a:cxn ang="0">
                    <a:pos x="8" y="4"/>
                  </a:cxn>
                  <a:cxn ang="0">
                    <a:pos x="6" y="2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6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9" name="Freeform 467"/>
              <p:cNvSpPr>
                <a:spLocks/>
              </p:cNvSpPr>
              <p:nvPr userDrawn="1"/>
            </p:nvSpPr>
            <p:spPr bwMode="auto">
              <a:xfrm>
                <a:off x="6188075" y="4568825"/>
                <a:ext cx="31750" cy="3175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4" y="18"/>
                  </a:cxn>
                  <a:cxn ang="0">
                    <a:pos x="10" y="20"/>
                  </a:cxn>
                  <a:cxn ang="0">
                    <a:pos x="10" y="20"/>
                  </a:cxn>
                  <a:cxn ang="0">
                    <a:pos x="12" y="20"/>
                  </a:cxn>
                  <a:cxn ang="0">
                    <a:pos x="12" y="20"/>
                  </a:cxn>
                  <a:cxn ang="0">
                    <a:pos x="16" y="18"/>
                  </a:cxn>
                  <a:cxn ang="0">
                    <a:pos x="18" y="16"/>
                  </a:cxn>
                  <a:cxn ang="0">
                    <a:pos x="20" y="12"/>
                  </a:cxn>
                  <a:cxn ang="0">
                    <a:pos x="20" y="8"/>
                  </a:cxn>
                  <a:cxn ang="0">
                    <a:pos x="20" y="8"/>
                  </a:cxn>
                  <a:cxn ang="0">
                    <a:pos x="16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0">
                    <a:moveTo>
                      <a:pt x="10" y="0"/>
                    </a:moveTo>
                    <a:lnTo>
                      <a:pt x="10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4" y="18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6" y="18"/>
                    </a:lnTo>
                    <a:lnTo>
                      <a:pt x="18" y="16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16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0" name="Freeform 468"/>
              <p:cNvSpPr>
                <a:spLocks/>
              </p:cNvSpPr>
              <p:nvPr userDrawn="1"/>
            </p:nvSpPr>
            <p:spPr bwMode="auto">
              <a:xfrm>
                <a:off x="6188075" y="4568825"/>
                <a:ext cx="31750" cy="3175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4" y="18"/>
                  </a:cxn>
                  <a:cxn ang="0">
                    <a:pos x="10" y="20"/>
                  </a:cxn>
                  <a:cxn ang="0">
                    <a:pos x="10" y="20"/>
                  </a:cxn>
                  <a:cxn ang="0">
                    <a:pos x="12" y="20"/>
                  </a:cxn>
                  <a:cxn ang="0">
                    <a:pos x="12" y="20"/>
                  </a:cxn>
                  <a:cxn ang="0">
                    <a:pos x="16" y="18"/>
                  </a:cxn>
                  <a:cxn ang="0">
                    <a:pos x="18" y="16"/>
                  </a:cxn>
                  <a:cxn ang="0">
                    <a:pos x="20" y="12"/>
                  </a:cxn>
                  <a:cxn ang="0">
                    <a:pos x="20" y="8"/>
                  </a:cxn>
                  <a:cxn ang="0">
                    <a:pos x="20" y="8"/>
                  </a:cxn>
                  <a:cxn ang="0">
                    <a:pos x="16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0">
                    <a:moveTo>
                      <a:pt x="10" y="0"/>
                    </a:moveTo>
                    <a:lnTo>
                      <a:pt x="10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4" y="18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6" y="18"/>
                    </a:lnTo>
                    <a:lnTo>
                      <a:pt x="18" y="16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16" y="2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1" name="Freeform 469"/>
              <p:cNvSpPr>
                <a:spLocks/>
              </p:cNvSpPr>
              <p:nvPr userDrawn="1"/>
            </p:nvSpPr>
            <p:spPr bwMode="auto">
              <a:xfrm>
                <a:off x="6162675" y="4514850"/>
                <a:ext cx="28575" cy="3175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6" y="2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4" y="18"/>
                  </a:cxn>
                  <a:cxn ang="0">
                    <a:pos x="10" y="20"/>
                  </a:cxn>
                  <a:cxn ang="0">
                    <a:pos x="10" y="20"/>
                  </a:cxn>
                  <a:cxn ang="0">
                    <a:pos x="12" y="18"/>
                  </a:cxn>
                  <a:cxn ang="0">
                    <a:pos x="12" y="18"/>
                  </a:cxn>
                  <a:cxn ang="0">
                    <a:pos x="14" y="18"/>
                  </a:cxn>
                  <a:cxn ang="0">
                    <a:pos x="18" y="14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8" y="8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18" h="20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4" y="18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4" y="18"/>
                    </a:lnTo>
                    <a:lnTo>
                      <a:pt x="18" y="14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4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2" name="Freeform 470"/>
              <p:cNvSpPr>
                <a:spLocks/>
              </p:cNvSpPr>
              <p:nvPr userDrawn="1"/>
            </p:nvSpPr>
            <p:spPr bwMode="auto">
              <a:xfrm>
                <a:off x="6162675" y="4514850"/>
                <a:ext cx="28575" cy="3175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6" y="2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4" y="18"/>
                  </a:cxn>
                  <a:cxn ang="0">
                    <a:pos x="10" y="20"/>
                  </a:cxn>
                  <a:cxn ang="0">
                    <a:pos x="10" y="20"/>
                  </a:cxn>
                  <a:cxn ang="0">
                    <a:pos x="12" y="18"/>
                  </a:cxn>
                  <a:cxn ang="0">
                    <a:pos x="12" y="18"/>
                  </a:cxn>
                  <a:cxn ang="0">
                    <a:pos x="14" y="18"/>
                  </a:cxn>
                  <a:cxn ang="0">
                    <a:pos x="18" y="14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8" y="8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18" h="20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4" y="18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4" y="18"/>
                    </a:lnTo>
                    <a:lnTo>
                      <a:pt x="18" y="14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4" y="2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3" name="Freeform 471"/>
              <p:cNvSpPr>
                <a:spLocks/>
              </p:cNvSpPr>
              <p:nvPr userDrawn="1"/>
            </p:nvSpPr>
            <p:spPr bwMode="auto">
              <a:xfrm>
                <a:off x="6130925" y="4467225"/>
                <a:ext cx="25400" cy="2857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2" y="16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0" y="16"/>
                  </a:cxn>
                  <a:cxn ang="0">
                    <a:pos x="10" y="16"/>
                  </a:cxn>
                  <a:cxn ang="0">
                    <a:pos x="12" y="16"/>
                  </a:cxn>
                  <a:cxn ang="0">
                    <a:pos x="14" y="12"/>
                  </a:cxn>
                  <a:cxn ang="0">
                    <a:pos x="16" y="10"/>
                  </a:cxn>
                  <a:cxn ang="0">
                    <a:pos x="16" y="6"/>
                  </a:cxn>
                  <a:cxn ang="0">
                    <a:pos x="16" y="6"/>
                  </a:cxn>
                  <a:cxn ang="0">
                    <a:pos x="12" y="2"/>
                  </a:cxn>
                  <a:cxn ang="0">
                    <a:pos x="8" y="0"/>
                  </a:cxn>
                </a:cxnLst>
                <a:rect l="0" t="0" r="r" b="b"/>
                <a:pathLst>
                  <a:path w="16" h="18">
                    <a:moveTo>
                      <a:pt x="8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16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2" y="16"/>
                    </a:lnTo>
                    <a:lnTo>
                      <a:pt x="14" y="12"/>
                    </a:lnTo>
                    <a:lnTo>
                      <a:pt x="16" y="10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2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4" name="Freeform 472"/>
              <p:cNvSpPr>
                <a:spLocks/>
              </p:cNvSpPr>
              <p:nvPr userDrawn="1"/>
            </p:nvSpPr>
            <p:spPr bwMode="auto">
              <a:xfrm>
                <a:off x="6130925" y="4467225"/>
                <a:ext cx="25400" cy="2857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2" y="16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0" y="16"/>
                  </a:cxn>
                  <a:cxn ang="0">
                    <a:pos x="10" y="16"/>
                  </a:cxn>
                  <a:cxn ang="0">
                    <a:pos x="12" y="16"/>
                  </a:cxn>
                  <a:cxn ang="0">
                    <a:pos x="14" y="12"/>
                  </a:cxn>
                  <a:cxn ang="0">
                    <a:pos x="16" y="10"/>
                  </a:cxn>
                  <a:cxn ang="0">
                    <a:pos x="16" y="6"/>
                  </a:cxn>
                  <a:cxn ang="0">
                    <a:pos x="16" y="6"/>
                  </a:cxn>
                  <a:cxn ang="0">
                    <a:pos x="12" y="2"/>
                  </a:cxn>
                  <a:cxn ang="0">
                    <a:pos x="8" y="0"/>
                  </a:cxn>
                </a:cxnLst>
                <a:rect l="0" t="0" r="r" b="b"/>
                <a:pathLst>
                  <a:path w="16" h="18">
                    <a:moveTo>
                      <a:pt x="8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16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2" y="16"/>
                    </a:lnTo>
                    <a:lnTo>
                      <a:pt x="14" y="12"/>
                    </a:lnTo>
                    <a:lnTo>
                      <a:pt x="16" y="10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2" y="2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5" name="Freeform 473"/>
              <p:cNvSpPr>
                <a:spLocks/>
              </p:cNvSpPr>
              <p:nvPr userDrawn="1"/>
            </p:nvSpPr>
            <p:spPr bwMode="auto">
              <a:xfrm>
                <a:off x="6089650" y="4425950"/>
                <a:ext cx="22225" cy="2540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4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2" y="12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4" h="16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2" y="12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6" name="Freeform 474"/>
              <p:cNvSpPr>
                <a:spLocks/>
              </p:cNvSpPr>
              <p:nvPr userDrawn="1"/>
            </p:nvSpPr>
            <p:spPr bwMode="auto">
              <a:xfrm>
                <a:off x="6089650" y="4425950"/>
                <a:ext cx="22225" cy="2540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4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2" y="12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4" h="16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2" y="12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0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7" name="Freeform 475"/>
              <p:cNvSpPr>
                <a:spLocks/>
              </p:cNvSpPr>
              <p:nvPr userDrawn="1"/>
            </p:nvSpPr>
            <p:spPr bwMode="auto">
              <a:xfrm>
                <a:off x="6038850" y="4394200"/>
                <a:ext cx="22225" cy="1905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4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2" y="10"/>
                  </a:cxn>
                  <a:cxn ang="0">
                    <a:pos x="14" y="4"/>
                  </a:cxn>
                  <a:cxn ang="0">
                    <a:pos x="14" y="4"/>
                  </a:cxn>
                  <a:cxn ang="0">
                    <a:pos x="12" y="0"/>
                  </a:cxn>
                  <a:cxn ang="0">
                    <a:pos x="8" y="0"/>
                  </a:cxn>
                </a:cxnLst>
                <a:rect l="0" t="0" r="r" b="b"/>
                <a:pathLst>
                  <a:path w="14" h="12">
                    <a:moveTo>
                      <a:pt x="8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10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2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8" name="Freeform 476"/>
              <p:cNvSpPr>
                <a:spLocks/>
              </p:cNvSpPr>
              <p:nvPr userDrawn="1"/>
            </p:nvSpPr>
            <p:spPr bwMode="auto">
              <a:xfrm>
                <a:off x="6038850" y="4394200"/>
                <a:ext cx="22225" cy="1905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4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2" y="10"/>
                  </a:cxn>
                  <a:cxn ang="0">
                    <a:pos x="14" y="4"/>
                  </a:cxn>
                  <a:cxn ang="0">
                    <a:pos x="14" y="4"/>
                  </a:cxn>
                  <a:cxn ang="0">
                    <a:pos x="12" y="0"/>
                  </a:cxn>
                  <a:cxn ang="0">
                    <a:pos x="8" y="0"/>
                  </a:cxn>
                </a:cxnLst>
                <a:rect l="0" t="0" r="r" b="b"/>
                <a:pathLst>
                  <a:path w="14" h="12">
                    <a:moveTo>
                      <a:pt x="8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10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2" y="0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9" name="Freeform 477"/>
              <p:cNvSpPr>
                <a:spLocks/>
              </p:cNvSpPr>
              <p:nvPr userDrawn="1"/>
            </p:nvSpPr>
            <p:spPr bwMode="auto">
              <a:xfrm>
                <a:off x="5984875" y="4368800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4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2" y="8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0" name="Freeform 478"/>
              <p:cNvSpPr>
                <a:spLocks/>
              </p:cNvSpPr>
              <p:nvPr userDrawn="1"/>
            </p:nvSpPr>
            <p:spPr bwMode="auto">
              <a:xfrm>
                <a:off x="5984875" y="4368800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4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2" y="8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0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1" name="Freeform 479"/>
              <p:cNvSpPr>
                <a:spLocks/>
              </p:cNvSpPr>
              <p:nvPr userDrawn="1"/>
            </p:nvSpPr>
            <p:spPr bwMode="auto">
              <a:xfrm>
                <a:off x="5927725" y="435292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0" y="8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0" y="8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2" name="Freeform 480"/>
              <p:cNvSpPr>
                <a:spLocks/>
              </p:cNvSpPr>
              <p:nvPr userDrawn="1"/>
            </p:nvSpPr>
            <p:spPr bwMode="auto">
              <a:xfrm>
                <a:off x="5927725" y="435292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0" y="8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0" y="8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0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3" name="Freeform 481"/>
              <p:cNvSpPr>
                <a:spLocks/>
              </p:cNvSpPr>
              <p:nvPr userDrawn="1"/>
            </p:nvSpPr>
            <p:spPr bwMode="auto">
              <a:xfrm>
                <a:off x="5870575" y="4349750"/>
                <a:ext cx="12700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8" y="8"/>
                  </a:cxn>
                  <a:cxn ang="0">
                    <a:pos x="8" y="4"/>
                  </a:cxn>
                  <a:cxn ang="0">
                    <a:pos x="8" y="4"/>
                  </a:cxn>
                  <a:cxn ang="0">
                    <a:pos x="6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10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8" y="8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6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4" name="Freeform 482"/>
              <p:cNvSpPr>
                <a:spLocks/>
              </p:cNvSpPr>
              <p:nvPr userDrawn="1"/>
            </p:nvSpPr>
            <p:spPr bwMode="auto">
              <a:xfrm>
                <a:off x="5870575" y="4349750"/>
                <a:ext cx="12700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8" y="8"/>
                  </a:cxn>
                  <a:cxn ang="0">
                    <a:pos x="8" y="4"/>
                  </a:cxn>
                  <a:cxn ang="0">
                    <a:pos x="8" y="4"/>
                  </a:cxn>
                  <a:cxn ang="0">
                    <a:pos x="6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10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8" y="8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6" y="0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5" name="Freeform 483"/>
              <p:cNvSpPr>
                <a:spLocks/>
              </p:cNvSpPr>
              <p:nvPr userDrawn="1"/>
            </p:nvSpPr>
            <p:spPr bwMode="auto">
              <a:xfrm>
                <a:off x="5810250" y="4356100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8"/>
                  </a:cxn>
                  <a:cxn ang="0">
                    <a:pos x="6" y="8"/>
                  </a:cxn>
                  <a:cxn ang="0">
                    <a:pos x="8" y="6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6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8" y="6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6" name="Freeform 484"/>
              <p:cNvSpPr>
                <a:spLocks/>
              </p:cNvSpPr>
              <p:nvPr userDrawn="1"/>
            </p:nvSpPr>
            <p:spPr bwMode="auto">
              <a:xfrm>
                <a:off x="5810250" y="4356100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8"/>
                  </a:cxn>
                  <a:cxn ang="0">
                    <a:pos x="6" y="8"/>
                  </a:cxn>
                  <a:cxn ang="0">
                    <a:pos x="8" y="6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6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8" y="6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7" name="Freeform 485"/>
              <p:cNvSpPr>
                <a:spLocks/>
              </p:cNvSpPr>
              <p:nvPr userDrawn="1"/>
            </p:nvSpPr>
            <p:spPr bwMode="auto">
              <a:xfrm>
                <a:off x="5753100" y="4371975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6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6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6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8" name="Freeform 486"/>
              <p:cNvSpPr>
                <a:spLocks/>
              </p:cNvSpPr>
              <p:nvPr userDrawn="1"/>
            </p:nvSpPr>
            <p:spPr bwMode="auto">
              <a:xfrm>
                <a:off x="5753100" y="4371975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6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6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6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9" name="Freeform 487"/>
              <p:cNvSpPr>
                <a:spLocks/>
              </p:cNvSpPr>
              <p:nvPr userDrawn="1"/>
            </p:nvSpPr>
            <p:spPr bwMode="auto">
              <a:xfrm>
                <a:off x="6089650" y="4502150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4"/>
                  </a:cxn>
                  <a:cxn ang="0">
                    <a:pos x="2" y="14"/>
                  </a:cxn>
                  <a:cxn ang="0">
                    <a:pos x="4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2" y="16"/>
                  </a:cxn>
                  <a:cxn ang="0">
                    <a:pos x="14" y="14"/>
                  </a:cxn>
                  <a:cxn ang="0">
                    <a:pos x="14" y="14"/>
                  </a:cxn>
                  <a:cxn ang="0">
                    <a:pos x="16" y="12"/>
                  </a:cxn>
                  <a:cxn ang="0">
                    <a:pos x="16" y="8"/>
                  </a:cxn>
                  <a:cxn ang="0">
                    <a:pos x="16" y="4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12" y="0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2" y="16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6" y="12"/>
                    </a:lnTo>
                    <a:lnTo>
                      <a:pt x="16" y="8"/>
                    </a:lnTo>
                    <a:lnTo>
                      <a:pt x="16" y="4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0" name="Freeform 488"/>
              <p:cNvSpPr>
                <a:spLocks/>
              </p:cNvSpPr>
              <p:nvPr userDrawn="1"/>
            </p:nvSpPr>
            <p:spPr bwMode="auto">
              <a:xfrm>
                <a:off x="6089650" y="4502150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4"/>
                  </a:cxn>
                  <a:cxn ang="0">
                    <a:pos x="2" y="14"/>
                  </a:cxn>
                  <a:cxn ang="0">
                    <a:pos x="4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2" y="16"/>
                  </a:cxn>
                  <a:cxn ang="0">
                    <a:pos x="14" y="14"/>
                  </a:cxn>
                  <a:cxn ang="0">
                    <a:pos x="14" y="14"/>
                  </a:cxn>
                  <a:cxn ang="0">
                    <a:pos x="16" y="12"/>
                  </a:cxn>
                  <a:cxn ang="0">
                    <a:pos x="16" y="8"/>
                  </a:cxn>
                  <a:cxn ang="0">
                    <a:pos x="16" y="4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12" y="0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2" y="16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6" y="12"/>
                    </a:lnTo>
                    <a:lnTo>
                      <a:pt x="16" y="8"/>
                    </a:lnTo>
                    <a:lnTo>
                      <a:pt x="16" y="4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1" name="Freeform 489"/>
              <p:cNvSpPr>
                <a:spLocks/>
              </p:cNvSpPr>
              <p:nvPr userDrawn="1"/>
            </p:nvSpPr>
            <p:spPr bwMode="auto">
              <a:xfrm>
                <a:off x="6118225" y="4543425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2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4" y="14"/>
                  </a:cxn>
                  <a:cxn ang="0">
                    <a:pos x="4" y="14"/>
                  </a:cxn>
                  <a:cxn ang="0">
                    <a:pos x="6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2" y="16"/>
                  </a:cxn>
                  <a:cxn ang="0">
                    <a:pos x="14" y="14"/>
                  </a:cxn>
                  <a:cxn ang="0">
                    <a:pos x="14" y="14"/>
                  </a:cxn>
                  <a:cxn ang="0">
                    <a:pos x="16" y="12"/>
                  </a:cxn>
                  <a:cxn ang="0">
                    <a:pos x="16" y="8"/>
                  </a:cxn>
                  <a:cxn ang="0">
                    <a:pos x="16" y="6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12" y="2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2" y="16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6" y="12"/>
                    </a:lnTo>
                    <a:lnTo>
                      <a:pt x="16" y="8"/>
                    </a:lnTo>
                    <a:lnTo>
                      <a:pt x="16" y="6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2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2" name="Freeform 490"/>
              <p:cNvSpPr>
                <a:spLocks/>
              </p:cNvSpPr>
              <p:nvPr userDrawn="1"/>
            </p:nvSpPr>
            <p:spPr bwMode="auto">
              <a:xfrm>
                <a:off x="6118225" y="4543425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2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4" y="14"/>
                  </a:cxn>
                  <a:cxn ang="0">
                    <a:pos x="4" y="14"/>
                  </a:cxn>
                  <a:cxn ang="0">
                    <a:pos x="6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2" y="16"/>
                  </a:cxn>
                  <a:cxn ang="0">
                    <a:pos x="14" y="14"/>
                  </a:cxn>
                  <a:cxn ang="0">
                    <a:pos x="14" y="14"/>
                  </a:cxn>
                  <a:cxn ang="0">
                    <a:pos x="16" y="12"/>
                  </a:cxn>
                  <a:cxn ang="0">
                    <a:pos x="16" y="8"/>
                  </a:cxn>
                  <a:cxn ang="0">
                    <a:pos x="16" y="6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12" y="2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2" y="16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6" y="12"/>
                    </a:lnTo>
                    <a:lnTo>
                      <a:pt x="16" y="8"/>
                    </a:lnTo>
                    <a:lnTo>
                      <a:pt x="16" y="6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2" y="2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3" name="Freeform 491"/>
              <p:cNvSpPr>
                <a:spLocks/>
              </p:cNvSpPr>
              <p:nvPr userDrawn="1"/>
            </p:nvSpPr>
            <p:spPr bwMode="auto">
              <a:xfrm>
                <a:off x="6143625" y="4591050"/>
                <a:ext cx="22225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12" y="12"/>
                  </a:cxn>
                  <a:cxn ang="0">
                    <a:pos x="12" y="12"/>
                  </a:cxn>
                  <a:cxn ang="0">
                    <a:pos x="14" y="8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0"/>
                  </a:cxn>
                </a:cxnLst>
                <a:rect l="0" t="0" r="r" b="b"/>
                <a:pathLst>
                  <a:path w="14" h="14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4" y="8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4" name="Freeform 492"/>
              <p:cNvSpPr>
                <a:spLocks/>
              </p:cNvSpPr>
              <p:nvPr userDrawn="1"/>
            </p:nvSpPr>
            <p:spPr bwMode="auto">
              <a:xfrm>
                <a:off x="6143625" y="4591050"/>
                <a:ext cx="22225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12" y="12"/>
                  </a:cxn>
                  <a:cxn ang="0">
                    <a:pos x="12" y="12"/>
                  </a:cxn>
                  <a:cxn ang="0">
                    <a:pos x="14" y="8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0"/>
                  </a:cxn>
                </a:cxnLst>
                <a:rect l="0" t="0" r="r" b="b"/>
                <a:pathLst>
                  <a:path w="14" h="14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4" y="8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5" name="Freeform 493"/>
              <p:cNvSpPr>
                <a:spLocks/>
              </p:cNvSpPr>
              <p:nvPr userDrawn="1"/>
            </p:nvSpPr>
            <p:spPr bwMode="auto">
              <a:xfrm>
                <a:off x="6156325" y="4641850"/>
                <a:ext cx="22225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12" y="12"/>
                  </a:cxn>
                  <a:cxn ang="0">
                    <a:pos x="12" y="12"/>
                  </a:cxn>
                  <a:cxn ang="0">
                    <a:pos x="14" y="6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0"/>
                  </a:cxn>
                </a:cxnLst>
                <a:rect l="0" t="0" r="r" b="b"/>
                <a:pathLst>
                  <a:path w="14" h="14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4" y="6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6" name="Freeform 494"/>
              <p:cNvSpPr>
                <a:spLocks/>
              </p:cNvSpPr>
              <p:nvPr userDrawn="1"/>
            </p:nvSpPr>
            <p:spPr bwMode="auto">
              <a:xfrm>
                <a:off x="6156325" y="4641850"/>
                <a:ext cx="22225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12" y="12"/>
                  </a:cxn>
                  <a:cxn ang="0">
                    <a:pos x="12" y="12"/>
                  </a:cxn>
                  <a:cxn ang="0">
                    <a:pos x="14" y="6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0"/>
                  </a:cxn>
                </a:cxnLst>
                <a:rect l="0" t="0" r="r" b="b"/>
                <a:pathLst>
                  <a:path w="14" h="14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4" y="6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7" name="Freeform 495"/>
              <p:cNvSpPr>
                <a:spLocks/>
              </p:cNvSpPr>
              <p:nvPr userDrawn="1"/>
            </p:nvSpPr>
            <p:spPr bwMode="auto">
              <a:xfrm>
                <a:off x="6162675" y="4695825"/>
                <a:ext cx="19050" cy="1587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0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8" name="Freeform 496"/>
              <p:cNvSpPr>
                <a:spLocks/>
              </p:cNvSpPr>
              <p:nvPr userDrawn="1"/>
            </p:nvSpPr>
            <p:spPr bwMode="auto">
              <a:xfrm>
                <a:off x="6162675" y="4695825"/>
                <a:ext cx="19050" cy="1587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0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9" name="Freeform 497"/>
              <p:cNvSpPr>
                <a:spLocks/>
              </p:cNvSpPr>
              <p:nvPr userDrawn="1"/>
            </p:nvSpPr>
            <p:spPr bwMode="auto">
              <a:xfrm>
                <a:off x="6159500" y="4746625"/>
                <a:ext cx="15875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8" y="10"/>
                  </a:cxn>
                  <a:cxn ang="0">
                    <a:pos x="8" y="10"/>
                  </a:cxn>
                  <a:cxn ang="0">
                    <a:pos x="10" y="6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4" y="0"/>
                  </a:cxn>
                </a:cxnLst>
                <a:rect l="0" t="0" r="r" b="b"/>
                <a:pathLst>
                  <a:path w="10" h="10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10" y="6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0" name="Freeform 498"/>
              <p:cNvSpPr>
                <a:spLocks/>
              </p:cNvSpPr>
              <p:nvPr userDrawn="1"/>
            </p:nvSpPr>
            <p:spPr bwMode="auto">
              <a:xfrm>
                <a:off x="6159500" y="4746625"/>
                <a:ext cx="15875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8" y="10"/>
                  </a:cxn>
                  <a:cxn ang="0">
                    <a:pos x="8" y="10"/>
                  </a:cxn>
                  <a:cxn ang="0">
                    <a:pos x="10" y="6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4" y="0"/>
                  </a:cxn>
                </a:cxnLst>
                <a:rect l="0" t="0" r="r" b="b"/>
                <a:pathLst>
                  <a:path w="10" h="10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10" y="6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1" name="Freeform 499"/>
              <p:cNvSpPr>
                <a:spLocks/>
              </p:cNvSpPr>
              <p:nvPr userDrawn="1"/>
            </p:nvSpPr>
            <p:spPr bwMode="auto">
              <a:xfrm>
                <a:off x="6146800" y="4797425"/>
                <a:ext cx="12700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2" y="8"/>
                  </a:cxn>
                  <a:cxn ang="0">
                    <a:pos x="2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8" y="4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4" y="0"/>
                  </a:cxn>
                </a:cxnLst>
                <a:rect l="0" t="0" r="r" b="b"/>
                <a:pathLst>
                  <a:path w="8" h="10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2" name="Freeform 500"/>
              <p:cNvSpPr>
                <a:spLocks/>
              </p:cNvSpPr>
              <p:nvPr userDrawn="1"/>
            </p:nvSpPr>
            <p:spPr bwMode="auto">
              <a:xfrm>
                <a:off x="6146800" y="4797425"/>
                <a:ext cx="12700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2" y="8"/>
                  </a:cxn>
                  <a:cxn ang="0">
                    <a:pos x="2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8" y="4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4" y="0"/>
                  </a:cxn>
                </a:cxnLst>
                <a:rect l="0" t="0" r="r" b="b"/>
                <a:pathLst>
                  <a:path w="8" h="10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3" name="Freeform 501"/>
              <p:cNvSpPr>
                <a:spLocks/>
              </p:cNvSpPr>
              <p:nvPr userDrawn="1"/>
            </p:nvSpPr>
            <p:spPr bwMode="auto">
              <a:xfrm>
                <a:off x="6124575" y="4845050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8" y="4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4" name="Freeform 502"/>
              <p:cNvSpPr>
                <a:spLocks/>
              </p:cNvSpPr>
              <p:nvPr userDrawn="1"/>
            </p:nvSpPr>
            <p:spPr bwMode="auto">
              <a:xfrm>
                <a:off x="6124575" y="4845050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8" y="4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5" name="Freeform 503"/>
              <p:cNvSpPr>
                <a:spLocks/>
              </p:cNvSpPr>
              <p:nvPr userDrawn="1"/>
            </p:nvSpPr>
            <p:spPr bwMode="auto">
              <a:xfrm>
                <a:off x="6096000" y="4886325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2" y="8"/>
                  </a:cxn>
                  <a:cxn ang="0">
                    <a:pos x="2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8"/>
                  </a:cxn>
                  <a:cxn ang="0">
                    <a:pos x="6" y="8"/>
                  </a:cxn>
                  <a:cxn ang="0">
                    <a:pos x="8" y="4"/>
                  </a:cxn>
                  <a:cxn ang="0">
                    <a:pos x="6" y="2"/>
                  </a:cxn>
                  <a:cxn ang="0">
                    <a:pos x="6" y="2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6" name="Freeform 504"/>
              <p:cNvSpPr>
                <a:spLocks/>
              </p:cNvSpPr>
              <p:nvPr userDrawn="1"/>
            </p:nvSpPr>
            <p:spPr bwMode="auto">
              <a:xfrm>
                <a:off x="6096000" y="4886325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2" y="8"/>
                  </a:cxn>
                  <a:cxn ang="0">
                    <a:pos x="2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8"/>
                  </a:cxn>
                  <a:cxn ang="0">
                    <a:pos x="6" y="8"/>
                  </a:cxn>
                  <a:cxn ang="0">
                    <a:pos x="8" y="4"/>
                  </a:cxn>
                  <a:cxn ang="0">
                    <a:pos x="6" y="2"/>
                  </a:cxn>
                  <a:cxn ang="0">
                    <a:pos x="6" y="2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7" name="Freeform 505"/>
              <p:cNvSpPr>
                <a:spLocks/>
              </p:cNvSpPr>
              <p:nvPr userDrawn="1"/>
            </p:nvSpPr>
            <p:spPr bwMode="auto">
              <a:xfrm>
                <a:off x="6061075" y="4924425"/>
                <a:ext cx="9525" cy="952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4" y="6"/>
                  </a:cxn>
                  <a:cxn ang="0">
                    <a:pos x="4" y="6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6" y="4"/>
                  </a:cxn>
                  <a:cxn ang="0">
                    <a:pos x="6" y="2"/>
                  </a:cxn>
                  <a:cxn ang="0">
                    <a:pos x="6" y="2"/>
                  </a:cxn>
                  <a:cxn ang="0">
                    <a:pos x="4" y="0"/>
                  </a:cxn>
                </a:cxnLst>
                <a:rect l="0" t="0" r="r" b="b"/>
                <a:pathLst>
                  <a:path w="6" h="6">
                    <a:moveTo>
                      <a:pt x="4" y="0"/>
                    </a:moveTo>
                    <a:lnTo>
                      <a:pt x="4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8" name="Freeform 506"/>
              <p:cNvSpPr>
                <a:spLocks/>
              </p:cNvSpPr>
              <p:nvPr userDrawn="1"/>
            </p:nvSpPr>
            <p:spPr bwMode="auto">
              <a:xfrm>
                <a:off x="6061075" y="4924425"/>
                <a:ext cx="9525" cy="952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4" y="6"/>
                  </a:cxn>
                  <a:cxn ang="0">
                    <a:pos x="4" y="6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6" y="4"/>
                  </a:cxn>
                  <a:cxn ang="0">
                    <a:pos x="6" y="2"/>
                  </a:cxn>
                  <a:cxn ang="0">
                    <a:pos x="6" y="2"/>
                  </a:cxn>
                  <a:cxn ang="0">
                    <a:pos x="4" y="0"/>
                  </a:cxn>
                </a:cxnLst>
                <a:rect l="0" t="0" r="r" b="b"/>
                <a:pathLst>
                  <a:path w="6" h="6">
                    <a:moveTo>
                      <a:pt x="4" y="0"/>
                    </a:moveTo>
                    <a:lnTo>
                      <a:pt x="4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9" name="Freeform 507"/>
              <p:cNvSpPr>
                <a:spLocks/>
              </p:cNvSpPr>
              <p:nvPr userDrawn="1"/>
            </p:nvSpPr>
            <p:spPr bwMode="auto">
              <a:xfrm>
                <a:off x="6051550" y="4464050"/>
                <a:ext cx="28575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4" y="16"/>
                  </a:cxn>
                  <a:cxn ang="0">
                    <a:pos x="4" y="16"/>
                  </a:cxn>
                  <a:cxn ang="0">
                    <a:pos x="6" y="16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6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6" y="16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6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2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0" name="Freeform 508"/>
              <p:cNvSpPr>
                <a:spLocks/>
              </p:cNvSpPr>
              <p:nvPr userDrawn="1"/>
            </p:nvSpPr>
            <p:spPr bwMode="auto">
              <a:xfrm>
                <a:off x="6051550" y="4464050"/>
                <a:ext cx="28575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4" y="16"/>
                  </a:cxn>
                  <a:cxn ang="0">
                    <a:pos x="4" y="16"/>
                  </a:cxn>
                  <a:cxn ang="0">
                    <a:pos x="6" y="16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6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6" y="16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6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2" y="0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1" name="Freeform 509"/>
              <p:cNvSpPr>
                <a:spLocks/>
              </p:cNvSpPr>
              <p:nvPr userDrawn="1"/>
            </p:nvSpPr>
            <p:spPr bwMode="auto">
              <a:xfrm>
                <a:off x="6013450" y="4435475"/>
                <a:ext cx="22225" cy="2540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4"/>
                  </a:cxn>
                  <a:cxn ang="0">
                    <a:pos x="2" y="14"/>
                  </a:cxn>
                  <a:cxn ang="0">
                    <a:pos x="4" y="16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10" y="16"/>
                  </a:cxn>
                  <a:cxn ang="0">
                    <a:pos x="12" y="14"/>
                  </a:cxn>
                  <a:cxn ang="0">
                    <a:pos x="12" y="14"/>
                  </a:cxn>
                  <a:cxn ang="0">
                    <a:pos x="14" y="12"/>
                  </a:cxn>
                  <a:cxn ang="0">
                    <a:pos x="14" y="8"/>
                  </a:cxn>
                  <a:cxn ang="0">
                    <a:pos x="14" y="6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4" h="16">
                    <a:moveTo>
                      <a:pt x="6" y="0"/>
                    </a:moveTo>
                    <a:lnTo>
                      <a:pt x="6" y="0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10" y="16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4" y="12"/>
                    </a:lnTo>
                    <a:lnTo>
                      <a:pt x="14" y="8"/>
                    </a:lnTo>
                    <a:lnTo>
                      <a:pt x="14" y="6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2" name="Freeform 510"/>
              <p:cNvSpPr>
                <a:spLocks/>
              </p:cNvSpPr>
              <p:nvPr userDrawn="1"/>
            </p:nvSpPr>
            <p:spPr bwMode="auto">
              <a:xfrm>
                <a:off x="6013450" y="4435475"/>
                <a:ext cx="22225" cy="2540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4"/>
                  </a:cxn>
                  <a:cxn ang="0">
                    <a:pos x="2" y="14"/>
                  </a:cxn>
                  <a:cxn ang="0">
                    <a:pos x="4" y="16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10" y="16"/>
                  </a:cxn>
                  <a:cxn ang="0">
                    <a:pos x="12" y="14"/>
                  </a:cxn>
                  <a:cxn ang="0">
                    <a:pos x="12" y="14"/>
                  </a:cxn>
                  <a:cxn ang="0">
                    <a:pos x="14" y="12"/>
                  </a:cxn>
                  <a:cxn ang="0">
                    <a:pos x="14" y="8"/>
                  </a:cxn>
                  <a:cxn ang="0">
                    <a:pos x="14" y="6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4" h="16">
                    <a:moveTo>
                      <a:pt x="6" y="0"/>
                    </a:moveTo>
                    <a:lnTo>
                      <a:pt x="6" y="0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10" y="16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4" y="12"/>
                    </a:lnTo>
                    <a:lnTo>
                      <a:pt x="14" y="8"/>
                    </a:lnTo>
                    <a:lnTo>
                      <a:pt x="14" y="6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0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3" name="Freeform 511"/>
              <p:cNvSpPr>
                <a:spLocks/>
              </p:cNvSpPr>
              <p:nvPr userDrawn="1"/>
            </p:nvSpPr>
            <p:spPr bwMode="auto">
              <a:xfrm>
                <a:off x="5965825" y="4416425"/>
                <a:ext cx="22225" cy="2222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8" y="14"/>
                  </a:cxn>
                  <a:cxn ang="0">
                    <a:pos x="8" y="14"/>
                  </a:cxn>
                  <a:cxn ang="0">
                    <a:pos x="12" y="12"/>
                  </a:cxn>
                  <a:cxn ang="0">
                    <a:pos x="12" y="12"/>
                  </a:cxn>
                  <a:cxn ang="0">
                    <a:pos x="14" y="6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8" y="0"/>
                  </a:cxn>
                </a:cxnLst>
                <a:rect l="0" t="0" r="r" b="b"/>
                <a:pathLst>
                  <a:path w="14" h="14">
                    <a:moveTo>
                      <a:pt x="8" y="0"/>
                    </a:moveTo>
                    <a:lnTo>
                      <a:pt x="8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4" y="6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4" name="Freeform 512"/>
              <p:cNvSpPr>
                <a:spLocks/>
              </p:cNvSpPr>
              <p:nvPr userDrawn="1"/>
            </p:nvSpPr>
            <p:spPr bwMode="auto">
              <a:xfrm>
                <a:off x="5965825" y="4416425"/>
                <a:ext cx="22225" cy="2222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8" y="14"/>
                  </a:cxn>
                  <a:cxn ang="0">
                    <a:pos x="8" y="14"/>
                  </a:cxn>
                  <a:cxn ang="0">
                    <a:pos x="12" y="12"/>
                  </a:cxn>
                  <a:cxn ang="0">
                    <a:pos x="12" y="12"/>
                  </a:cxn>
                  <a:cxn ang="0">
                    <a:pos x="14" y="6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8" y="0"/>
                  </a:cxn>
                </a:cxnLst>
                <a:rect l="0" t="0" r="r" b="b"/>
                <a:pathLst>
                  <a:path w="14" h="14">
                    <a:moveTo>
                      <a:pt x="8" y="0"/>
                    </a:moveTo>
                    <a:lnTo>
                      <a:pt x="8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4" y="6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5" name="Freeform 513"/>
              <p:cNvSpPr>
                <a:spLocks/>
              </p:cNvSpPr>
              <p:nvPr userDrawn="1"/>
            </p:nvSpPr>
            <p:spPr bwMode="auto">
              <a:xfrm>
                <a:off x="5918200" y="440372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6" name="Freeform 514"/>
              <p:cNvSpPr>
                <a:spLocks/>
              </p:cNvSpPr>
              <p:nvPr userDrawn="1"/>
            </p:nvSpPr>
            <p:spPr bwMode="auto">
              <a:xfrm>
                <a:off x="5918200" y="440372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7" name="Freeform 515"/>
              <p:cNvSpPr>
                <a:spLocks/>
              </p:cNvSpPr>
              <p:nvPr userDrawn="1"/>
            </p:nvSpPr>
            <p:spPr bwMode="auto">
              <a:xfrm>
                <a:off x="5867400" y="4400550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8" name="Freeform 516"/>
              <p:cNvSpPr>
                <a:spLocks/>
              </p:cNvSpPr>
              <p:nvPr userDrawn="1"/>
            </p:nvSpPr>
            <p:spPr bwMode="auto">
              <a:xfrm>
                <a:off x="5867400" y="4400550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9" name="Freeform 517"/>
              <p:cNvSpPr>
                <a:spLocks/>
              </p:cNvSpPr>
              <p:nvPr userDrawn="1"/>
            </p:nvSpPr>
            <p:spPr bwMode="auto">
              <a:xfrm>
                <a:off x="5816600" y="4406900"/>
                <a:ext cx="15875" cy="1587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2" y="8"/>
                  </a:cxn>
                  <a:cxn ang="0">
                    <a:pos x="2" y="8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10" y="4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</a:cxnLst>
                <a:rect l="0" t="0" r="r" b="b"/>
                <a:pathLst>
                  <a:path w="10" h="10">
                    <a:moveTo>
                      <a:pt x="6" y="0"/>
                    </a:moveTo>
                    <a:lnTo>
                      <a:pt x="6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0" name="Freeform 518"/>
              <p:cNvSpPr>
                <a:spLocks/>
              </p:cNvSpPr>
              <p:nvPr userDrawn="1"/>
            </p:nvSpPr>
            <p:spPr bwMode="auto">
              <a:xfrm>
                <a:off x="5816600" y="4406900"/>
                <a:ext cx="15875" cy="1587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2" y="8"/>
                  </a:cxn>
                  <a:cxn ang="0">
                    <a:pos x="2" y="8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10" y="4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</a:cxnLst>
                <a:rect l="0" t="0" r="r" b="b"/>
                <a:pathLst>
                  <a:path w="10" h="10">
                    <a:moveTo>
                      <a:pt x="6" y="0"/>
                    </a:moveTo>
                    <a:lnTo>
                      <a:pt x="6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1" name="Freeform 519"/>
              <p:cNvSpPr>
                <a:spLocks/>
              </p:cNvSpPr>
              <p:nvPr userDrawn="1"/>
            </p:nvSpPr>
            <p:spPr bwMode="auto">
              <a:xfrm>
                <a:off x="5768975" y="4419600"/>
                <a:ext cx="15875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2" y="8"/>
                  </a:cxn>
                  <a:cxn ang="0">
                    <a:pos x="2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10" y="4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4" y="0"/>
                  </a:cxn>
                </a:cxnLst>
                <a:rect l="0" t="0" r="r" b="b"/>
                <a:pathLst>
                  <a:path w="10" h="10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10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2" name="Freeform 520"/>
              <p:cNvSpPr>
                <a:spLocks/>
              </p:cNvSpPr>
              <p:nvPr userDrawn="1"/>
            </p:nvSpPr>
            <p:spPr bwMode="auto">
              <a:xfrm>
                <a:off x="5768975" y="4419600"/>
                <a:ext cx="15875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2" y="8"/>
                  </a:cxn>
                  <a:cxn ang="0">
                    <a:pos x="2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10" y="4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4" y="0"/>
                  </a:cxn>
                </a:cxnLst>
                <a:rect l="0" t="0" r="r" b="b"/>
                <a:pathLst>
                  <a:path w="10" h="10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10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3" name="Freeform 521"/>
              <p:cNvSpPr>
                <a:spLocks/>
              </p:cNvSpPr>
              <p:nvPr userDrawn="1"/>
            </p:nvSpPr>
            <p:spPr bwMode="auto">
              <a:xfrm>
                <a:off x="5724525" y="4441825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8"/>
                  </a:cxn>
                  <a:cxn ang="0">
                    <a:pos x="6" y="8"/>
                  </a:cxn>
                  <a:cxn ang="0">
                    <a:pos x="8" y="4"/>
                  </a:cxn>
                  <a:cxn ang="0">
                    <a:pos x="6" y="2"/>
                  </a:cxn>
                  <a:cxn ang="0">
                    <a:pos x="6" y="2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4" name="Freeform 522"/>
              <p:cNvSpPr>
                <a:spLocks/>
              </p:cNvSpPr>
              <p:nvPr userDrawn="1"/>
            </p:nvSpPr>
            <p:spPr bwMode="auto">
              <a:xfrm>
                <a:off x="5724525" y="4441825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8"/>
                  </a:cxn>
                  <a:cxn ang="0">
                    <a:pos x="6" y="8"/>
                  </a:cxn>
                  <a:cxn ang="0">
                    <a:pos x="8" y="4"/>
                  </a:cxn>
                  <a:cxn ang="0">
                    <a:pos x="6" y="2"/>
                  </a:cxn>
                  <a:cxn ang="0">
                    <a:pos x="6" y="2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5" name="Freeform 523"/>
              <p:cNvSpPr>
                <a:spLocks/>
              </p:cNvSpPr>
              <p:nvPr userDrawn="1"/>
            </p:nvSpPr>
            <p:spPr bwMode="auto">
              <a:xfrm>
                <a:off x="5680075" y="4473575"/>
                <a:ext cx="12700" cy="952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4" y="6"/>
                  </a:cxn>
                  <a:cxn ang="0">
                    <a:pos x="4" y="6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8" y="2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6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6" name="Freeform 524"/>
              <p:cNvSpPr>
                <a:spLocks/>
              </p:cNvSpPr>
              <p:nvPr userDrawn="1"/>
            </p:nvSpPr>
            <p:spPr bwMode="auto">
              <a:xfrm>
                <a:off x="5680075" y="4473575"/>
                <a:ext cx="12700" cy="952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4" y="6"/>
                  </a:cxn>
                  <a:cxn ang="0">
                    <a:pos x="4" y="6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8" y="2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6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7" name="Freeform 525"/>
              <p:cNvSpPr>
                <a:spLocks/>
              </p:cNvSpPr>
              <p:nvPr userDrawn="1"/>
            </p:nvSpPr>
            <p:spPr bwMode="auto">
              <a:xfrm>
                <a:off x="5645150" y="4508500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8" y="4"/>
                  </a:cxn>
                  <a:cxn ang="0">
                    <a:pos x="6" y="2"/>
                  </a:cxn>
                  <a:cxn ang="0">
                    <a:pos x="6" y="2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8" name="Freeform 526"/>
              <p:cNvSpPr>
                <a:spLocks/>
              </p:cNvSpPr>
              <p:nvPr userDrawn="1"/>
            </p:nvSpPr>
            <p:spPr bwMode="auto">
              <a:xfrm>
                <a:off x="5645150" y="4508500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8" y="4"/>
                  </a:cxn>
                  <a:cxn ang="0">
                    <a:pos x="6" y="2"/>
                  </a:cxn>
                  <a:cxn ang="0">
                    <a:pos x="6" y="2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9" name="Freeform 527"/>
              <p:cNvSpPr>
                <a:spLocks/>
              </p:cNvSpPr>
              <p:nvPr userDrawn="1"/>
            </p:nvSpPr>
            <p:spPr bwMode="auto">
              <a:xfrm>
                <a:off x="5949950" y="4457700"/>
                <a:ext cx="25400" cy="2222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8" y="14"/>
                  </a:cxn>
                  <a:cxn ang="0">
                    <a:pos x="8" y="14"/>
                  </a:cxn>
                  <a:cxn ang="0">
                    <a:pos x="12" y="12"/>
                  </a:cxn>
                  <a:cxn ang="0">
                    <a:pos x="16" y="8"/>
                  </a:cxn>
                  <a:cxn ang="0">
                    <a:pos x="16" y="8"/>
                  </a:cxn>
                  <a:cxn ang="0">
                    <a:pos x="14" y="4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</a:cxnLst>
                <a:rect l="0" t="0" r="r" b="b"/>
                <a:pathLst>
                  <a:path w="16" h="14">
                    <a:moveTo>
                      <a:pt x="8" y="0"/>
                    </a:move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2" y="12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4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0" name="Freeform 528"/>
              <p:cNvSpPr>
                <a:spLocks/>
              </p:cNvSpPr>
              <p:nvPr userDrawn="1"/>
            </p:nvSpPr>
            <p:spPr bwMode="auto">
              <a:xfrm>
                <a:off x="5949950" y="4457700"/>
                <a:ext cx="25400" cy="2222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8" y="14"/>
                  </a:cxn>
                  <a:cxn ang="0">
                    <a:pos x="8" y="14"/>
                  </a:cxn>
                  <a:cxn ang="0">
                    <a:pos x="12" y="12"/>
                  </a:cxn>
                  <a:cxn ang="0">
                    <a:pos x="16" y="8"/>
                  </a:cxn>
                  <a:cxn ang="0">
                    <a:pos x="16" y="8"/>
                  </a:cxn>
                  <a:cxn ang="0">
                    <a:pos x="14" y="4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</a:cxnLst>
                <a:rect l="0" t="0" r="r" b="b"/>
                <a:pathLst>
                  <a:path w="16" h="14">
                    <a:moveTo>
                      <a:pt x="8" y="0"/>
                    </a:move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2" y="12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4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1" name="Freeform 529"/>
              <p:cNvSpPr>
                <a:spLocks/>
              </p:cNvSpPr>
              <p:nvPr userDrawn="1"/>
            </p:nvSpPr>
            <p:spPr bwMode="auto">
              <a:xfrm>
                <a:off x="5991225" y="4476750"/>
                <a:ext cx="22225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10" y="12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4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4" h="14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0" y="12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2" y="4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2" name="Freeform 530"/>
              <p:cNvSpPr>
                <a:spLocks/>
              </p:cNvSpPr>
              <p:nvPr userDrawn="1"/>
            </p:nvSpPr>
            <p:spPr bwMode="auto">
              <a:xfrm>
                <a:off x="5991225" y="4476750"/>
                <a:ext cx="22225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10" y="12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4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4" h="14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0" y="12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2" y="4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3" name="Freeform 531"/>
              <p:cNvSpPr>
                <a:spLocks/>
              </p:cNvSpPr>
              <p:nvPr userDrawn="1"/>
            </p:nvSpPr>
            <p:spPr bwMode="auto">
              <a:xfrm>
                <a:off x="6029325" y="4502150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10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8" y="12"/>
                  </a:cxn>
                  <a:cxn ang="0">
                    <a:pos x="12" y="8"/>
                  </a:cxn>
                  <a:cxn ang="0">
                    <a:pos x="12" y="8"/>
                  </a:cxn>
                  <a:cxn ang="0">
                    <a:pos x="10" y="4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10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0" y="4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4" name="Freeform 532"/>
              <p:cNvSpPr>
                <a:spLocks/>
              </p:cNvSpPr>
              <p:nvPr userDrawn="1"/>
            </p:nvSpPr>
            <p:spPr bwMode="auto">
              <a:xfrm>
                <a:off x="6029325" y="4502150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10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8" y="12"/>
                  </a:cxn>
                  <a:cxn ang="0">
                    <a:pos x="12" y="8"/>
                  </a:cxn>
                  <a:cxn ang="0">
                    <a:pos x="12" y="8"/>
                  </a:cxn>
                  <a:cxn ang="0">
                    <a:pos x="10" y="4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10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0" y="4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5" name="Freeform 533"/>
              <p:cNvSpPr>
                <a:spLocks/>
              </p:cNvSpPr>
              <p:nvPr userDrawn="1"/>
            </p:nvSpPr>
            <p:spPr bwMode="auto">
              <a:xfrm>
                <a:off x="6061075" y="4533900"/>
                <a:ext cx="15875" cy="1905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8" y="10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10" y="4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</a:cxnLst>
                <a:rect l="0" t="0" r="r" b="b"/>
                <a:pathLst>
                  <a:path w="10" h="12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8" y="10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4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6" name="Freeform 534"/>
              <p:cNvSpPr>
                <a:spLocks/>
              </p:cNvSpPr>
              <p:nvPr userDrawn="1"/>
            </p:nvSpPr>
            <p:spPr bwMode="auto">
              <a:xfrm>
                <a:off x="6061075" y="4533900"/>
                <a:ext cx="15875" cy="1905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8" y="10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10" y="4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</a:cxnLst>
                <a:rect l="0" t="0" r="r" b="b"/>
                <a:pathLst>
                  <a:path w="10" h="12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8" y="10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4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7" name="Freeform 535"/>
              <p:cNvSpPr>
                <a:spLocks/>
              </p:cNvSpPr>
              <p:nvPr userDrawn="1"/>
            </p:nvSpPr>
            <p:spPr bwMode="auto">
              <a:xfrm>
                <a:off x="6086475" y="4572000"/>
                <a:ext cx="15875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8" y="8"/>
                  </a:cxn>
                  <a:cxn ang="0">
                    <a:pos x="10" y="6"/>
                  </a:cxn>
                  <a:cxn ang="0">
                    <a:pos x="10" y="6"/>
                  </a:cxn>
                  <a:cxn ang="0">
                    <a:pos x="8" y="2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</a:cxnLst>
                <a:rect l="0" t="0" r="r" b="b"/>
                <a:pathLst>
                  <a:path w="10" h="10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8" y="8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8" name="Freeform 536"/>
              <p:cNvSpPr>
                <a:spLocks/>
              </p:cNvSpPr>
              <p:nvPr userDrawn="1"/>
            </p:nvSpPr>
            <p:spPr bwMode="auto">
              <a:xfrm>
                <a:off x="6086475" y="4572000"/>
                <a:ext cx="15875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8" y="8"/>
                  </a:cxn>
                  <a:cxn ang="0">
                    <a:pos x="10" y="6"/>
                  </a:cxn>
                  <a:cxn ang="0">
                    <a:pos x="10" y="6"/>
                  </a:cxn>
                  <a:cxn ang="0">
                    <a:pos x="8" y="2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</a:cxnLst>
                <a:rect l="0" t="0" r="r" b="b"/>
                <a:pathLst>
                  <a:path w="10" h="10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8" y="8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9" name="Freeform 537"/>
              <p:cNvSpPr>
                <a:spLocks/>
              </p:cNvSpPr>
              <p:nvPr userDrawn="1"/>
            </p:nvSpPr>
            <p:spPr bwMode="auto">
              <a:xfrm>
                <a:off x="6105525" y="4610100"/>
                <a:ext cx="12700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6" y="8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8" y="4"/>
                  </a:cxn>
                  <a:cxn ang="0">
                    <a:pos x="6" y="2"/>
                  </a:cxn>
                  <a:cxn ang="0">
                    <a:pos x="6" y="2"/>
                  </a:cxn>
                  <a:cxn ang="0">
                    <a:pos x="4" y="0"/>
                  </a:cxn>
                </a:cxnLst>
                <a:rect l="0" t="0" r="r" b="b"/>
                <a:pathLst>
                  <a:path w="8" h="10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8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0" name="Freeform 538"/>
              <p:cNvSpPr>
                <a:spLocks/>
              </p:cNvSpPr>
              <p:nvPr userDrawn="1"/>
            </p:nvSpPr>
            <p:spPr bwMode="auto">
              <a:xfrm>
                <a:off x="6105525" y="4610100"/>
                <a:ext cx="12700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6" y="8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8" y="4"/>
                  </a:cxn>
                  <a:cxn ang="0">
                    <a:pos x="6" y="2"/>
                  </a:cxn>
                  <a:cxn ang="0">
                    <a:pos x="6" y="2"/>
                  </a:cxn>
                  <a:cxn ang="0">
                    <a:pos x="4" y="0"/>
                  </a:cxn>
                </a:cxnLst>
                <a:rect l="0" t="0" r="r" b="b"/>
                <a:pathLst>
                  <a:path w="8" h="10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8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1" name="Freeform 539"/>
              <p:cNvSpPr>
                <a:spLocks/>
              </p:cNvSpPr>
              <p:nvPr userDrawn="1"/>
            </p:nvSpPr>
            <p:spPr bwMode="auto">
              <a:xfrm>
                <a:off x="6118225" y="4654550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2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6"/>
                  </a:cxn>
                  <a:cxn ang="0">
                    <a:pos x="8" y="4"/>
                  </a:cxn>
                  <a:cxn ang="0">
                    <a:pos x="8" y="4"/>
                  </a:cxn>
                  <a:cxn ang="0">
                    <a:pos x="6" y="2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6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2" name="Freeform 540"/>
              <p:cNvSpPr>
                <a:spLocks/>
              </p:cNvSpPr>
              <p:nvPr userDrawn="1"/>
            </p:nvSpPr>
            <p:spPr bwMode="auto">
              <a:xfrm>
                <a:off x="6118225" y="4654550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2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6"/>
                  </a:cxn>
                  <a:cxn ang="0">
                    <a:pos x="8" y="4"/>
                  </a:cxn>
                  <a:cxn ang="0">
                    <a:pos x="8" y="4"/>
                  </a:cxn>
                  <a:cxn ang="0">
                    <a:pos x="6" y="2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6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3" name="Freeform 541"/>
              <p:cNvSpPr>
                <a:spLocks/>
              </p:cNvSpPr>
              <p:nvPr userDrawn="1"/>
            </p:nvSpPr>
            <p:spPr bwMode="auto">
              <a:xfrm>
                <a:off x="6121400" y="4699000"/>
                <a:ext cx="12700" cy="952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4" y="6"/>
                  </a:cxn>
                  <a:cxn ang="0">
                    <a:pos x="4" y="6"/>
                  </a:cxn>
                  <a:cxn ang="0">
                    <a:pos x="6" y="6"/>
                  </a:cxn>
                  <a:cxn ang="0">
                    <a:pos x="8" y="4"/>
                  </a:cxn>
                  <a:cxn ang="0">
                    <a:pos x="8" y="4"/>
                  </a:cxn>
                  <a:cxn ang="0">
                    <a:pos x="6" y="2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6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6" y="6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4" name="Freeform 542"/>
              <p:cNvSpPr>
                <a:spLocks/>
              </p:cNvSpPr>
              <p:nvPr userDrawn="1"/>
            </p:nvSpPr>
            <p:spPr bwMode="auto">
              <a:xfrm>
                <a:off x="6121400" y="4699000"/>
                <a:ext cx="12700" cy="952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4" y="6"/>
                  </a:cxn>
                  <a:cxn ang="0">
                    <a:pos x="4" y="6"/>
                  </a:cxn>
                  <a:cxn ang="0">
                    <a:pos x="6" y="6"/>
                  </a:cxn>
                  <a:cxn ang="0">
                    <a:pos x="8" y="4"/>
                  </a:cxn>
                  <a:cxn ang="0">
                    <a:pos x="8" y="4"/>
                  </a:cxn>
                  <a:cxn ang="0">
                    <a:pos x="6" y="2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6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6" y="6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5" name="Freeform 543"/>
              <p:cNvSpPr>
                <a:spLocks/>
              </p:cNvSpPr>
              <p:nvPr userDrawn="1"/>
            </p:nvSpPr>
            <p:spPr bwMode="auto">
              <a:xfrm>
                <a:off x="6118225" y="4743450"/>
                <a:ext cx="9525" cy="952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4" y="6"/>
                  </a:cxn>
                  <a:cxn ang="0">
                    <a:pos x="4" y="6"/>
                  </a:cxn>
                  <a:cxn ang="0">
                    <a:pos x="6" y="6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6" h="6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6" name="Freeform 544"/>
              <p:cNvSpPr>
                <a:spLocks/>
              </p:cNvSpPr>
              <p:nvPr userDrawn="1"/>
            </p:nvSpPr>
            <p:spPr bwMode="auto">
              <a:xfrm>
                <a:off x="6118225" y="4743450"/>
                <a:ext cx="9525" cy="952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4" y="6"/>
                  </a:cxn>
                  <a:cxn ang="0">
                    <a:pos x="4" y="6"/>
                  </a:cxn>
                  <a:cxn ang="0">
                    <a:pos x="6" y="6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6" h="6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7" name="Freeform 545"/>
              <p:cNvSpPr>
                <a:spLocks/>
              </p:cNvSpPr>
              <p:nvPr userDrawn="1"/>
            </p:nvSpPr>
            <p:spPr bwMode="auto">
              <a:xfrm>
                <a:off x="6108700" y="4784725"/>
                <a:ext cx="6350" cy="952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4" y="6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2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4" h="6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8" name="Freeform 546"/>
              <p:cNvSpPr>
                <a:spLocks/>
              </p:cNvSpPr>
              <p:nvPr userDrawn="1"/>
            </p:nvSpPr>
            <p:spPr bwMode="auto">
              <a:xfrm>
                <a:off x="6108700" y="4784725"/>
                <a:ext cx="6350" cy="952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4" y="6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2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4" h="6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9" name="Freeform 547"/>
              <p:cNvSpPr>
                <a:spLocks/>
              </p:cNvSpPr>
              <p:nvPr userDrawn="1"/>
            </p:nvSpPr>
            <p:spPr bwMode="auto">
              <a:xfrm>
                <a:off x="5908675" y="4445000"/>
                <a:ext cx="22225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12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2" y="14"/>
                  </a:cxn>
                  <a:cxn ang="0">
                    <a:pos x="14" y="10"/>
                  </a:cxn>
                  <a:cxn ang="0">
                    <a:pos x="14" y="10"/>
                  </a:cxn>
                  <a:cxn ang="0">
                    <a:pos x="14" y="4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</a:cxnLst>
                <a:rect l="0" t="0" r="r" b="b"/>
                <a:pathLst>
                  <a:path w="14" h="16">
                    <a:moveTo>
                      <a:pt x="8" y="0"/>
                    </a:moveTo>
                    <a:lnTo>
                      <a:pt x="8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2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0" name="Freeform 548"/>
              <p:cNvSpPr>
                <a:spLocks/>
              </p:cNvSpPr>
              <p:nvPr userDrawn="1"/>
            </p:nvSpPr>
            <p:spPr bwMode="auto">
              <a:xfrm>
                <a:off x="5908675" y="4445000"/>
                <a:ext cx="22225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12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2" y="14"/>
                  </a:cxn>
                  <a:cxn ang="0">
                    <a:pos x="14" y="10"/>
                  </a:cxn>
                  <a:cxn ang="0">
                    <a:pos x="14" y="10"/>
                  </a:cxn>
                  <a:cxn ang="0">
                    <a:pos x="14" y="4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</a:cxnLst>
                <a:rect l="0" t="0" r="r" b="b"/>
                <a:pathLst>
                  <a:path w="14" h="16">
                    <a:moveTo>
                      <a:pt x="8" y="0"/>
                    </a:moveTo>
                    <a:lnTo>
                      <a:pt x="8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2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1" name="Freeform 549"/>
              <p:cNvSpPr>
                <a:spLocks/>
              </p:cNvSpPr>
              <p:nvPr userDrawn="1"/>
            </p:nvSpPr>
            <p:spPr bwMode="auto">
              <a:xfrm>
                <a:off x="5867400" y="4441825"/>
                <a:ext cx="19050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4" y="14"/>
                  </a:cxn>
                  <a:cxn ang="0">
                    <a:pos x="4" y="14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10" y="12"/>
                  </a:cxn>
                  <a:cxn ang="0">
                    <a:pos x="12" y="10"/>
                  </a:cxn>
                  <a:cxn ang="0">
                    <a:pos x="12" y="10"/>
                  </a:cxn>
                  <a:cxn ang="0">
                    <a:pos x="12" y="4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4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0" y="12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2" name="Freeform 550"/>
              <p:cNvSpPr>
                <a:spLocks/>
              </p:cNvSpPr>
              <p:nvPr userDrawn="1"/>
            </p:nvSpPr>
            <p:spPr bwMode="auto">
              <a:xfrm>
                <a:off x="5867400" y="4441825"/>
                <a:ext cx="19050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4" y="14"/>
                  </a:cxn>
                  <a:cxn ang="0">
                    <a:pos x="4" y="14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10" y="12"/>
                  </a:cxn>
                  <a:cxn ang="0">
                    <a:pos x="12" y="10"/>
                  </a:cxn>
                  <a:cxn ang="0">
                    <a:pos x="12" y="10"/>
                  </a:cxn>
                  <a:cxn ang="0">
                    <a:pos x="12" y="4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4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0" y="12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3" name="Freeform 551"/>
              <p:cNvSpPr>
                <a:spLocks/>
              </p:cNvSpPr>
              <p:nvPr userDrawn="1"/>
            </p:nvSpPr>
            <p:spPr bwMode="auto">
              <a:xfrm>
                <a:off x="5822950" y="444817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2" y="8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2" y="8"/>
                  </a:cxn>
                  <a:cxn ang="0">
                    <a:pos x="12" y="8"/>
                  </a:cxn>
                  <a:cxn ang="0">
                    <a:pos x="12" y="2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4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4" name="Freeform 552"/>
              <p:cNvSpPr>
                <a:spLocks/>
              </p:cNvSpPr>
              <p:nvPr userDrawn="1"/>
            </p:nvSpPr>
            <p:spPr bwMode="auto">
              <a:xfrm>
                <a:off x="5822950" y="444817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2" y="8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2" y="8"/>
                  </a:cxn>
                  <a:cxn ang="0">
                    <a:pos x="12" y="8"/>
                  </a:cxn>
                  <a:cxn ang="0">
                    <a:pos x="12" y="2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4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5" name="Freeform 553"/>
              <p:cNvSpPr>
                <a:spLocks/>
              </p:cNvSpPr>
              <p:nvPr userDrawn="1"/>
            </p:nvSpPr>
            <p:spPr bwMode="auto">
              <a:xfrm>
                <a:off x="5781675" y="4460875"/>
                <a:ext cx="19050" cy="1587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2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0">
                    <a:moveTo>
                      <a:pt x="6" y="0"/>
                    </a:moveTo>
                    <a:lnTo>
                      <a:pt x="6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6" name="Freeform 554"/>
              <p:cNvSpPr>
                <a:spLocks/>
              </p:cNvSpPr>
              <p:nvPr userDrawn="1"/>
            </p:nvSpPr>
            <p:spPr bwMode="auto">
              <a:xfrm>
                <a:off x="5781675" y="4460875"/>
                <a:ext cx="19050" cy="1587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2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0">
                    <a:moveTo>
                      <a:pt x="6" y="0"/>
                    </a:moveTo>
                    <a:lnTo>
                      <a:pt x="6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7" name="Freeform 555"/>
              <p:cNvSpPr>
                <a:spLocks/>
              </p:cNvSpPr>
              <p:nvPr userDrawn="1"/>
            </p:nvSpPr>
            <p:spPr bwMode="auto">
              <a:xfrm>
                <a:off x="5743575" y="4479925"/>
                <a:ext cx="15875" cy="1587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8" y="8"/>
                  </a:cxn>
                  <a:cxn ang="0">
                    <a:pos x="10" y="6"/>
                  </a:cxn>
                  <a:cxn ang="0">
                    <a:pos x="10" y="6"/>
                  </a:cxn>
                  <a:cxn ang="0">
                    <a:pos x="10" y="2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6" y="0"/>
                  </a:cxn>
                </a:cxnLst>
                <a:rect l="0" t="0" r="r" b="b"/>
                <a:pathLst>
                  <a:path w="10" h="10">
                    <a:moveTo>
                      <a:pt x="6" y="0"/>
                    </a:moveTo>
                    <a:lnTo>
                      <a:pt x="6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8" y="8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8" name="Freeform 556"/>
              <p:cNvSpPr>
                <a:spLocks/>
              </p:cNvSpPr>
              <p:nvPr userDrawn="1"/>
            </p:nvSpPr>
            <p:spPr bwMode="auto">
              <a:xfrm>
                <a:off x="5743575" y="4479925"/>
                <a:ext cx="15875" cy="1587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8" y="8"/>
                  </a:cxn>
                  <a:cxn ang="0">
                    <a:pos x="10" y="6"/>
                  </a:cxn>
                  <a:cxn ang="0">
                    <a:pos x="10" y="6"/>
                  </a:cxn>
                  <a:cxn ang="0">
                    <a:pos x="10" y="2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6" y="0"/>
                  </a:cxn>
                </a:cxnLst>
                <a:rect l="0" t="0" r="r" b="b"/>
                <a:pathLst>
                  <a:path w="10" h="10">
                    <a:moveTo>
                      <a:pt x="6" y="0"/>
                    </a:moveTo>
                    <a:lnTo>
                      <a:pt x="6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8" y="8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9" name="Freeform 557"/>
              <p:cNvSpPr>
                <a:spLocks/>
              </p:cNvSpPr>
              <p:nvPr userDrawn="1"/>
            </p:nvSpPr>
            <p:spPr bwMode="auto">
              <a:xfrm>
                <a:off x="5708650" y="4505325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8" y="8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8" y="2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0" name="Freeform 558"/>
              <p:cNvSpPr>
                <a:spLocks/>
              </p:cNvSpPr>
              <p:nvPr userDrawn="1"/>
            </p:nvSpPr>
            <p:spPr bwMode="auto">
              <a:xfrm>
                <a:off x="5708650" y="4505325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8" y="8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8" y="2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1" name="Freeform 559"/>
              <p:cNvSpPr>
                <a:spLocks/>
              </p:cNvSpPr>
              <p:nvPr userDrawn="1"/>
            </p:nvSpPr>
            <p:spPr bwMode="auto">
              <a:xfrm>
                <a:off x="5680075" y="4537075"/>
                <a:ext cx="9525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2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6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6" y="2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6" h="8">
                    <a:moveTo>
                      <a:pt x="4" y="0"/>
                    </a:moveTo>
                    <a:lnTo>
                      <a:pt x="4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2" name="Freeform 560"/>
              <p:cNvSpPr>
                <a:spLocks/>
              </p:cNvSpPr>
              <p:nvPr userDrawn="1"/>
            </p:nvSpPr>
            <p:spPr bwMode="auto">
              <a:xfrm>
                <a:off x="5680075" y="4537075"/>
                <a:ext cx="9525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2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6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6" y="2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6" h="8">
                    <a:moveTo>
                      <a:pt x="4" y="0"/>
                    </a:moveTo>
                    <a:lnTo>
                      <a:pt x="4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3" name="Freeform 561"/>
              <p:cNvSpPr>
                <a:spLocks/>
              </p:cNvSpPr>
              <p:nvPr userDrawn="1"/>
            </p:nvSpPr>
            <p:spPr bwMode="auto">
              <a:xfrm>
                <a:off x="5654675" y="4572000"/>
                <a:ext cx="9525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2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8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6" y="2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6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4" name="Freeform 562"/>
              <p:cNvSpPr>
                <a:spLocks/>
              </p:cNvSpPr>
              <p:nvPr userDrawn="1"/>
            </p:nvSpPr>
            <p:spPr bwMode="auto">
              <a:xfrm>
                <a:off x="5654675" y="4572000"/>
                <a:ext cx="9525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2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8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6" y="2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6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5" name="Freeform 563"/>
              <p:cNvSpPr>
                <a:spLocks/>
              </p:cNvSpPr>
              <p:nvPr userDrawn="1"/>
            </p:nvSpPr>
            <p:spPr bwMode="auto">
              <a:xfrm>
                <a:off x="5635625" y="4613275"/>
                <a:ext cx="9525" cy="952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2" y="4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4" y="6"/>
                  </a:cxn>
                  <a:cxn ang="0">
                    <a:pos x="4" y="6"/>
                  </a:cxn>
                  <a:cxn ang="0">
                    <a:pos x="6" y="6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6" y="2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6" h="6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6" name="Freeform 564"/>
              <p:cNvSpPr>
                <a:spLocks/>
              </p:cNvSpPr>
              <p:nvPr userDrawn="1"/>
            </p:nvSpPr>
            <p:spPr bwMode="auto">
              <a:xfrm>
                <a:off x="5635625" y="4613275"/>
                <a:ext cx="9525" cy="952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2" y="4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4" y="6"/>
                  </a:cxn>
                  <a:cxn ang="0">
                    <a:pos x="4" y="6"/>
                  </a:cxn>
                  <a:cxn ang="0">
                    <a:pos x="6" y="6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6" y="2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6" h="6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7" name="Freeform 565"/>
              <p:cNvSpPr>
                <a:spLocks/>
              </p:cNvSpPr>
              <p:nvPr userDrawn="1"/>
            </p:nvSpPr>
            <p:spPr bwMode="auto">
              <a:xfrm>
                <a:off x="5626100" y="4654550"/>
                <a:ext cx="9525" cy="952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4" y="6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6" y="2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0"/>
                  </a:cxn>
                </a:cxnLst>
                <a:rect l="0" t="0" r="r" b="b"/>
                <a:pathLst>
                  <a:path w="6" h="6">
                    <a:moveTo>
                      <a:pt x="2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8" name="Freeform 566"/>
              <p:cNvSpPr>
                <a:spLocks/>
              </p:cNvSpPr>
              <p:nvPr userDrawn="1"/>
            </p:nvSpPr>
            <p:spPr bwMode="auto">
              <a:xfrm>
                <a:off x="5626100" y="4654550"/>
                <a:ext cx="9525" cy="952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4" y="6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6" y="2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0"/>
                  </a:cxn>
                </a:cxnLst>
                <a:rect l="0" t="0" r="r" b="b"/>
                <a:pathLst>
                  <a:path w="6" h="6">
                    <a:moveTo>
                      <a:pt x="2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able of Content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344489" y="0"/>
            <a:ext cx="9561512" cy="1088136"/>
          </a:xfrm>
        </p:spPr>
        <p:txBody>
          <a:bodyPr tIns="0" anchor="ctr" anchorCtr="0"/>
          <a:lstStyle>
            <a:lvl1pPr>
              <a:defRPr b="0" cap="small" baseline="0"/>
            </a:lvl1pPr>
          </a:lstStyle>
          <a:p>
            <a:r>
              <a:rPr lang="en-US" noProof="0" dirty="0"/>
              <a:t>Click to edit title styl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44489" y="1600202"/>
            <a:ext cx="9217025" cy="4529137"/>
          </a:xfrm>
        </p:spPr>
        <p:txBody>
          <a:bodyPr tIns="0" bIns="0"/>
          <a:lstStyle>
            <a:lvl1pPr marL="228600" indent="-228600">
              <a:spcBef>
                <a:spcPts val="600"/>
              </a:spcBef>
              <a:spcAft>
                <a:spcPts val="1200"/>
              </a:spcAft>
              <a:defRPr/>
            </a:lvl1pPr>
            <a:lvl2pPr>
              <a:spcBef>
                <a:spcPts val="600"/>
              </a:spcBef>
              <a:spcAft>
                <a:spcPts val="1200"/>
              </a:spcAft>
              <a:defRPr/>
            </a:lvl2pPr>
            <a:lvl3pPr>
              <a:buNone/>
              <a:defRPr/>
            </a:lvl3pPr>
            <a:lvl4pPr>
              <a:buNone/>
              <a:defRPr/>
            </a:lvl4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</p:txBody>
      </p:sp>
      <p:grpSp>
        <p:nvGrpSpPr>
          <p:cNvPr id="569" name="Group 568"/>
          <p:cNvGrpSpPr/>
          <p:nvPr userDrawn="1"/>
        </p:nvGrpSpPr>
        <p:grpSpPr>
          <a:xfrm>
            <a:off x="6742739" y="4328582"/>
            <a:ext cx="2916541" cy="1828800"/>
            <a:chOff x="6818462" y="4404782"/>
            <a:chExt cx="2916541" cy="1828800"/>
          </a:xfrm>
          <a:solidFill>
            <a:schemeClr val="accent3">
              <a:lumMod val="75000"/>
            </a:schemeClr>
          </a:solidFill>
        </p:grpSpPr>
        <p:sp>
          <p:nvSpPr>
            <p:cNvPr id="570" name="Freeform 7"/>
            <p:cNvSpPr>
              <a:spLocks/>
            </p:cNvSpPr>
            <p:nvPr userDrawn="1"/>
          </p:nvSpPr>
          <p:spPr bwMode="auto">
            <a:xfrm>
              <a:off x="6818462" y="4404782"/>
              <a:ext cx="2916541" cy="1828800"/>
            </a:xfrm>
            <a:custGeom>
              <a:avLst/>
              <a:gdLst>
                <a:gd name="connsiteX0" fmla="*/ 10000 w 10000"/>
                <a:gd name="connsiteY0" fmla="*/ 8910 h 10000"/>
                <a:gd name="connsiteX1" fmla="*/ 9316 w 10000"/>
                <a:gd name="connsiteY1" fmla="*/ 10000 h 10000"/>
                <a:gd name="connsiteX2" fmla="*/ 684 w 10000"/>
                <a:gd name="connsiteY2" fmla="*/ 10000 h 10000"/>
                <a:gd name="connsiteX3" fmla="*/ 0 w 10000"/>
                <a:gd name="connsiteY3" fmla="*/ 8910 h 10000"/>
                <a:gd name="connsiteX4" fmla="*/ 9094 w 10000"/>
                <a:gd name="connsiteY4" fmla="*/ 8910 h 10000"/>
                <a:gd name="connsiteX5" fmla="*/ 9094 w 10000"/>
                <a:gd name="connsiteY5" fmla="*/ 0 h 10000"/>
                <a:gd name="connsiteX6" fmla="*/ 906 w 10000"/>
                <a:gd name="connsiteY6" fmla="*/ 0 h 10000"/>
                <a:gd name="connsiteX7" fmla="*/ 906 w 10000"/>
                <a:gd name="connsiteY7" fmla="*/ 8248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000" h="10000">
                  <a:moveTo>
                    <a:pt x="10000" y="8910"/>
                  </a:moveTo>
                  <a:cubicBezTo>
                    <a:pt x="10000" y="9502"/>
                    <a:pt x="9688" y="10000"/>
                    <a:pt x="9316" y="10000"/>
                  </a:cubicBezTo>
                  <a:lnTo>
                    <a:pt x="684" y="10000"/>
                  </a:lnTo>
                  <a:cubicBezTo>
                    <a:pt x="312" y="10000"/>
                    <a:pt x="0" y="9502"/>
                    <a:pt x="0" y="8910"/>
                  </a:cubicBezTo>
                  <a:lnTo>
                    <a:pt x="9094" y="8910"/>
                  </a:lnTo>
                  <a:lnTo>
                    <a:pt x="9094" y="0"/>
                  </a:lnTo>
                  <a:lnTo>
                    <a:pt x="906" y="0"/>
                  </a:lnTo>
                  <a:lnTo>
                    <a:pt x="906" y="8248"/>
                  </a:lnTo>
                </a:path>
              </a:pathLst>
            </a:custGeom>
            <a:noFill/>
            <a:ln w="28575" cap="rnd">
              <a:solidFill>
                <a:schemeClr val="accent3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1" name="Freeform 8"/>
            <p:cNvSpPr>
              <a:spLocks noEditPoints="1"/>
            </p:cNvSpPr>
            <p:nvPr userDrawn="1"/>
          </p:nvSpPr>
          <p:spPr bwMode="auto">
            <a:xfrm>
              <a:off x="7216506" y="4916553"/>
              <a:ext cx="177927" cy="238460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41" y="26"/>
                </a:cxn>
                <a:cxn ang="0">
                  <a:pos x="20" y="55"/>
                </a:cxn>
                <a:cxn ang="0">
                  <a:pos x="0" y="26"/>
                </a:cxn>
                <a:cxn ang="0">
                  <a:pos x="20" y="0"/>
                </a:cxn>
                <a:cxn ang="0">
                  <a:pos x="20" y="45"/>
                </a:cxn>
                <a:cxn ang="0">
                  <a:pos x="30" y="27"/>
                </a:cxn>
                <a:cxn ang="0">
                  <a:pos x="20" y="9"/>
                </a:cxn>
                <a:cxn ang="0">
                  <a:pos x="11" y="27"/>
                </a:cxn>
                <a:cxn ang="0">
                  <a:pos x="20" y="45"/>
                </a:cxn>
              </a:cxnLst>
              <a:rect l="0" t="0" r="r" b="b"/>
              <a:pathLst>
                <a:path w="41" h="55">
                  <a:moveTo>
                    <a:pt x="20" y="0"/>
                  </a:moveTo>
                  <a:cubicBezTo>
                    <a:pt x="33" y="0"/>
                    <a:pt x="41" y="9"/>
                    <a:pt x="41" y="26"/>
                  </a:cubicBezTo>
                  <a:cubicBezTo>
                    <a:pt x="41" y="40"/>
                    <a:pt x="36" y="55"/>
                    <a:pt x="20" y="55"/>
                  </a:cubicBezTo>
                  <a:cubicBezTo>
                    <a:pt x="4" y="55"/>
                    <a:pt x="0" y="40"/>
                    <a:pt x="0" y="26"/>
                  </a:cubicBezTo>
                  <a:cubicBezTo>
                    <a:pt x="0" y="9"/>
                    <a:pt x="8" y="0"/>
                    <a:pt x="20" y="0"/>
                  </a:cubicBezTo>
                  <a:moveTo>
                    <a:pt x="20" y="45"/>
                  </a:moveTo>
                  <a:cubicBezTo>
                    <a:pt x="26" y="45"/>
                    <a:pt x="30" y="41"/>
                    <a:pt x="30" y="27"/>
                  </a:cubicBezTo>
                  <a:cubicBezTo>
                    <a:pt x="30" y="16"/>
                    <a:pt x="27" y="9"/>
                    <a:pt x="20" y="9"/>
                  </a:cubicBezTo>
                  <a:cubicBezTo>
                    <a:pt x="14" y="9"/>
                    <a:pt x="11" y="16"/>
                    <a:pt x="11" y="27"/>
                  </a:cubicBezTo>
                  <a:cubicBezTo>
                    <a:pt x="11" y="41"/>
                    <a:pt x="15" y="45"/>
                    <a:pt x="20" y="45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2" name="Freeform 9"/>
            <p:cNvSpPr>
              <a:spLocks/>
            </p:cNvSpPr>
            <p:nvPr userDrawn="1"/>
          </p:nvSpPr>
          <p:spPr bwMode="auto">
            <a:xfrm>
              <a:off x="7403605" y="4916553"/>
              <a:ext cx="108223" cy="238460"/>
            </a:xfrm>
            <a:custGeom>
              <a:avLst/>
              <a:gdLst/>
              <a:ahLst/>
              <a:cxnLst>
                <a:cxn ang="0">
                  <a:pos x="14" y="19"/>
                </a:cxn>
                <a:cxn ang="0">
                  <a:pos x="4" y="19"/>
                </a:cxn>
                <a:cxn ang="0">
                  <a:pos x="0" y="15"/>
                </a:cxn>
                <a:cxn ang="0">
                  <a:pos x="5" y="11"/>
                </a:cxn>
                <a:cxn ang="0">
                  <a:pos x="8" y="10"/>
                </a:cxn>
                <a:cxn ang="0">
                  <a:pos x="21" y="0"/>
                </a:cxn>
                <a:cxn ang="0">
                  <a:pos x="25" y="5"/>
                </a:cxn>
                <a:cxn ang="0">
                  <a:pos x="25" y="48"/>
                </a:cxn>
                <a:cxn ang="0">
                  <a:pos x="19" y="55"/>
                </a:cxn>
                <a:cxn ang="0">
                  <a:pos x="14" y="48"/>
                </a:cxn>
                <a:cxn ang="0">
                  <a:pos x="14" y="19"/>
                </a:cxn>
              </a:cxnLst>
              <a:rect l="0" t="0" r="r" b="b"/>
              <a:pathLst>
                <a:path w="25" h="55">
                  <a:moveTo>
                    <a:pt x="14" y="19"/>
                  </a:moveTo>
                  <a:cubicBezTo>
                    <a:pt x="4" y="19"/>
                    <a:pt x="4" y="19"/>
                    <a:pt x="4" y="19"/>
                  </a:cubicBezTo>
                  <a:cubicBezTo>
                    <a:pt x="1" y="19"/>
                    <a:pt x="0" y="18"/>
                    <a:pt x="0" y="15"/>
                  </a:cubicBezTo>
                  <a:cubicBezTo>
                    <a:pt x="0" y="12"/>
                    <a:pt x="1" y="12"/>
                    <a:pt x="5" y="11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17" y="8"/>
                    <a:pt x="14" y="0"/>
                    <a:pt x="21" y="0"/>
                  </a:cubicBezTo>
                  <a:cubicBezTo>
                    <a:pt x="23" y="0"/>
                    <a:pt x="25" y="1"/>
                    <a:pt x="25" y="5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52"/>
                    <a:pt x="24" y="55"/>
                    <a:pt x="19" y="55"/>
                  </a:cubicBezTo>
                  <a:cubicBezTo>
                    <a:pt x="15" y="55"/>
                    <a:pt x="14" y="52"/>
                    <a:pt x="14" y="48"/>
                  </a:cubicBezTo>
                  <a:lnTo>
                    <a:pt x="14" y="19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3" name="Freeform 10"/>
            <p:cNvSpPr>
              <a:spLocks noEditPoints="1"/>
            </p:cNvSpPr>
            <p:nvPr userDrawn="1"/>
          </p:nvSpPr>
          <p:spPr bwMode="auto">
            <a:xfrm>
              <a:off x="7550349" y="4916553"/>
              <a:ext cx="177927" cy="238460"/>
            </a:xfrm>
            <a:custGeom>
              <a:avLst/>
              <a:gdLst/>
              <a:ahLst/>
              <a:cxnLst>
                <a:cxn ang="0">
                  <a:pos x="21" y="0"/>
                </a:cxn>
                <a:cxn ang="0">
                  <a:pos x="41" y="26"/>
                </a:cxn>
                <a:cxn ang="0">
                  <a:pos x="21" y="55"/>
                </a:cxn>
                <a:cxn ang="0">
                  <a:pos x="0" y="26"/>
                </a:cxn>
                <a:cxn ang="0">
                  <a:pos x="21" y="0"/>
                </a:cxn>
                <a:cxn ang="0">
                  <a:pos x="21" y="45"/>
                </a:cxn>
                <a:cxn ang="0">
                  <a:pos x="30" y="27"/>
                </a:cxn>
                <a:cxn ang="0">
                  <a:pos x="21" y="9"/>
                </a:cxn>
                <a:cxn ang="0">
                  <a:pos x="11" y="27"/>
                </a:cxn>
                <a:cxn ang="0">
                  <a:pos x="21" y="45"/>
                </a:cxn>
              </a:cxnLst>
              <a:rect l="0" t="0" r="r" b="b"/>
              <a:pathLst>
                <a:path w="41" h="55">
                  <a:moveTo>
                    <a:pt x="21" y="0"/>
                  </a:moveTo>
                  <a:cubicBezTo>
                    <a:pt x="33" y="0"/>
                    <a:pt x="41" y="9"/>
                    <a:pt x="41" y="26"/>
                  </a:cubicBezTo>
                  <a:cubicBezTo>
                    <a:pt x="41" y="40"/>
                    <a:pt x="37" y="55"/>
                    <a:pt x="21" y="55"/>
                  </a:cubicBezTo>
                  <a:cubicBezTo>
                    <a:pt x="5" y="55"/>
                    <a:pt x="0" y="40"/>
                    <a:pt x="0" y="26"/>
                  </a:cubicBezTo>
                  <a:cubicBezTo>
                    <a:pt x="0" y="9"/>
                    <a:pt x="8" y="0"/>
                    <a:pt x="21" y="0"/>
                  </a:cubicBezTo>
                  <a:moveTo>
                    <a:pt x="21" y="45"/>
                  </a:moveTo>
                  <a:cubicBezTo>
                    <a:pt x="26" y="45"/>
                    <a:pt x="30" y="41"/>
                    <a:pt x="30" y="27"/>
                  </a:cubicBezTo>
                  <a:cubicBezTo>
                    <a:pt x="30" y="16"/>
                    <a:pt x="27" y="9"/>
                    <a:pt x="21" y="9"/>
                  </a:cubicBezTo>
                  <a:cubicBezTo>
                    <a:pt x="14" y="9"/>
                    <a:pt x="11" y="16"/>
                    <a:pt x="11" y="27"/>
                  </a:cubicBezTo>
                  <a:cubicBezTo>
                    <a:pt x="11" y="41"/>
                    <a:pt x="15" y="45"/>
                    <a:pt x="21" y="45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4" name="Freeform 11"/>
            <p:cNvSpPr>
              <a:spLocks noEditPoints="1"/>
            </p:cNvSpPr>
            <p:nvPr userDrawn="1"/>
          </p:nvSpPr>
          <p:spPr bwMode="auto">
            <a:xfrm>
              <a:off x="7753957" y="4916553"/>
              <a:ext cx="174258" cy="238460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40" y="26"/>
                </a:cxn>
                <a:cxn ang="0">
                  <a:pos x="20" y="55"/>
                </a:cxn>
                <a:cxn ang="0">
                  <a:pos x="0" y="26"/>
                </a:cxn>
                <a:cxn ang="0">
                  <a:pos x="20" y="0"/>
                </a:cxn>
                <a:cxn ang="0">
                  <a:pos x="20" y="45"/>
                </a:cxn>
                <a:cxn ang="0">
                  <a:pos x="29" y="27"/>
                </a:cxn>
                <a:cxn ang="0">
                  <a:pos x="20" y="9"/>
                </a:cxn>
                <a:cxn ang="0">
                  <a:pos x="11" y="27"/>
                </a:cxn>
                <a:cxn ang="0">
                  <a:pos x="20" y="45"/>
                </a:cxn>
              </a:cxnLst>
              <a:rect l="0" t="0" r="r" b="b"/>
              <a:pathLst>
                <a:path w="40" h="55">
                  <a:moveTo>
                    <a:pt x="20" y="0"/>
                  </a:moveTo>
                  <a:cubicBezTo>
                    <a:pt x="32" y="0"/>
                    <a:pt x="40" y="9"/>
                    <a:pt x="40" y="26"/>
                  </a:cubicBezTo>
                  <a:cubicBezTo>
                    <a:pt x="40" y="40"/>
                    <a:pt x="36" y="55"/>
                    <a:pt x="20" y="55"/>
                  </a:cubicBezTo>
                  <a:cubicBezTo>
                    <a:pt x="4" y="55"/>
                    <a:pt x="0" y="40"/>
                    <a:pt x="0" y="26"/>
                  </a:cubicBezTo>
                  <a:cubicBezTo>
                    <a:pt x="0" y="9"/>
                    <a:pt x="8" y="0"/>
                    <a:pt x="20" y="0"/>
                  </a:cubicBezTo>
                  <a:moveTo>
                    <a:pt x="20" y="45"/>
                  </a:moveTo>
                  <a:cubicBezTo>
                    <a:pt x="26" y="45"/>
                    <a:pt x="29" y="41"/>
                    <a:pt x="29" y="27"/>
                  </a:cubicBezTo>
                  <a:cubicBezTo>
                    <a:pt x="29" y="16"/>
                    <a:pt x="27" y="9"/>
                    <a:pt x="20" y="9"/>
                  </a:cubicBezTo>
                  <a:cubicBezTo>
                    <a:pt x="13" y="9"/>
                    <a:pt x="11" y="16"/>
                    <a:pt x="11" y="27"/>
                  </a:cubicBezTo>
                  <a:cubicBezTo>
                    <a:pt x="11" y="41"/>
                    <a:pt x="14" y="45"/>
                    <a:pt x="20" y="45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5" name="Freeform 12"/>
            <p:cNvSpPr>
              <a:spLocks/>
            </p:cNvSpPr>
            <p:nvPr userDrawn="1"/>
          </p:nvSpPr>
          <p:spPr bwMode="auto">
            <a:xfrm>
              <a:off x="7941055" y="4916553"/>
              <a:ext cx="108223" cy="238460"/>
            </a:xfrm>
            <a:custGeom>
              <a:avLst/>
              <a:gdLst/>
              <a:ahLst/>
              <a:cxnLst>
                <a:cxn ang="0">
                  <a:pos x="13" y="19"/>
                </a:cxn>
                <a:cxn ang="0">
                  <a:pos x="3" y="19"/>
                </a:cxn>
                <a:cxn ang="0">
                  <a:pos x="0" y="15"/>
                </a:cxn>
                <a:cxn ang="0">
                  <a:pos x="5" y="11"/>
                </a:cxn>
                <a:cxn ang="0">
                  <a:pos x="8" y="10"/>
                </a:cxn>
                <a:cxn ang="0">
                  <a:pos x="20" y="0"/>
                </a:cxn>
                <a:cxn ang="0">
                  <a:pos x="25" y="5"/>
                </a:cxn>
                <a:cxn ang="0">
                  <a:pos x="25" y="48"/>
                </a:cxn>
                <a:cxn ang="0">
                  <a:pos x="19" y="55"/>
                </a:cxn>
                <a:cxn ang="0">
                  <a:pos x="13" y="48"/>
                </a:cxn>
                <a:cxn ang="0">
                  <a:pos x="13" y="19"/>
                </a:cxn>
              </a:cxnLst>
              <a:rect l="0" t="0" r="r" b="b"/>
              <a:pathLst>
                <a:path w="25" h="55">
                  <a:moveTo>
                    <a:pt x="13" y="19"/>
                  </a:moveTo>
                  <a:cubicBezTo>
                    <a:pt x="3" y="19"/>
                    <a:pt x="3" y="19"/>
                    <a:pt x="3" y="19"/>
                  </a:cubicBezTo>
                  <a:cubicBezTo>
                    <a:pt x="1" y="19"/>
                    <a:pt x="0" y="18"/>
                    <a:pt x="0" y="15"/>
                  </a:cubicBezTo>
                  <a:cubicBezTo>
                    <a:pt x="0" y="12"/>
                    <a:pt x="1" y="12"/>
                    <a:pt x="5" y="11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16" y="8"/>
                    <a:pt x="14" y="0"/>
                    <a:pt x="20" y="0"/>
                  </a:cubicBezTo>
                  <a:cubicBezTo>
                    <a:pt x="23" y="0"/>
                    <a:pt x="25" y="1"/>
                    <a:pt x="25" y="5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52"/>
                    <a:pt x="23" y="55"/>
                    <a:pt x="19" y="55"/>
                  </a:cubicBezTo>
                  <a:cubicBezTo>
                    <a:pt x="15" y="55"/>
                    <a:pt x="13" y="52"/>
                    <a:pt x="13" y="48"/>
                  </a:cubicBezTo>
                  <a:lnTo>
                    <a:pt x="13" y="19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6" name="Freeform 13"/>
            <p:cNvSpPr>
              <a:spLocks noEditPoints="1"/>
            </p:cNvSpPr>
            <p:nvPr userDrawn="1"/>
          </p:nvSpPr>
          <p:spPr bwMode="auto">
            <a:xfrm>
              <a:off x="8087799" y="4916553"/>
              <a:ext cx="174258" cy="238460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40" y="26"/>
                </a:cxn>
                <a:cxn ang="0">
                  <a:pos x="20" y="55"/>
                </a:cxn>
                <a:cxn ang="0">
                  <a:pos x="0" y="26"/>
                </a:cxn>
                <a:cxn ang="0">
                  <a:pos x="20" y="0"/>
                </a:cxn>
                <a:cxn ang="0">
                  <a:pos x="20" y="45"/>
                </a:cxn>
                <a:cxn ang="0">
                  <a:pos x="29" y="27"/>
                </a:cxn>
                <a:cxn ang="0">
                  <a:pos x="20" y="9"/>
                </a:cxn>
                <a:cxn ang="0">
                  <a:pos x="11" y="27"/>
                </a:cxn>
                <a:cxn ang="0">
                  <a:pos x="20" y="45"/>
                </a:cxn>
              </a:cxnLst>
              <a:rect l="0" t="0" r="r" b="b"/>
              <a:pathLst>
                <a:path w="40" h="55">
                  <a:moveTo>
                    <a:pt x="20" y="0"/>
                  </a:moveTo>
                  <a:cubicBezTo>
                    <a:pt x="32" y="0"/>
                    <a:pt x="40" y="9"/>
                    <a:pt x="40" y="26"/>
                  </a:cubicBezTo>
                  <a:cubicBezTo>
                    <a:pt x="40" y="40"/>
                    <a:pt x="36" y="55"/>
                    <a:pt x="20" y="55"/>
                  </a:cubicBezTo>
                  <a:cubicBezTo>
                    <a:pt x="4" y="55"/>
                    <a:pt x="0" y="40"/>
                    <a:pt x="0" y="26"/>
                  </a:cubicBezTo>
                  <a:cubicBezTo>
                    <a:pt x="0" y="9"/>
                    <a:pt x="8" y="0"/>
                    <a:pt x="20" y="0"/>
                  </a:cubicBezTo>
                  <a:moveTo>
                    <a:pt x="20" y="45"/>
                  </a:moveTo>
                  <a:cubicBezTo>
                    <a:pt x="26" y="45"/>
                    <a:pt x="29" y="41"/>
                    <a:pt x="29" y="27"/>
                  </a:cubicBezTo>
                  <a:cubicBezTo>
                    <a:pt x="29" y="16"/>
                    <a:pt x="27" y="9"/>
                    <a:pt x="20" y="9"/>
                  </a:cubicBezTo>
                  <a:cubicBezTo>
                    <a:pt x="14" y="9"/>
                    <a:pt x="11" y="16"/>
                    <a:pt x="11" y="27"/>
                  </a:cubicBezTo>
                  <a:cubicBezTo>
                    <a:pt x="11" y="41"/>
                    <a:pt x="14" y="45"/>
                    <a:pt x="20" y="45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7" name="Freeform 14"/>
            <p:cNvSpPr>
              <a:spLocks/>
            </p:cNvSpPr>
            <p:nvPr userDrawn="1"/>
          </p:nvSpPr>
          <p:spPr bwMode="auto">
            <a:xfrm>
              <a:off x="8274898" y="4916553"/>
              <a:ext cx="108223" cy="238460"/>
            </a:xfrm>
            <a:custGeom>
              <a:avLst/>
              <a:gdLst/>
              <a:ahLst/>
              <a:cxnLst>
                <a:cxn ang="0">
                  <a:pos x="13" y="19"/>
                </a:cxn>
                <a:cxn ang="0">
                  <a:pos x="4" y="19"/>
                </a:cxn>
                <a:cxn ang="0">
                  <a:pos x="0" y="15"/>
                </a:cxn>
                <a:cxn ang="0">
                  <a:pos x="5" y="11"/>
                </a:cxn>
                <a:cxn ang="0">
                  <a:pos x="8" y="10"/>
                </a:cxn>
                <a:cxn ang="0">
                  <a:pos x="20" y="0"/>
                </a:cxn>
                <a:cxn ang="0">
                  <a:pos x="25" y="5"/>
                </a:cxn>
                <a:cxn ang="0">
                  <a:pos x="25" y="48"/>
                </a:cxn>
                <a:cxn ang="0">
                  <a:pos x="19" y="55"/>
                </a:cxn>
                <a:cxn ang="0">
                  <a:pos x="13" y="48"/>
                </a:cxn>
                <a:cxn ang="0">
                  <a:pos x="13" y="19"/>
                </a:cxn>
              </a:cxnLst>
              <a:rect l="0" t="0" r="r" b="b"/>
              <a:pathLst>
                <a:path w="25" h="55">
                  <a:moveTo>
                    <a:pt x="13" y="19"/>
                  </a:moveTo>
                  <a:cubicBezTo>
                    <a:pt x="4" y="19"/>
                    <a:pt x="4" y="19"/>
                    <a:pt x="4" y="19"/>
                  </a:cubicBezTo>
                  <a:cubicBezTo>
                    <a:pt x="1" y="19"/>
                    <a:pt x="0" y="18"/>
                    <a:pt x="0" y="15"/>
                  </a:cubicBezTo>
                  <a:cubicBezTo>
                    <a:pt x="0" y="12"/>
                    <a:pt x="1" y="12"/>
                    <a:pt x="5" y="11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16" y="8"/>
                    <a:pt x="14" y="0"/>
                    <a:pt x="20" y="0"/>
                  </a:cubicBezTo>
                  <a:cubicBezTo>
                    <a:pt x="23" y="0"/>
                    <a:pt x="25" y="1"/>
                    <a:pt x="25" y="5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52"/>
                    <a:pt x="23" y="55"/>
                    <a:pt x="19" y="55"/>
                  </a:cubicBezTo>
                  <a:cubicBezTo>
                    <a:pt x="15" y="55"/>
                    <a:pt x="13" y="52"/>
                    <a:pt x="13" y="48"/>
                  </a:cubicBezTo>
                  <a:lnTo>
                    <a:pt x="13" y="19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8" name="Freeform 15"/>
            <p:cNvSpPr>
              <a:spLocks/>
            </p:cNvSpPr>
            <p:nvPr userDrawn="1"/>
          </p:nvSpPr>
          <p:spPr bwMode="auto">
            <a:xfrm>
              <a:off x="8408802" y="4916553"/>
              <a:ext cx="108223" cy="238460"/>
            </a:xfrm>
            <a:custGeom>
              <a:avLst/>
              <a:gdLst/>
              <a:ahLst/>
              <a:cxnLst>
                <a:cxn ang="0">
                  <a:pos x="13" y="19"/>
                </a:cxn>
                <a:cxn ang="0">
                  <a:pos x="3" y="19"/>
                </a:cxn>
                <a:cxn ang="0">
                  <a:pos x="0" y="15"/>
                </a:cxn>
                <a:cxn ang="0">
                  <a:pos x="5" y="11"/>
                </a:cxn>
                <a:cxn ang="0">
                  <a:pos x="8" y="10"/>
                </a:cxn>
                <a:cxn ang="0">
                  <a:pos x="20" y="0"/>
                </a:cxn>
                <a:cxn ang="0">
                  <a:pos x="25" y="5"/>
                </a:cxn>
                <a:cxn ang="0">
                  <a:pos x="25" y="48"/>
                </a:cxn>
                <a:cxn ang="0">
                  <a:pos x="19" y="55"/>
                </a:cxn>
                <a:cxn ang="0">
                  <a:pos x="13" y="48"/>
                </a:cxn>
                <a:cxn ang="0">
                  <a:pos x="13" y="19"/>
                </a:cxn>
              </a:cxnLst>
              <a:rect l="0" t="0" r="r" b="b"/>
              <a:pathLst>
                <a:path w="25" h="55">
                  <a:moveTo>
                    <a:pt x="13" y="19"/>
                  </a:moveTo>
                  <a:cubicBezTo>
                    <a:pt x="3" y="19"/>
                    <a:pt x="3" y="19"/>
                    <a:pt x="3" y="19"/>
                  </a:cubicBezTo>
                  <a:cubicBezTo>
                    <a:pt x="1" y="19"/>
                    <a:pt x="0" y="18"/>
                    <a:pt x="0" y="15"/>
                  </a:cubicBezTo>
                  <a:cubicBezTo>
                    <a:pt x="0" y="12"/>
                    <a:pt x="1" y="12"/>
                    <a:pt x="5" y="11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16" y="8"/>
                    <a:pt x="14" y="0"/>
                    <a:pt x="20" y="0"/>
                  </a:cubicBezTo>
                  <a:cubicBezTo>
                    <a:pt x="23" y="0"/>
                    <a:pt x="25" y="1"/>
                    <a:pt x="25" y="5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52"/>
                    <a:pt x="23" y="55"/>
                    <a:pt x="19" y="55"/>
                  </a:cubicBezTo>
                  <a:cubicBezTo>
                    <a:pt x="15" y="55"/>
                    <a:pt x="13" y="52"/>
                    <a:pt x="13" y="48"/>
                  </a:cubicBezTo>
                  <a:lnTo>
                    <a:pt x="13" y="19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9" name="Freeform 16"/>
            <p:cNvSpPr>
              <a:spLocks noEditPoints="1"/>
            </p:cNvSpPr>
            <p:nvPr userDrawn="1"/>
          </p:nvSpPr>
          <p:spPr bwMode="auto">
            <a:xfrm>
              <a:off x="8555547" y="4916553"/>
              <a:ext cx="177927" cy="238460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41" y="26"/>
                </a:cxn>
                <a:cxn ang="0">
                  <a:pos x="20" y="55"/>
                </a:cxn>
                <a:cxn ang="0">
                  <a:pos x="0" y="26"/>
                </a:cxn>
                <a:cxn ang="0">
                  <a:pos x="20" y="0"/>
                </a:cxn>
                <a:cxn ang="0">
                  <a:pos x="20" y="45"/>
                </a:cxn>
                <a:cxn ang="0">
                  <a:pos x="29" y="27"/>
                </a:cxn>
                <a:cxn ang="0">
                  <a:pos x="20" y="9"/>
                </a:cxn>
                <a:cxn ang="0">
                  <a:pos x="11" y="27"/>
                </a:cxn>
                <a:cxn ang="0">
                  <a:pos x="20" y="45"/>
                </a:cxn>
              </a:cxnLst>
              <a:rect l="0" t="0" r="r" b="b"/>
              <a:pathLst>
                <a:path w="41" h="55">
                  <a:moveTo>
                    <a:pt x="20" y="0"/>
                  </a:moveTo>
                  <a:cubicBezTo>
                    <a:pt x="33" y="0"/>
                    <a:pt x="41" y="9"/>
                    <a:pt x="41" y="26"/>
                  </a:cubicBezTo>
                  <a:cubicBezTo>
                    <a:pt x="41" y="40"/>
                    <a:pt x="36" y="55"/>
                    <a:pt x="20" y="55"/>
                  </a:cubicBezTo>
                  <a:cubicBezTo>
                    <a:pt x="4" y="55"/>
                    <a:pt x="0" y="40"/>
                    <a:pt x="0" y="26"/>
                  </a:cubicBezTo>
                  <a:cubicBezTo>
                    <a:pt x="0" y="9"/>
                    <a:pt x="8" y="0"/>
                    <a:pt x="20" y="0"/>
                  </a:cubicBezTo>
                  <a:moveTo>
                    <a:pt x="20" y="45"/>
                  </a:moveTo>
                  <a:cubicBezTo>
                    <a:pt x="26" y="45"/>
                    <a:pt x="29" y="41"/>
                    <a:pt x="29" y="27"/>
                  </a:cubicBezTo>
                  <a:cubicBezTo>
                    <a:pt x="29" y="16"/>
                    <a:pt x="27" y="9"/>
                    <a:pt x="20" y="9"/>
                  </a:cubicBezTo>
                  <a:cubicBezTo>
                    <a:pt x="14" y="9"/>
                    <a:pt x="11" y="16"/>
                    <a:pt x="11" y="27"/>
                  </a:cubicBezTo>
                  <a:cubicBezTo>
                    <a:pt x="11" y="41"/>
                    <a:pt x="14" y="45"/>
                    <a:pt x="20" y="45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0" name="Freeform 17"/>
            <p:cNvSpPr>
              <a:spLocks/>
            </p:cNvSpPr>
            <p:nvPr userDrawn="1"/>
          </p:nvSpPr>
          <p:spPr bwMode="auto">
            <a:xfrm>
              <a:off x="8742646" y="4916553"/>
              <a:ext cx="108223" cy="238460"/>
            </a:xfrm>
            <a:custGeom>
              <a:avLst/>
              <a:gdLst/>
              <a:ahLst/>
              <a:cxnLst>
                <a:cxn ang="0">
                  <a:pos x="13" y="19"/>
                </a:cxn>
                <a:cxn ang="0">
                  <a:pos x="4" y="19"/>
                </a:cxn>
                <a:cxn ang="0">
                  <a:pos x="0" y="15"/>
                </a:cxn>
                <a:cxn ang="0">
                  <a:pos x="5" y="11"/>
                </a:cxn>
                <a:cxn ang="0">
                  <a:pos x="8" y="10"/>
                </a:cxn>
                <a:cxn ang="0">
                  <a:pos x="21" y="0"/>
                </a:cxn>
                <a:cxn ang="0">
                  <a:pos x="25" y="5"/>
                </a:cxn>
                <a:cxn ang="0">
                  <a:pos x="25" y="48"/>
                </a:cxn>
                <a:cxn ang="0">
                  <a:pos x="19" y="55"/>
                </a:cxn>
                <a:cxn ang="0">
                  <a:pos x="13" y="48"/>
                </a:cxn>
                <a:cxn ang="0">
                  <a:pos x="13" y="19"/>
                </a:cxn>
              </a:cxnLst>
              <a:rect l="0" t="0" r="r" b="b"/>
              <a:pathLst>
                <a:path w="25" h="55">
                  <a:moveTo>
                    <a:pt x="13" y="19"/>
                  </a:moveTo>
                  <a:cubicBezTo>
                    <a:pt x="4" y="19"/>
                    <a:pt x="4" y="19"/>
                    <a:pt x="4" y="19"/>
                  </a:cubicBezTo>
                  <a:cubicBezTo>
                    <a:pt x="1" y="19"/>
                    <a:pt x="0" y="18"/>
                    <a:pt x="0" y="15"/>
                  </a:cubicBezTo>
                  <a:cubicBezTo>
                    <a:pt x="0" y="12"/>
                    <a:pt x="1" y="12"/>
                    <a:pt x="5" y="11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16" y="8"/>
                    <a:pt x="14" y="0"/>
                    <a:pt x="21" y="0"/>
                  </a:cubicBezTo>
                  <a:cubicBezTo>
                    <a:pt x="23" y="0"/>
                    <a:pt x="25" y="1"/>
                    <a:pt x="25" y="5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52"/>
                    <a:pt x="23" y="55"/>
                    <a:pt x="19" y="55"/>
                  </a:cubicBezTo>
                  <a:cubicBezTo>
                    <a:pt x="15" y="55"/>
                    <a:pt x="13" y="52"/>
                    <a:pt x="13" y="48"/>
                  </a:cubicBezTo>
                  <a:lnTo>
                    <a:pt x="13" y="19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1" name="Freeform 18"/>
            <p:cNvSpPr>
              <a:spLocks noEditPoints="1"/>
            </p:cNvSpPr>
            <p:nvPr userDrawn="1"/>
          </p:nvSpPr>
          <p:spPr bwMode="auto">
            <a:xfrm>
              <a:off x="8889390" y="4916553"/>
              <a:ext cx="177927" cy="238460"/>
            </a:xfrm>
            <a:custGeom>
              <a:avLst/>
              <a:gdLst/>
              <a:ahLst/>
              <a:cxnLst>
                <a:cxn ang="0">
                  <a:pos x="21" y="0"/>
                </a:cxn>
                <a:cxn ang="0">
                  <a:pos x="41" y="26"/>
                </a:cxn>
                <a:cxn ang="0">
                  <a:pos x="21" y="55"/>
                </a:cxn>
                <a:cxn ang="0">
                  <a:pos x="0" y="26"/>
                </a:cxn>
                <a:cxn ang="0">
                  <a:pos x="21" y="0"/>
                </a:cxn>
                <a:cxn ang="0">
                  <a:pos x="21" y="45"/>
                </a:cxn>
                <a:cxn ang="0">
                  <a:pos x="30" y="27"/>
                </a:cxn>
                <a:cxn ang="0">
                  <a:pos x="21" y="9"/>
                </a:cxn>
                <a:cxn ang="0">
                  <a:pos x="11" y="27"/>
                </a:cxn>
                <a:cxn ang="0">
                  <a:pos x="21" y="45"/>
                </a:cxn>
              </a:cxnLst>
              <a:rect l="0" t="0" r="r" b="b"/>
              <a:pathLst>
                <a:path w="41" h="55">
                  <a:moveTo>
                    <a:pt x="21" y="0"/>
                  </a:moveTo>
                  <a:cubicBezTo>
                    <a:pt x="33" y="0"/>
                    <a:pt x="41" y="9"/>
                    <a:pt x="41" y="26"/>
                  </a:cubicBezTo>
                  <a:cubicBezTo>
                    <a:pt x="41" y="40"/>
                    <a:pt x="36" y="55"/>
                    <a:pt x="21" y="55"/>
                  </a:cubicBezTo>
                  <a:cubicBezTo>
                    <a:pt x="5" y="55"/>
                    <a:pt x="0" y="40"/>
                    <a:pt x="0" y="26"/>
                  </a:cubicBezTo>
                  <a:cubicBezTo>
                    <a:pt x="0" y="9"/>
                    <a:pt x="8" y="0"/>
                    <a:pt x="21" y="0"/>
                  </a:cubicBezTo>
                  <a:moveTo>
                    <a:pt x="21" y="45"/>
                  </a:moveTo>
                  <a:cubicBezTo>
                    <a:pt x="26" y="45"/>
                    <a:pt x="30" y="41"/>
                    <a:pt x="30" y="27"/>
                  </a:cubicBezTo>
                  <a:cubicBezTo>
                    <a:pt x="30" y="16"/>
                    <a:pt x="27" y="9"/>
                    <a:pt x="21" y="9"/>
                  </a:cubicBezTo>
                  <a:cubicBezTo>
                    <a:pt x="14" y="9"/>
                    <a:pt x="11" y="16"/>
                    <a:pt x="11" y="27"/>
                  </a:cubicBezTo>
                  <a:cubicBezTo>
                    <a:pt x="11" y="41"/>
                    <a:pt x="15" y="45"/>
                    <a:pt x="21" y="45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2" name="Freeform 19"/>
            <p:cNvSpPr>
              <a:spLocks noEditPoints="1"/>
            </p:cNvSpPr>
            <p:nvPr userDrawn="1"/>
          </p:nvSpPr>
          <p:spPr bwMode="auto">
            <a:xfrm>
              <a:off x="9092997" y="4916553"/>
              <a:ext cx="174258" cy="238460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40" y="26"/>
                </a:cxn>
                <a:cxn ang="0">
                  <a:pos x="20" y="55"/>
                </a:cxn>
                <a:cxn ang="0">
                  <a:pos x="0" y="26"/>
                </a:cxn>
                <a:cxn ang="0">
                  <a:pos x="20" y="0"/>
                </a:cxn>
                <a:cxn ang="0">
                  <a:pos x="20" y="45"/>
                </a:cxn>
                <a:cxn ang="0">
                  <a:pos x="29" y="27"/>
                </a:cxn>
                <a:cxn ang="0">
                  <a:pos x="20" y="9"/>
                </a:cxn>
                <a:cxn ang="0">
                  <a:pos x="11" y="27"/>
                </a:cxn>
                <a:cxn ang="0">
                  <a:pos x="20" y="45"/>
                </a:cxn>
              </a:cxnLst>
              <a:rect l="0" t="0" r="r" b="b"/>
              <a:pathLst>
                <a:path w="40" h="55">
                  <a:moveTo>
                    <a:pt x="20" y="0"/>
                  </a:moveTo>
                  <a:cubicBezTo>
                    <a:pt x="32" y="0"/>
                    <a:pt x="40" y="9"/>
                    <a:pt x="40" y="26"/>
                  </a:cubicBezTo>
                  <a:cubicBezTo>
                    <a:pt x="40" y="40"/>
                    <a:pt x="36" y="55"/>
                    <a:pt x="20" y="55"/>
                  </a:cubicBezTo>
                  <a:cubicBezTo>
                    <a:pt x="4" y="55"/>
                    <a:pt x="0" y="40"/>
                    <a:pt x="0" y="26"/>
                  </a:cubicBezTo>
                  <a:cubicBezTo>
                    <a:pt x="0" y="9"/>
                    <a:pt x="8" y="0"/>
                    <a:pt x="20" y="0"/>
                  </a:cubicBezTo>
                  <a:moveTo>
                    <a:pt x="20" y="45"/>
                  </a:moveTo>
                  <a:cubicBezTo>
                    <a:pt x="26" y="45"/>
                    <a:pt x="29" y="41"/>
                    <a:pt x="29" y="27"/>
                  </a:cubicBezTo>
                  <a:cubicBezTo>
                    <a:pt x="29" y="16"/>
                    <a:pt x="27" y="9"/>
                    <a:pt x="20" y="9"/>
                  </a:cubicBezTo>
                  <a:cubicBezTo>
                    <a:pt x="13" y="9"/>
                    <a:pt x="11" y="16"/>
                    <a:pt x="11" y="27"/>
                  </a:cubicBezTo>
                  <a:cubicBezTo>
                    <a:pt x="11" y="41"/>
                    <a:pt x="14" y="45"/>
                    <a:pt x="20" y="45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3" name="Freeform 20"/>
            <p:cNvSpPr>
              <a:spLocks noEditPoints="1"/>
            </p:cNvSpPr>
            <p:nvPr userDrawn="1"/>
          </p:nvSpPr>
          <p:spPr bwMode="auto">
            <a:xfrm>
              <a:off x="7216506" y="5310928"/>
              <a:ext cx="177927" cy="238460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41" y="26"/>
                </a:cxn>
                <a:cxn ang="0">
                  <a:pos x="20" y="55"/>
                </a:cxn>
                <a:cxn ang="0">
                  <a:pos x="0" y="26"/>
                </a:cxn>
                <a:cxn ang="0">
                  <a:pos x="20" y="0"/>
                </a:cxn>
                <a:cxn ang="0">
                  <a:pos x="20" y="45"/>
                </a:cxn>
                <a:cxn ang="0">
                  <a:pos x="30" y="27"/>
                </a:cxn>
                <a:cxn ang="0">
                  <a:pos x="20" y="9"/>
                </a:cxn>
                <a:cxn ang="0">
                  <a:pos x="11" y="27"/>
                </a:cxn>
                <a:cxn ang="0">
                  <a:pos x="20" y="45"/>
                </a:cxn>
              </a:cxnLst>
              <a:rect l="0" t="0" r="r" b="b"/>
              <a:pathLst>
                <a:path w="41" h="55">
                  <a:moveTo>
                    <a:pt x="20" y="0"/>
                  </a:moveTo>
                  <a:cubicBezTo>
                    <a:pt x="33" y="0"/>
                    <a:pt x="41" y="9"/>
                    <a:pt x="41" y="26"/>
                  </a:cubicBezTo>
                  <a:cubicBezTo>
                    <a:pt x="41" y="40"/>
                    <a:pt x="36" y="55"/>
                    <a:pt x="20" y="55"/>
                  </a:cubicBezTo>
                  <a:cubicBezTo>
                    <a:pt x="4" y="55"/>
                    <a:pt x="0" y="40"/>
                    <a:pt x="0" y="26"/>
                  </a:cubicBezTo>
                  <a:cubicBezTo>
                    <a:pt x="0" y="9"/>
                    <a:pt x="8" y="0"/>
                    <a:pt x="20" y="0"/>
                  </a:cubicBezTo>
                  <a:moveTo>
                    <a:pt x="20" y="45"/>
                  </a:moveTo>
                  <a:cubicBezTo>
                    <a:pt x="26" y="45"/>
                    <a:pt x="30" y="41"/>
                    <a:pt x="30" y="27"/>
                  </a:cubicBezTo>
                  <a:cubicBezTo>
                    <a:pt x="30" y="16"/>
                    <a:pt x="27" y="9"/>
                    <a:pt x="20" y="9"/>
                  </a:cubicBezTo>
                  <a:cubicBezTo>
                    <a:pt x="14" y="9"/>
                    <a:pt x="11" y="16"/>
                    <a:pt x="11" y="27"/>
                  </a:cubicBezTo>
                  <a:cubicBezTo>
                    <a:pt x="11" y="41"/>
                    <a:pt x="15" y="45"/>
                    <a:pt x="20" y="45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4" name="Freeform 21"/>
            <p:cNvSpPr>
              <a:spLocks/>
            </p:cNvSpPr>
            <p:nvPr userDrawn="1"/>
          </p:nvSpPr>
          <p:spPr bwMode="auto">
            <a:xfrm>
              <a:off x="7403605" y="5310928"/>
              <a:ext cx="108223" cy="238460"/>
            </a:xfrm>
            <a:custGeom>
              <a:avLst/>
              <a:gdLst/>
              <a:ahLst/>
              <a:cxnLst>
                <a:cxn ang="0">
                  <a:pos x="14" y="19"/>
                </a:cxn>
                <a:cxn ang="0">
                  <a:pos x="4" y="19"/>
                </a:cxn>
                <a:cxn ang="0">
                  <a:pos x="0" y="15"/>
                </a:cxn>
                <a:cxn ang="0">
                  <a:pos x="5" y="11"/>
                </a:cxn>
                <a:cxn ang="0">
                  <a:pos x="8" y="10"/>
                </a:cxn>
                <a:cxn ang="0">
                  <a:pos x="21" y="0"/>
                </a:cxn>
                <a:cxn ang="0">
                  <a:pos x="25" y="5"/>
                </a:cxn>
                <a:cxn ang="0">
                  <a:pos x="25" y="48"/>
                </a:cxn>
                <a:cxn ang="0">
                  <a:pos x="19" y="55"/>
                </a:cxn>
                <a:cxn ang="0">
                  <a:pos x="14" y="48"/>
                </a:cxn>
                <a:cxn ang="0">
                  <a:pos x="14" y="19"/>
                </a:cxn>
              </a:cxnLst>
              <a:rect l="0" t="0" r="r" b="b"/>
              <a:pathLst>
                <a:path w="25" h="55">
                  <a:moveTo>
                    <a:pt x="14" y="19"/>
                  </a:moveTo>
                  <a:cubicBezTo>
                    <a:pt x="4" y="19"/>
                    <a:pt x="4" y="19"/>
                    <a:pt x="4" y="19"/>
                  </a:cubicBezTo>
                  <a:cubicBezTo>
                    <a:pt x="1" y="19"/>
                    <a:pt x="0" y="18"/>
                    <a:pt x="0" y="15"/>
                  </a:cubicBezTo>
                  <a:cubicBezTo>
                    <a:pt x="0" y="12"/>
                    <a:pt x="1" y="11"/>
                    <a:pt x="5" y="11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17" y="8"/>
                    <a:pt x="14" y="0"/>
                    <a:pt x="21" y="0"/>
                  </a:cubicBezTo>
                  <a:cubicBezTo>
                    <a:pt x="23" y="0"/>
                    <a:pt x="25" y="1"/>
                    <a:pt x="25" y="5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52"/>
                    <a:pt x="24" y="55"/>
                    <a:pt x="19" y="55"/>
                  </a:cubicBezTo>
                  <a:cubicBezTo>
                    <a:pt x="15" y="55"/>
                    <a:pt x="14" y="52"/>
                    <a:pt x="14" y="48"/>
                  </a:cubicBezTo>
                  <a:lnTo>
                    <a:pt x="14" y="19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5" name="Freeform 22"/>
            <p:cNvSpPr>
              <a:spLocks noEditPoints="1"/>
            </p:cNvSpPr>
            <p:nvPr userDrawn="1"/>
          </p:nvSpPr>
          <p:spPr bwMode="auto">
            <a:xfrm>
              <a:off x="7550349" y="5310928"/>
              <a:ext cx="177927" cy="238460"/>
            </a:xfrm>
            <a:custGeom>
              <a:avLst/>
              <a:gdLst/>
              <a:ahLst/>
              <a:cxnLst>
                <a:cxn ang="0">
                  <a:pos x="21" y="0"/>
                </a:cxn>
                <a:cxn ang="0">
                  <a:pos x="41" y="26"/>
                </a:cxn>
                <a:cxn ang="0">
                  <a:pos x="21" y="55"/>
                </a:cxn>
                <a:cxn ang="0">
                  <a:pos x="0" y="26"/>
                </a:cxn>
                <a:cxn ang="0">
                  <a:pos x="21" y="0"/>
                </a:cxn>
                <a:cxn ang="0">
                  <a:pos x="21" y="45"/>
                </a:cxn>
                <a:cxn ang="0">
                  <a:pos x="30" y="27"/>
                </a:cxn>
                <a:cxn ang="0">
                  <a:pos x="21" y="9"/>
                </a:cxn>
                <a:cxn ang="0">
                  <a:pos x="11" y="27"/>
                </a:cxn>
                <a:cxn ang="0">
                  <a:pos x="21" y="45"/>
                </a:cxn>
              </a:cxnLst>
              <a:rect l="0" t="0" r="r" b="b"/>
              <a:pathLst>
                <a:path w="41" h="55">
                  <a:moveTo>
                    <a:pt x="21" y="0"/>
                  </a:moveTo>
                  <a:cubicBezTo>
                    <a:pt x="33" y="0"/>
                    <a:pt x="41" y="9"/>
                    <a:pt x="41" y="26"/>
                  </a:cubicBezTo>
                  <a:cubicBezTo>
                    <a:pt x="41" y="40"/>
                    <a:pt x="37" y="55"/>
                    <a:pt x="21" y="55"/>
                  </a:cubicBezTo>
                  <a:cubicBezTo>
                    <a:pt x="5" y="55"/>
                    <a:pt x="0" y="40"/>
                    <a:pt x="0" y="26"/>
                  </a:cubicBezTo>
                  <a:cubicBezTo>
                    <a:pt x="0" y="9"/>
                    <a:pt x="8" y="0"/>
                    <a:pt x="21" y="0"/>
                  </a:cubicBezTo>
                  <a:moveTo>
                    <a:pt x="21" y="45"/>
                  </a:moveTo>
                  <a:cubicBezTo>
                    <a:pt x="26" y="45"/>
                    <a:pt x="30" y="41"/>
                    <a:pt x="30" y="27"/>
                  </a:cubicBezTo>
                  <a:cubicBezTo>
                    <a:pt x="30" y="16"/>
                    <a:pt x="27" y="9"/>
                    <a:pt x="21" y="9"/>
                  </a:cubicBezTo>
                  <a:cubicBezTo>
                    <a:pt x="14" y="9"/>
                    <a:pt x="11" y="16"/>
                    <a:pt x="11" y="27"/>
                  </a:cubicBezTo>
                  <a:cubicBezTo>
                    <a:pt x="11" y="41"/>
                    <a:pt x="15" y="45"/>
                    <a:pt x="21" y="45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6" name="Freeform 23"/>
            <p:cNvSpPr>
              <a:spLocks/>
            </p:cNvSpPr>
            <p:nvPr userDrawn="1"/>
          </p:nvSpPr>
          <p:spPr bwMode="auto">
            <a:xfrm>
              <a:off x="7737448" y="5310928"/>
              <a:ext cx="108223" cy="238460"/>
            </a:xfrm>
            <a:custGeom>
              <a:avLst/>
              <a:gdLst/>
              <a:ahLst/>
              <a:cxnLst>
                <a:cxn ang="0">
                  <a:pos x="14" y="19"/>
                </a:cxn>
                <a:cxn ang="0">
                  <a:pos x="4" y="19"/>
                </a:cxn>
                <a:cxn ang="0">
                  <a:pos x="0" y="15"/>
                </a:cxn>
                <a:cxn ang="0">
                  <a:pos x="6" y="11"/>
                </a:cxn>
                <a:cxn ang="0">
                  <a:pos x="8" y="10"/>
                </a:cxn>
                <a:cxn ang="0">
                  <a:pos x="21" y="0"/>
                </a:cxn>
                <a:cxn ang="0">
                  <a:pos x="25" y="5"/>
                </a:cxn>
                <a:cxn ang="0">
                  <a:pos x="25" y="48"/>
                </a:cxn>
                <a:cxn ang="0">
                  <a:pos x="20" y="55"/>
                </a:cxn>
                <a:cxn ang="0">
                  <a:pos x="14" y="48"/>
                </a:cxn>
                <a:cxn ang="0">
                  <a:pos x="14" y="19"/>
                </a:cxn>
              </a:cxnLst>
              <a:rect l="0" t="0" r="r" b="b"/>
              <a:pathLst>
                <a:path w="25" h="55">
                  <a:moveTo>
                    <a:pt x="14" y="19"/>
                  </a:moveTo>
                  <a:cubicBezTo>
                    <a:pt x="4" y="19"/>
                    <a:pt x="4" y="19"/>
                    <a:pt x="4" y="19"/>
                  </a:cubicBezTo>
                  <a:cubicBezTo>
                    <a:pt x="1" y="19"/>
                    <a:pt x="0" y="18"/>
                    <a:pt x="0" y="15"/>
                  </a:cubicBezTo>
                  <a:cubicBezTo>
                    <a:pt x="0" y="12"/>
                    <a:pt x="2" y="11"/>
                    <a:pt x="6" y="11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17" y="8"/>
                    <a:pt x="14" y="0"/>
                    <a:pt x="21" y="0"/>
                  </a:cubicBezTo>
                  <a:cubicBezTo>
                    <a:pt x="23" y="0"/>
                    <a:pt x="25" y="1"/>
                    <a:pt x="25" y="5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52"/>
                    <a:pt x="24" y="55"/>
                    <a:pt x="20" y="55"/>
                  </a:cubicBezTo>
                  <a:cubicBezTo>
                    <a:pt x="15" y="55"/>
                    <a:pt x="14" y="52"/>
                    <a:pt x="14" y="48"/>
                  </a:cubicBezTo>
                  <a:lnTo>
                    <a:pt x="14" y="19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7" name="Freeform 24"/>
            <p:cNvSpPr>
              <a:spLocks/>
            </p:cNvSpPr>
            <p:nvPr userDrawn="1"/>
          </p:nvSpPr>
          <p:spPr bwMode="auto">
            <a:xfrm>
              <a:off x="7871352" y="5310928"/>
              <a:ext cx="108223" cy="238460"/>
            </a:xfrm>
            <a:custGeom>
              <a:avLst/>
              <a:gdLst/>
              <a:ahLst/>
              <a:cxnLst>
                <a:cxn ang="0">
                  <a:pos x="14" y="19"/>
                </a:cxn>
                <a:cxn ang="0">
                  <a:pos x="4" y="19"/>
                </a:cxn>
                <a:cxn ang="0">
                  <a:pos x="0" y="15"/>
                </a:cxn>
                <a:cxn ang="0">
                  <a:pos x="5" y="11"/>
                </a:cxn>
                <a:cxn ang="0">
                  <a:pos x="8" y="10"/>
                </a:cxn>
                <a:cxn ang="0">
                  <a:pos x="21" y="0"/>
                </a:cxn>
                <a:cxn ang="0">
                  <a:pos x="25" y="5"/>
                </a:cxn>
                <a:cxn ang="0">
                  <a:pos x="25" y="48"/>
                </a:cxn>
                <a:cxn ang="0">
                  <a:pos x="19" y="55"/>
                </a:cxn>
                <a:cxn ang="0">
                  <a:pos x="14" y="48"/>
                </a:cxn>
                <a:cxn ang="0">
                  <a:pos x="14" y="19"/>
                </a:cxn>
              </a:cxnLst>
              <a:rect l="0" t="0" r="r" b="b"/>
              <a:pathLst>
                <a:path w="25" h="55">
                  <a:moveTo>
                    <a:pt x="14" y="19"/>
                  </a:moveTo>
                  <a:cubicBezTo>
                    <a:pt x="4" y="19"/>
                    <a:pt x="4" y="19"/>
                    <a:pt x="4" y="19"/>
                  </a:cubicBezTo>
                  <a:cubicBezTo>
                    <a:pt x="1" y="19"/>
                    <a:pt x="0" y="18"/>
                    <a:pt x="0" y="15"/>
                  </a:cubicBezTo>
                  <a:cubicBezTo>
                    <a:pt x="0" y="12"/>
                    <a:pt x="1" y="11"/>
                    <a:pt x="5" y="11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17" y="8"/>
                    <a:pt x="14" y="0"/>
                    <a:pt x="21" y="0"/>
                  </a:cubicBezTo>
                  <a:cubicBezTo>
                    <a:pt x="23" y="0"/>
                    <a:pt x="25" y="1"/>
                    <a:pt x="25" y="5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52"/>
                    <a:pt x="24" y="55"/>
                    <a:pt x="19" y="55"/>
                  </a:cubicBezTo>
                  <a:cubicBezTo>
                    <a:pt x="15" y="55"/>
                    <a:pt x="14" y="52"/>
                    <a:pt x="14" y="48"/>
                  </a:cubicBezTo>
                  <a:lnTo>
                    <a:pt x="14" y="19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8" name="Freeform 25"/>
            <p:cNvSpPr>
              <a:spLocks noEditPoints="1"/>
            </p:cNvSpPr>
            <p:nvPr userDrawn="1"/>
          </p:nvSpPr>
          <p:spPr bwMode="auto">
            <a:xfrm>
              <a:off x="8018096" y="5310928"/>
              <a:ext cx="177927" cy="238460"/>
            </a:xfrm>
            <a:custGeom>
              <a:avLst/>
              <a:gdLst/>
              <a:ahLst/>
              <a:cxnLst>
                <a:cxn ang="0">
                  <a:pos x="21" y="0"/>
                </a:cxn>
                <a:cxn ang="0">
                  <a:pos x="41" y="26"/>
                </a:cxn>
                <a:cxn ang="0">
                  <a:pos x="21" y="55"/>
                </a:cxn>
                <a:cxn ang="0">
                  <a:pos x="0" y="26"/>
                </a:cxn>
                <a:cxn ang="0">
                  <a:pos x="21" y="0"/>
                </a:cxn>
                <a:cxn ang="0">
                  <a:pos x="21" y="45"/>
                </a:cxn>
                <a:cxn ang="0">
                  <a:pos x="30" y="27"/>
                </a:cxn>
                <a:cxn ang="0">
                  <a:pos x="21" y="9"/>
                </a:cxn>
                <a:cxn ang="0">
                  <a:pos x="11" y="27"/>
                </a:cxn>
                <a:cxn ang="0">
                  <a:pos x="21" y="45"/>
                </a:cxn>
              </a:cxnLst>
              <a:rect l="0" t="0" r="r" b="b"/>
              <a:pathLst>
                <a:path w="41" h="55">
                  <a:moveTo>
                    <a:pt x="21" y="0"/>
                  </a:moveTo>
                  <a:cubicBezTo>
                    <a:pt x="33" y="0"/>
                    <a:pt x="41" y="9"/>
                    <a:pt x="41" y="26"/>
                  </a:cubicBezTo>
                  <a:cubicBezTo>
                    <a:pt x="41" y="40"/>
                    <a:pt x="37" y="55"/>
                    <a:pt x="21" y="55"/>
                  </a:cubicBezTo>
                  <a:cubicBezTo>
                    <a:pt x="5" y="55"/>
                    <a:pt x="0" y="40"/>
                    <a:pt x="0" y="26"/>
                  </a:cubicBezTo>
                  <a:cubicBezTo>
                    <a:pt x="0" y="9"/>
                    <a:pt x="8" y="0"/>
                    <a:pt x="21" y="0"/>
                  </a:cubicBezTo>
                  <a:moveTo>
                    <a:pt x="21" y="45"/>
                  </a:moveTo>
                  <a:cubicBezTo>
                    <a:pt x="27" y="45"/>
                    <a:pt x="30" y="41"/>
                    <a:pt x="30" y="27"/>
                  </a:cubicBezTo>
                  <a:cubicBezTo>
                    <a:pt x="30" y="16"/>
                    <a:pt x="27" y="9"/>
                    <a:pt x="21" y="9"/>
                  </a:cubicBezTo>
                  <a:cubicBezTo>
                    <a:pt x="14" y="9"/>
                    <a:pt x="11" y="16"/>
                    <a:pt x="11" y="27"/>
                  </a:cubicBezTo>
                  <a:cubicBezTo>
                    <a:pt x="11" y="41"/>
                    <a:pt x="15" y="45"/>
                    <a:pt x="21" y="45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9" name="Freeform 26"/>
            <p:cNvSpPr>
              <a:spLocks/>
            </p:cNvSpPr>
            <p:nvPr userDrawn="1"/>
          </p:nvSpPr>
          <p:spPr bwMode="auto">
            <a:xfrm>
              <a:off x="8205194" y="5310928"/>
              <a:ext cx="108223" cy="238460"/>
            </a:xfrm>
            <a:custGeom>
              <a:avLst/>
              <a:gdLst/>
              <a:ahLst/>
              <a:cxnLst>
                <a:cxn ang="0">
                  <a:pos x="14" y="19"/>
                </a:cxn>
                <a:cxn ang="0">
                  <a:pos x="4" y="19"/>
                </a:cxn>
                <a:cxn ang="0">
                  <a:pos x="0" y="15"/>
                </a:cxn>
                <a:cxn ang="0">
                  <a:pos x="6" y="11"/>
                </a:cxn>
                <a:cxn ang="0">
                  <a:pos x="8" y="10"/>
                </a:cxn>
                <a:cxn ang="0">
                  <a:pos x="21" y="0"/>
                </a:cxn>
                <a:cxn ang="0">
                  <a:pos x="25" y="5"/>
                </a:cxn>
                <a:cxn ang="0">
                  <a:pos x="25" y="48"/>
                </a:cxn>
                <a:cxn ang="0">
                  <a:pos x="20" y="55"/>
                </a:cxn>
                <a:cxn ang="0">
                  <a:pos x="14" y="48"/>
                </a:cxn>
                <a:cxn ang="0">
                  <a:pos x="14" y="19"/>
                </a:cxn>
              </a:cxnLst>
              <a:rect l="0" t="0" r="r" b="b"/>
              <a:pathLst>
                <a:path w="25" h="55">
                  <a:moveTo>
                    <a:pt x="14" y="19"/>
                  </a:moveTo>
                  <a:cubicBezTo>
                    <a:pt x="4" y="19"/>
                    <a:pt x="4" y="19"/>
                    <a:pt x="4" y="19"/>
                  </a:cubicBezTo>
                  <a:cubicBezTo>
                    <a:pt x="2" y="19"/>
                    <a:pt x="0" y="18"/>
                    <a:pt x="0" y="15"/>
                  </a:cubicBezTo>
                  <a:cubicBezTo>
                    <a:pt x="0" y="12"/>
                    <a:pt x="2" y="11"/>
                    <a:pt x="6" y="11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17" y="8"/>
                    <a:pt x="15" y="0"/>
                    <a:pt x="21" y="0"/>
                  </a:cubicBezTo>
                  <a:cubicBezTo>
                    <a:pt x="23" y="0"/>
                    <a:pt x="25" y="1"/>
                    <a:pt x="25" y="5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52"/>
                    <a:pt x="24" y="55"/>
                    <a:pt x="20" y="55"/>
                  </a:cubicBezTo>
                  <a:cubicBezTo>
                    <a:pt x="15" y="55"/>
                    <a:pt x="14" y="52"/>
                    <a:pt x="14" y="48"/>
                  </a:cubicBezTo>
                  <a:lnTo>
                    <a:pt x="14" y="19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0" name="Freeform 27"/>
            <p:cNvSpPr>
              <a:spLocks noEditPoints="1"/>
            </p:cNvSpPr>
            <p:nvPr userDrawn="1"/>
          </p:nvSpPr>
          <p:spPr bwMode="auto">
            <a:xfrm>
              <a:off x="8357442" y="5310928"/>
              <a:ext cx="172425" cy="238460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40" y="26"/>
                </a:cxn>
                <a:cxn ang="0">
                  <a:pos x="20" y="55"/>
                </a:cxn>
                <a:cxn ang="0">
                  <a:pos x="0" y="26"/>
                </a:cxn>
                <a:cxn ang="0">
                  <a:pos x="20" y="0"/>
                </a:cxn>
                <a:cxn ang="0">
                  <a:pos x="20" y="45"/>
                </a:cxn>
                <a:cxn ang="0">
                  <a:pos x="29" y="27"/>
                </a:cxn>
                <a:cxn ang="0">
                  <a:pos x="20" y="9"/>
                </a:cxn>
                <a:cxn ang="0">
                  <a:pos x="11" y="27"/>
                </a:cxn>
                <a:cxn ang="0">
                  <a:pos x="20" y="45"/>
                </a:cxn>
              </a:cxnLst>
              <a:rect l="0" t="0" r="r" b="b"/>
              <a:pathLst>
                <a:path w="40" h="55">
                  <a:moveTo>
                    <a:pt x="20" y="0"/>
                  </a:moveTo>
                  <a:cubicBezTo>
                    <a:pt x="32" y="0"/>
                    <a:pt x="40" y="9"/>
                    <a:pt x="40" y="26"/>
                  </a:cubicBezTo>
                  <a:cubicBezTo>
                    <a:pt x="40" y="40"/>
                    <a:pt x="36" y="55"/>
                    <a:pt x="20" y="55"/>
                  </a:cubicBezTo>
                  <a:cubicBezTo>
                    <a:pt x="4" y="55"/>
                    <a:pt x="0" y="40"/>
                    <a:pt x="0" y="26"/>
                  </a:cubicBezTo>
                  <a:cubicBezTo>
                    <a:pt x="0" y="9"/>
                    <a:pt x="8" y="0"/>
                    <a:pt x="20" y="0"/>
                  </a:cubicBezTo>
                  <a:moveTo>
                    <a:pt x="20" y="45"/>
                  </a:moveTo>
                  <a:cubicBezTo>
                    <a:pt x="26" y="45"/>
                    <a:pt x="29" y="41"/>
                    <a:pt x="29" y="27"/>
                  </a:cubicBezTo>
                  <a:cubicBezTo>
                    <a:pt x="29" y="16"/>
                    <a:pt x="27" y="9"/>
                    <a:pt x="20" y="9"/>
                  </a:cubicBezTo>
                  <a:cubicBezTo>
                    <a:pt x="13" y="9"/>
                    <a:pt x="11" y="16"/>
                    <a:pt x="11" y="27"/>
                  </a:cubicBezTo>
                  <a:cubicBezTo>
                    <a:pt x="11" y="41"/>
                    <a:pt x="14" y="45"/>
                    <a:pt x="20" y="45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1" name="Freeform 28"/>
            <p:cNvSpPr>
              <a:spLocks noEditPoints="1"/>
            </p:cNvSpPr>
            <p:nvPr userDrawn="1"/>
          </p:nvSpPr>
          <p:spPr bwMode="auto">
            <a:xfrm>
              <a:off x="8555547" y="5310928"/>
              <a:ext cx="177927" cy="238460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41" y="26"/>
                </a:cxn>
                <a:cxn ang="0">
                  <a:pos x="20" y="55"/>
                </a:cxn>
                <a:cxn ang="0">
                  <a:pos x="0" y="26"/>
                </a:cxn>
                <a:cxn ang="0">
                  <a:pos x="20" y="0"/>
                </a:cxn>
                <a:cxn ang="0">
                  <a:pos x="20" y="45"/>
                </a:cxn>
                <a:cxn ang="0">
                  <a:pos x="29" y="27"/>
                </a:cxn>
                <a:cxn ang="0">
                  <a:pos x="20" y="9"/>
                </a:cxn>
                <a:cxn ang="0">
                  <a:pos x="11" y="27"/>
                </a:cxn>
                <a:cxn ang="0">
                  <a:pos x="20" y="45"/>
                </a:cxn>
              </a:cxnLst>
              <a:rect l="0" t="0" r="r" b="b"/>
              <a:pathLst>
                <a:path w="41" h="55">
                  <a:moveTo>
                    <a:pt x="20" y="0"/>
                  </a:moveTo>
                  <a:cubicBezTo>
                    <a:pt x="33" y="0"/>
                    <a:pt x="41" y="9"/>
                    <a:pt x="41" y="26"/>
                  </a:cubicBezTo>
                  <a:cubicBezTo>
                    <a:pt x="41" y="40"/>
                    <a:pt x="36" y="55"/>
                    <a:pt x="20" y="55"/>
                  </a:cubicBezTo>
                  <a:cubicBezTo>
                    <a:pt x="4" y="55"/>
                    <a:pt x="0" y="40"/>
                    <a:pt x="0" y="26"/>
                  </a:cubicBezTo>
                  <a:cubicBezTo>
                    <a:pt x="0" y="9"/>
                    <a:pt x="8" y="0"/>
                    <a:pt x="20" y="0"/>
                  </a:cubicBezTo>
                  <a:moveTo>
                    <a:pt x="20" y="45"/>
                  </a:moveTo>
                  <a:cubicBezTo>
                    <a:pt x="26" y="45"/>
                    <a:pt x="29" y="41"/>
                    <a:pt x="29" y="27"/>
                  </a:cubicBezTo>
                  <a:cubicBezTo>
                    <a:pt x="29" y="16"/>
                    <a:pt x="27" y="9"/>
                    <a:pt x="20" y="9"/>
                  </a:cubicBezTo>
                  <a:cubicBezTo>
                    <a:pt x="14" y="9"/>
                    <a:pt x="11" y="16"/>
                    <a:pt x="11" y="27"/>
                  </a:cubicBezTo>
                  <a:cubicBezTo>
                    <a:pt x="11" y="41"/>
                    <a:pt x="14" y="45"/>
                    <a:pt x="20" y="45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2" name="Freeform 29"/>
            <p:cNvSpPr>
              <a:spLocks/>
            </p:cNvSpPr>
            <p:nvPr userDrawn="1"/>
          </p:nvSpPr>
          <p:spPr bwMode="auto">
            <a:xfrm>
              <a:off x="8742646" y="5310928"/>
              <a:ext cx="108223" cy="238460"/>
            </a:xfrm>
            <a:custGeom>
              <a:avLst/>
              <a:gdLst/>
              <a:ahLst/>
              <a:cxnLst>
                <a:cxn ang="0">
                  <a:pos x="13" y="19"/>
                </a:cxn>
                <a:cxn ang="0">
                  <a:pos x="4" y="19"/>
                </a:cxn>
                <a:cxn ang="0">
                  <a:pos x="0" y="15"/>
                </a:cxn>
                <a:cxn ang="0">
                  <a:pos x="5" y="11"/>
                </a:cxn>
                <a:cxn ang="0">
                  <a:pos x="8" y="10"/>
                </a:cxn>
                <a:cxn ang="0">
                  <a:pos x="21" y="0"/>
                </a:cxn>
                <a:cxn ang="0">
                  <a:pos x="25" y="5"/>
                </a:cxn>
                <a:cxn ang="0">
                  <a:pos x="25" y="48"/>
                </a:cxn>
                <a:cxn ang="0">
                  <a:pos x="19" y="55"/>
                </a:cxn>
                <a:cxn ang="0">
                  <a:pos x="13" y="48"/>
                </a:cxn>
                <a:cxn ang="0">
                  <a:pos x="13" y="19"/>
                </a:cxn>
              </a:cxnLst>
              <a:rect l="0" t="0" r="r" b="b"/>
              <a:pathLst>
                <a:path w="25" h="55">
                  <a:moveTo>
                    <a:pt x="13" y="19"/>
                  </a:moveTo>
                  <a:cubicBezTo>
                    <a:pt x="4" y="19"/>
                    <a:pt x="4" y="19"/>
                    <a:pt x="4" y="19"/>
                  </a:cubicBezTo>
                  <a:cubicBezTo>
                    <a:pt x="1" y="19"/>
                    <a:pt x="0" y="18"/>
                    <a:pt x="0" y="15"/>
                  </a:cubicBezTo>
                  <a:cubicBezTo>
                    <a:pt x="0" y="12"/>
                    <a:pt x="1" y="11"/>
                    <a:pt x="5" y="11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16" y="8"/>
                    <a:pt x="14" y="0"/>
                    <a:pt x="21" y="0"/>
                  </a:cubicBezTo>
                  <a:cubicBezTo>
                    <a:pt x="23" y="0"/>
                    <a:pt x="25" y="1"/>
                    <a:pt x="25" y="5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52"/>
                    <a:pt x="23" y="55"/>
                    <a:pt x="19" y="55"/>
                  </a:cubicBezTo>
                  <a:cubicBezTo>
                    <a:pt x="15" y="55"/>
                    <a:pt x="13" y="52"/>
                    <a:pt x="13" y="48"/>
                  </a:cubicBezTo>
                  <a:lnTo>
                    <a:pt x="13" y="19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3" name="Freeform 30"/>
            <p:cNvSpPr>
              <a:spLocks/>
            </p:cNvSpPr>
            <p:nvPr userDrawn="1"/>
          </p:nvSpPr>
          <p:spPr bwMode="auto">
            <a:xfrm>
              <a:off x="8876550" y="5310928"/>
              <a:ext cx="108223" cy="238460"/>
            </a:xfrm>
            <a:custGeom>
              <a:avLst/>
              <a:gdLst/>
              <a:ahLst/>
              <a:cxnLst>
                <a:cxn ang="0">
                  <a:pos x="13" y="19"/>
                </a:cxn>
                <a:cxn ang="0">
                  <a:pos x="3" y="19"/>
                </a:cxn>
                <a:cxn ang="0">
                  <a:pos x="0" y="15"/>
                </a:cxn>
                <a:cxn ang="0">
                  <a:pos x="5" y="11"/>
                </a:cxn>
                <a:cxn ang="0">
                  <a:pos x="8" y="10"/>
                </a:cxn>
                <a:cxn ang="0">
                  <a:pos x="20" y="0"/>
                </a:cxn>
                <a:cxn ang="0">
                  <a:pos x="25" y="5"/>
                </a:cxn>
                <a:cxn ang="0">
                  <a:pos x="25" y="48"/>
                </a:cxn>
                <a:cxn ang="0">
                  <a:pos x="19" y="55"/>
                </a:cxn>
                <a:cxn ang="0">
                  <a:pos x="13" y="48"/>
                </a:cxn>
                <a:cxn ang="0">
                  <a:pos x="13" y="19"/>
                </a:cxn>
              </a:cxnLst>
              <a:rect l="0" t="0" r="r" b="b"/>
              <a:pathLst>
                <a:path w="25" h="55">
                  <a:moveTo>
                    <a:pt x="13" y="19"/>
                  </a:moveTo>
                  <a:cubicBezTo>
                    <a:pt x="3" y="19"/>
                    <a:pt x="3" y="19"/>
                    <a:pt x="3" y="19"/>
                  </a:cubicBezTo>
                  <a:cubicBezTo>
                    <a:pt x="1" y="19"/>
                    <a:pt x="0" y="18"/>
                    <a:pt x="0" y="15"/>
                  </a:cubicBezTo>
                  <a:cubicBezTo>
                    <a:pt x="0" y="12"/>
                    <a:pt x="1" y="11"/>
                    <a:pt x="5" y="11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16" y="8"/>
                    <a:pt x="14" y="0"/>
                    <a:pt x="20" y="0"/>
                  </a:cubicBezTo>
                  <a:cubicBezTo>
                    <a:pt x="23" y="0"/>
                    <a:pt x="25" y="1"/>
                    <a:pt x="25" y="5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52"/>
                    <a:pt x="23" y="55"/>
                    <a:pt x="19" y="55"/>
                  </a:cubicBezTo>
                  <a:cubicBezTo>
                    <a:pt x="15" y="55"/>
                    <a:pt x="13" y="52"/>
                    <a:pt x="13" y="48"/>
                  </a:cubicBezTo>
                  <a:lnTo>
                    <a:pt x="13" y="19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4" name="Freeform 31"/>
            <p:cNvSpPr>
              <a:spLocks/>
            </p:cNvSpPr>
            <p:nvPr userDrawn="1"/>
          </p:nvSpPr>
          <p:spPr bwMode="auto">
            <a:xfrm>
              <a:off x="9006785" y="5310928"/>
              <a:ext cx="111892" cy="238460"/>
            </a:xfrm>
            <a:custGeom>
              <a:avLst/>
              <a:gdLst/>
              <a:ahLst/>
              <a:cxnLst>
                <a:cxn ang="0">
                  <a:pos x="14" y="19"/>
                </a:cxn>
                <a:cxn ang="0">
                  <a:pos x="4" y="19"/>
                </a:cxn>
                <a:cxn ang="0">
                  <a:pos x="0" y="15"/>
                </a:cxn>
                <a:cxn ang="0">
                  <a:pos x="6" y="11"/>
                </a:cxn>
                <a:cxn ang="0">
                  <a:pos x="9" y="10"/>
                </a:cxn>
                <a:cxn ang="0">
                  <a:pos x="21" y="0"/>
                </a:cxn>
                <a:cxn ang="0">
                  <a:pos x="26" y="5"/>
                </a:cxn>
                <a:cxn ang="0">
                  <a:pos x="26" y="48"/>
                </a:cxn>
                <a:cxn ang="0">
                  <a:pos x="20" y="55"/>
                </a:cxn>
                <a:cxn ang="0">
                  <a:pos x="14" y="48"/>
                </a:cxn>
                <a:cxn ang="0">
                  <a:pos x="14" y="19"/>
                </a:cxn>
              </a:cxnLst>
              <a:rect l="0" t="0" r="r" b="b"/>
              <a:pathLst>
                <a:path w="26" h="55">
                  <a:moveTo>
                    <a:pt x="14" y="19"/>
                  </a:moveTo>
                  <a:cubicBezTo>
                    <a:pt x="4" y="19"/>
                    <a:pt x="4" y="19"/>
                    <a:pt x="4" y="19"/>
                  </a:cubicBezTo>
                  <a:cubicBezTo>
                    <a:pt x="2" y="19"/>
                    <a:pt x="0" y="18"/>
                    <a:pt x="0" y="15"/>
                  </a:cubicBezTo>
                  <a:cubicBezTo>
                    <a:pt x="0" y="12"/>
                    <a:pt x="2" y="11"/>
                    <a:pt x="6" y="11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17" y="8"/>
                    <a:pt x="15" y="0"/>
                    <a:pt x="21" y="0"/>
                  </a:cubicBezTo>
                  <a:cubicBezTo>
                    <a:pt x="24" y="0"/>
                    <a:pt x="26" y="1"/>
                    <a:pt x="26" y="5"/>
                  </a:cubicBezTo>
                  <a:cubicBezTo>
                    <a:pt x="26" y="48"/>
                    <a:pt x="26" y="48"/>
                    <a:pt x="26" y="48"/>
                  </a:cubicBezTo>
                  <a:cubicBezTo>
                    <a:pt x="26" y="52"/>
                    <a:pt x="24" y="55"/>
                    <a:pt x="20" y="55"/>
                  </a:cubicBezTo>
                  <a:cubicBezTo>
                    <a:pt x="16" y="55"/>
                    <a:pt x="14" y="52"/>
                    <a:pt x="14" y="48"/>
                  </a:cubicBezTo>
                  <a:lnTo>
                    <a:pt x="14" y="19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5" name="Freeform 32"/>
            <p:cNvSpPr>
              <a:spLocks noEditPoints="1"/>
            </p:cNvSpPr>
            <p:nvPr userDrawn="1"/>
          </p:nvSpPr>
          <p:spPr bwMode="auto">
            <a:xfrm>
              <a:off x="9159032" y="5310928"/>
              <a:ext cx="172425" cy="238460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40" y="26"/>
                </a:cxn>
                <a:cxn ang="0">
                  <a:pos x="20" y="55"/>
                </a:cxn>
                <a:cxn ang="0">
                  <a:pos x="0" y="26"/>
                </a:cxn>
                <a:cxn ang="0">
                  <a:pos x="20" y="0"/>
                </a:cxn>
                <a:cxn ang="0">
                  <a:pos x="20" y="45"/>
                </a:cxn>
                <a:cxn ang="0">
                  <a:pos x="29" y="27"/>
                </a:cxn>
                <a:cxn ang="0">
                  <a:pos x="20" y="9"/>
                </a:cxn>
                <a:cxn ang="0">
                  <a:pos x="11" y="27"/>
                </a:cxn>
                <a:cxn ang="0">
                  <a:pos x="20" y="45"/>
                </a:cxn>
              </a:cxnLst>
              <a:rect l="0" t="0" r="r" b="b"/>
              <a:pathLst>
                <a:path w="40" h="55">
                  <a:moveTo>
                    <a:pt x="20" y="0"/>
                  </a:moveTo>
                  <a:cubicBezTo>
                    <a:pt x="32" y="0"/>
                    <a:pt x="40" y="9"/>
                    <a:pt x="40" y="26"/>
                  </a:cubicBezTo>
                  <a:cubicBezTo>
                    <a:pt x="40" y="40"/>
                    <a:pt x="36" y="55"/>
                    <a:pt x="20" y="55"/>
                  </a:cubicBezTo>
                  <a:cubicBezTo>
                    <a:pt x="4" y="55"/>
                    <a:pt x="0" y="40"/>
                    <a:pt x="0" y="26"/>
                  </a:cubicBezTo>
                  <a:cubicBezTo>
                    <a:pt x="0" y="9"/>
                    <a:pt x="8" y="0"/>
                    <a:pt x="20" y="0"/>
                  </a:cubicBezTo>
                  <a:moveTo>
                    <a:pt x="20" y="45"/>
                  </a:moveTo>
                  <a:cubicBezTo>
                    <a:pt x="26" y="45"/>
                    <a:pt x="29" y="41"/>
                    <a:pt x="29" y="27"/>
                  </a:cubicBezTo>
                  <a:cubicBezTo>
                    <a:pt x="29" y="16"/>
                    <a:pt x="27" y="9"/>
                    <a:pt x="20" y="9"/>
                  </a:cubicBezTo>
                  <a:cubicBezTo>
                    <a:pt x="14" y="9"/>
                    <a:pt x="11" y="16"/>
                    <a:pt x="11" y="27"/>
                  </a:cubicBezTo>
                  <a:cubicBezTo>
                    <a:pt x="11" y="41"/>
                    <a:pt x="14" y="45"/>
                    <a:pt x="20" y="45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596" name="Freeform 595"/>
          <p:cNvSpPr/>
          <p:nvPr userDrawn="1"/>
        </p:nvSpPr>
        <p:spPr bwMode="auto">
          <a:xfrm>
            <a:off x="232612" y="1495426"/>
            <a:ext cx="9440778" cy="4345843"/>
          </a:xfrm>
          <a:custGeom>
            <a:avLst/>
            <a:gdLst>
              <a:gd name="connsiteX0" fmla="*/ 0 w 9440778"/>
              <a:gd name="connsiteY0" fmla="*/ 134877 h 4417851"/>
              <a:gd name="connsiteX1" fmla="*/ 39505 w 9440778"/>
              <a:gd name="connsiteY1" fmla="*/ 39505 h 4417851"/>
              <a:gd name="connsiteX2" fmla="*/ 134878 w 9440778"/>
              <a:gd name="connsiteY2" fmla="*/ 1 h 4417851"/>
              <a:gd name="connsiteX3" fmla="*/ 9305901 w 9440778"/>
              <a:gd name="connsiteY3" fmla="*/ 0 h 4417851"/>
              <a:gd name="connsiteX4" fmla="*/ 9401273 w 9440778"/>
              <a:gd name="connsiteY4" fmla="*/ 39505 h 4417851"/>
              <a:gd name="connsiteX5" fmla="*/ 9440777 w 9440778"/>
              <a:gd name="connsiteY5" fmla="*/ 134878 h 4417851"/>
              <a:gd name="connsiteX6" fmla="*/ 9440778 w 9440778"/>
              <a:gd name="connsiteY6" fmla="*/ 4282974 h 4417851"/>
              <a:gd name="connsiteX7" fmla="*/ 9401273 w 9440778"/>
              <a:gd name="connsiteY7" fmla="*/ 4378346 h 4417851"/>
              <a:gd name="connsiteX8" fmla="*/ 9305901 w 9440778"/>
              <a:gd name="connsiteY8" fmla="*/ 4417851 h 4417851"/>
              <a:gd name="connsiteX9" fmla="*/ 134877 w 9440778"/>
              <a:gd name="connsiteY9" fmla="*/ 4417851 h 4417851"/>
              <a:gd name="connsiteX10" fmla="*/ 39505 w 9440778"/>
              <a:gd name="connsiteY10" fmla="*/ 4378346 h 4417851"/>
              <a:gd name="connsiteX11" fmla="*/ 1 w 9440778"/>
              <a:gd name="connsiteY11" fmla="*/ 4282973 h 4417851"/>
              <a:gd name="connsiteX12" fmla="*/ 0 w 9440778"/>
              <a:gd name="connsiteY12" fmla="*/ 134877 h 4417851"/>
              <a:gd name="connsiteX0" fmla="*/ 9401273 w 9492713"/>
              <a:gd name="connsiteY0" fmla="*/ 4378346 h 4469786"/>
              <a:gd name="connsiteX1" fmla="*/ 9305901 w 9492713"/>
              <a:gd name="connsiteY1" fmla="*/ 4417851 h 4469786"/>
              <a:gd name="connsiteX2" fmla="*/ 134877 w 9492713"/>
              <a:gd name="connsiteY2" fmla="*/ 4417851 h 4469786"/>
              <a:gd name="connsiteX3" fmla="*/ 39505 w 9492713"/>
              <a:gd name="connsiteY3" fmla="*/ 4378346 h 4469786"/>
              <a:gd name="connsiteX4" fmla="*/ 1 w 9492713"/>
              <a:gd name="connsiteY4" fmla="*/ 4282973 h 4469786"/>
              <a:gd name="connsiteX5" fmla="*/ 0 w 9492713"/>
              <a:gd name="connsiteY5" fmla="*/ 134877 h 4469786"/>
              <a:gd name="connsiteX6" fmla="*/ 39505 w 9492713"/>
              <a:gd name="connsiteY6" fmla="*/ 39505 h 4469786"/>
              <a:gd name="connsiteX7" fmla="*/ 134878 w 9492713"/>
              <a:gd name="connsiteY7" fmla="*/ 1 h 4469786"/>
              <a:gd name="connsiteX8" fmla="*/ 9305901 w 9492713"/>
              <a:gd name="connsiteY8" fmla="*/ 0 h 4469786"/>
              <a:gd name="connsiteX9" fmla="*/ 9401273 w 9492713"/>
              <a:gd name="connsiteY9" fmla="*/ 39505 h 4469786"/>
              <a:gd name="connsiteX10" fmla="*/ 9440777 w 9492713"/>
              <a:gd name="connsiteY10" fmla="*/ 134878 h 4469786"/>
              <a:gd name="connsiteX11" fmla="*/ 9440778 w 9492713"/>
              <a:gd name="connsiteY11" fmla="*/ 4282974 h 4469786"/>
              <a:gd name="connsiteX12" fmla="*/ 9492713 w 9492713"/>
              <a:gd name="connsiteY12" fmla="*/ 4469786 h 4469786"/>
              <a:gd name="connsiteX0" fmla="*/ 9401273 w 9440778"/>
              <a:gd name="connsiteY0" fmla="*/ 4378346 h 4417851"/>
              <a:gd name="connsiteX1" fmla="*/ 9305901 w 9440778"/>
              <a:gd name="connsiteY1" fmla="*/ 4417851 h 4417851"/>
              <a:gd name="connsiteX2" fmla="*/ 134877 w 9440778"/>
              <a:gd name="connsiteY2" fmla="*/ 4417851 h 4417851"/>
              <a:gd name="connsiteX3" fmla="*/ 39505 w 9440778"/>
              <a:gd name="connsiteY3" fmla="*/ 4378346 h 4417851"/>
              <a:gd name="connsiteX4" fmla="*/ 1 w 9440778"/>
              <a:gd name="connsiteY4" fmla="*/ 4282973 h 4417851"/>
              <a:gd name="connsiteX5" fmla="*/ 0 w 9440778"/>
              <a:gd name="connsiteY5" fmla="*/ 134877 h 4417851"/>
              <a:gd name="connsiteX6" fmla="*/ 39505 w 9440778"/>
              <a:gd name="connsiteY6" fmla="*/ 39505 h 4417851"/>
              <a:gd name="connsiteX7" fmla="*/ 134878 w 9440778"/>
              <a:gd name="connsiteY7" fmla="*/ 1 h 4417851"/>
              <a:gd name="connsiteX8" fmla="*/ 9305901 w 9440778"/>
              <a:gd name="connsiteY8" fmla="*/ 0 h 4417851"/>
              <a:gd name="connsiteX9" fmla="*/ 9401273 w 9440778"/>
              <a:gd name="connsiteY9" fmla="*/ 39505 h 4417851"/>
              <a:gd name="connsiteX10" fmla="*/ 9440777 w 9440778"/>
              <a:gd name="connsiteY10" fmla="*/ 134878 h 4417851"/>
              <a:gd name="connsiteX11" fmla="*/ 9440778 w 9440778"/>
              <a:gd name="connsiteY11" fmla="*/ 4282974 h 4417851"/>
              <a:gd name="connsiteX0" fmla="*/ 9401273 w 9440778"/>
              <a:gd name="connsiteY0" fmla="*/ 4378346 h 4417851"/>
              <a:gd name="connsiteX1" fmla="*/ 9305901 w 9440778"/>
              <a:gd name="connsiteY1" fmla="*/ 4417851 h 4417851"/>
              <a:gd name="connsiteX2" fmla="*/ 134877 w 9440778"/>
              <a:gd name="connsiteY2" fmla="*/ 4417851 h 4417851"/>
              <a:gd name="connsiteX3" fmla="*/ 39505 w 9440778"/>
              <a:gd name="connsiteY3" fmla="*/ 4378346 h 4417851"/>
              <a:gd name="connsiteX4" fmla="*/ 1 w 9440778"/>
              <a:gd name="connsiteY4" fmla="*/ 4282973 h 4417851"/>
              <a:gd name="connsiteX5" fmla="*/ 0 w 9440778"/>
              <a:gd name="connsiteY5" fmla="*/ 134877 h 4417851"/>
              <a:gd name="connsiteX6" fmla="*/ 39505 w 9440778"/>
              <a:gd name="connsiteY6" fmla="*/ 39505 h 4417851"/>
              <a:gd name="connsiteX7" fmla="*/ 134878 w 9440778"/>
              <a:gd name="connsiteY7" fmla="*/ 1 h 4417851"/>
              <a:gd name="connsiteX8" fmla="*/ 9305901 w 9440778"/>
              <a:gd name="connsiteY8" fmla="*/ 0 h 4417851"/>
              <a:gd name="connsiteX9" fmla="*/ 9401273 w 9440778"/>
              <a:gd name="connsiteY9" fmla="*/ 39505 h 4417851"/>
              <a:gd name="connsiteX10" fmla="*/ 9440777 w 9440778"/>
              <a:gd name="connsiteY10" fmla="*/ 134878 h 4417851"/>
              <a:gd name="connsiteX11" fmla="*/ 9440778 w 9440778"/>
              <a:gd name="connsiteY11" fmla="*/ 3785669 h 4417851"/>
              <a:gd name="connsiteX0" fmla="*/ 9401273 w 9440778"/>
              <a:gd name="connsiteY0" fmla="*/ 4378346 h 4417851"/>
              <a:gd name="connsiteX1" fmla="*/ 9305901 w 9440778"/>
              <a:gd name="connsiteY1" fmla="*/ 4417851 h 4417851"/>
              <a:gd name="connsiteX2" fmla="*/ 134877 w 9440778"/>
              <a:gd name="connsiteY2" fmla="*/ 4417851 h 4417851"/>
              <a:gd name="connsiteX3" fmla="*/ 39505 w 9440778"/>
              <a:gd name="connsiteY3" fmla="*/ 4378346 h 4417851"/>
              <a:gd name="connsiteX4" fmla="*/ 1 w 9440778"/>
              <a:gd name="connsiteY4" fmla="*/ 4282973 h 4417851"/>
              <a:gd name="connsiteX5" fmla="*/ 0 w 9440778"/>
              <a:gd name="connsiteY5" fmla="*/ 134877 h 4417851"/>
              <a:gd name="connsiteX6" fmla="*/ 39505 w 9440778"/>
              <a:gd name="connsiteY6" fmla="*/ 39505 h 4417851"/>
              <a:gd name="connsiteX7" fmla="*/ 134878 w 9440778"/>
              <a:gd name="connsiteY7" fmla="*/ 1 h 4417851"/>
              <a:gd name="connsiteX8" fmla="*/ 9305901 w 9440778"/>
              <a:gd name="connsiteY8" fmla="*/ 0 h 4417851"/>
              <a:gd name="connsiteX9" fmla="*/ 9401273 w 9440778"/>
              <a:gd name="connsiteY9" fmla="*/ 39505 h 4417851"/>
              <a:gd name="connsiteX10" fmla="*/ 9440777 w 9440778"/>
              <a:gd name="connsiteY10" fmla="*/ 134878 h 4417851"/>
              <a:gd name="connsiteX11" fmla="*/ 9440778 w 9440778"/>
              <a:gd name="connsiteY11" fmla="*/ 3496911 h 4417851"/>
              <a:gd name="connsiteX0" fmla="*/ 9401273 w 9440778"/>
              <a:gd name="connsiteY0" fmla="*/ 4378346 h 4417851"/>
              <a:gd name="connsiteX1" fmla="*/ 9305901 w 9440778"/>
              <a:gd name="connsiteY1" fmla="*/ 4417851 h 4417851"/>
              <a:gd name="connsiteX2" fmla="*/ 134877 w 9440778"/>
              <a:gd name="connsiteY2" fmla="*/ 4417851 h 4417851"/>
              <a:gd name="connsiteX3" fmla="*/ 39505 w 9440778"/>
              <a:gd name="connsiteY3" fmla="*/ 4378346 h 4417851"/>
              <a:gd name="connsiteX4" fmla="*/ 1 w 9440778"/>
              <a:gd name="connsiteY4" fmla="*/ 4282973 h 4417851"/>
              <a:gd name="connsiteX5" fmla="*/ 0 w 9440778"/>
              <a:gd name="connsiteY5" fmla="*/ 134877 h 4417851"/>
              <a:gd name="connsiteX6" fmla="*/ 39505 w 9440778"/>
              <a:gd name="connsiteY6" fmla="*/ 39505 h 4417851"/>
              <a:gd name="connsiteX7" fmla="*/ 134878 w 9440778"/>
              <a:gd name="connsiteY7" fmla="*/ 1 h 4417851"/>
              <a:gd name="connsiteX8" fmla="*/ 9305901 w 9440778"/>
              <a:gd name="connsiteY8" fmla="*/ 0 h 4417851"/>
              <a:gd name="connsiteX9" fmla="*/ 9401273 w 9440778"/>
              <a:gd name="connsiteY9" fmla="*/ 39505 h 4417851"/>
              <a:gd name="connsiteX10" fmla="*/ 9440777 w 9440778"/>
              <a:gd name="connsiteY10" fmla="*/ 134878 h 4417851"/>
              <a:gd name="connsiteX11" fmla="*/ 9440778 w 9440778"/>
              <a:gd name="connsiteY11" fmla="*/ 3211161 h 4417851"/>
              <a:gd name="connsiteX0" fmla="*/ 9401273 w 9440778"/>
              <a:gd name="connsiteY0" fmla="*/ 4378346 h 4417851"/>
              <a:gd name="connsiteX1" fmla="*/ 9305901 w 9440778"/>
              <a:gd name="connsiteY1" fmla="*/ 4417851 h 4417851"/>
              <a:gd name="connsiteX2" fmla="*/ 134877 w 9440778"/>
              <a:gd name="connsiteY2" fmla="*/ 4417851 h 4417851"/>
              <a:gd name="connsiteX3" fmla="*/ 39505 w 9440778"/>
              <a:gd name="connsiteY3" fmla="*/ 4378346 h 4417851"/>
              <a:gd name="connsiteX4" fmla="*/ 1 w 9440778"/>
              <a:gd name="connsiteY4" fmla="*/ 4282973 h 4417851"/>
              <a:gd name="connsiteX5" fmla="*/ 0 w 9440778"/>
              <a:gd name="connsiteY5" fmla="*/ 134877 h 4417851"/>
              <a:gd name="connsiteX6" fmla="*/ 39505 w 9440778"/>
              <a:gd name="connsiteY6" fmla="*/ 39505 h 4417851"/>
              <a:gd name="connsiteX7" fmla="*/ 134878 w 9440778"/>
              <a:gd name="connsiteY7" fmla="*/ 1 h 4417851"/>
              <a:gd name="connsiteX8" fmla="*/ 9305901 w 9440778"/>
              <a:gd name="connsiteY8" fmla="*/ 0 h 4417851"/>
              <a:gd name="connsiteX9" fmla="*/ 9401273 w 9440778"/>
              <a:gd name="connsiteY9" fmla="*/ 39505 h 4417851"/>
              <a:gd name="connsiteX10" fmla="*/ 9440777 w 9440778"/>
              <a:gd name="connsiteY10" fmla="*/ 134878 h 4417851"/>
              <a:gd name="connsiteX11" fmla="*/ 9440778 w 9440778"/>
              <a:gd name="connsiteY11" fmla="*/ 2963511 h 4417851"/>
              <a:gd name="connsiteX0" fmla="*/ 9401273 w 9440778"/>
              <a:gd name="connsiteY0" fmla="*/ 4378346 h 4417851"/>
              <a:gd name="connsiteX1" fmla="*/ 9305901 w 9440778"/>
              <a:gd name="connsiteY1" fmla="*/ 4417851 h 4417851"/>
              <a:gd name="connsiteX2" fmla="*/ 134877 w 9440778"/>
              <a:gd name="connsiteY2" fmla="*/ 4417851 h 4417851"/>
              <a:gd name="connsiteX3" fmla="*/ 39505 w 9440778"/>
              <a:gd name="connsiteY3" fmla="*/ 4378346 h 4417851"/>
              <a:gd name="connsiteX4" fmla="*/ 1 w 9440778"/>
              <a:gd name="connsiteY4" fmla="*/ 4282973 h 4417851"/>
              <a:gd name="connsiteX5" fmla="*/ 0 w 9440778"/>
              <a:gd name="connsiteY5" fmla="*/ 134877 h 4417851"/>
              <a:gd name="connsiteX6" fmla="*/ 39505 w 9440778"/>
              <a:gd name="connsiteY6" fmla="*/ 39505 h 4417851"/>
              <a:gd name="connsiteX7" fmla="*/ 134878 w 9440778"/>
              <a:gd name="connsiteY7" fmla="*/ 1 h 4417851"/>
              <a:gd name="connsiteX8" fmla="*/ 9305901 w 9440778"/>
              <a:gd name="connsiteY8" fmla="*/ 0 h 4417851"/>
              <a:gd name="connsiteX9" fmla="*/ 9401273 w 9440778"/>
              <a:gd name="connsiteY9" fmla="*/ 39505 h 4417851"/>
              <a:gd name="connsiteX10" fmla="*/ 9440777 w 9440778"/>
              <a:gd name="connsiteY10" fmla="*/ 134878 h 4417851"/>
              <a:gd name="connsiteX11" fmla="*/ 9440778 w 9440778"/>
              <a:gd name="connsiteY11" fmla="*/ 1966561 h 4417851"/>
              <a:gd name="connsiteX0" fmla="*/ 9401273 w 9440778"/>
              <a:gd name="connsiteY0" fmla="*/ 4378346 h 4417851"/>
              <a:gd name="connsiteX1" fmla="*/ 9305901 w 9440778"/>
              <a:gd name="connsiteY1" fmla="*/ 4417851 h 4417851"/>
              <a:gd name="connsiteX2" fmla="*/ 134877 w 9440778"/>
              <a:gd name="connsiteY2" fmla="*/ 4417851 h 4417851"/>
              <a:gd name="connsiteX3" fmla="*/ 39505 w 9440778"/>
              <a:gd name="connsiteY3" fmla="*/ 4378346 h 4417851"/>
              <a:gd name="connsiteX4" fmla="*/ 1 w 9440778"/>
              <a:gd name="connsiteY4" fmla="*/ 4282973 h 4417851"/>
              <a:gd name="connsiteX5" fmla="*/ 0 w 9440778"/>
              <a:gd name="connsiteY5" fmla="*/ 134877 h 4417851"/>
              <a:gd name="connsiteX6" fmla="*/ 39505 w 9440778"/>
              <a:gd name="connsiteY6" fmla="*/ 39505 h 4417851"/>
              <a:gd name="connsiteX7" fmla="*/ 134878 w 9440778"/>
              <a:gd name="connsiteY7" fmla="*/ 1 h 4417851"/>
              <a:gd name="connsiteX8" fmla="*/ 9305901 w 9440778"/>
              <a:gd name="connsiteY8" fmla="*/ 0 h 4417851"/>
              <a:gd name="connsiteX9" fmla="*/ 9401273 w 9440778"/>
              <a:gd name="connsiteY9" fmla="*/ 39505 h 4417851"/>
              <a:gd name="connsiteX10" fmla="*/ 9440777 w 9440778"/>
              <a:gd name="connsiteY10" fmla="*/ 134878 h 4417851"/>
              <a:gd name="connsiteX11" fmla="*/ 9440778 w 9440778"/>
              <a:gd name="connsiteY11" fmla="*/ 1674461 h 4417851"/>
              <a:gd name="connsiteX0" fmla="*/ 9305901 w 9440778"/>
              <a:gd name="connsiteY0" fmla="*/ 4417851 h 4417851"/>
              <a:gd name="connsiteX1" fmla="*/ 134877 w 9440778"/>
              <a:gd name="connsiteY1" fmla="*/ 4417851 h 4417851"/>
              <a:gd name="connsiteX2" fmla="*/ 39505 w 9440778"/>
              <a:gd name="connsiteY2" fmla="*/ 4378346 h 4417851"/>
              <a:gd name="connsiteX3" fmla="*/ 1 w 9440778"/>
              <a:gd name="connsiteY3" fmla="*/ 4282973 h 4417851"/>
              <a:gd name="connsiteX4" fmla="*/ 0 w 9440778"/>
              <a:gd name="connsiteY4" fmla="*/ 134877 h 4417851"/>
              <a:gd name="connsiteX5" fmla="*/ 39505 w 9440778"/>
              <a:gd name="connsiteY5" fmla="*/ 39505 h 4417851"/>
              <a:gd name="connsiteX6" fmla="*/ 134878 w 9440778"/>
              <a:gd name="connsiteY6" fmla="*/ 1 h 4417851"/>
              <a:gd name="connsiteX7" fmla="*/ 9305901 w 9440778"/>
              <a:gd name="connsiteY7" fmla="*/ 0 h 4417851"/>
              <a:gd name="connsiteX8" fmla="*/ 9401273 w 9440778"/>
              <a:gd name="connsiteY8" fmla="*/ 39505 h 4417851"/>
              <a:gd name="connsiteX9" fmla="*/ 9440777 w 9440778"/>
              <a:gd name="connsiteY9" fmla="*/ 134878 h 4417851"/>
              <a:gd name="connsiteX10" fmla="*/ 9440778 w 9440778"/>
              <a:gd name="connsiteY10" fmla="*/ 1674461 h 4417851"/>
              <a:gd name="connsiteX0" fmla="*/ 7062763 w 9440778"/>
              <a:gd name="connsiteY0" fmla="*/ 4417851 h 4417851"/>
              <a:gd name="connsiteX1" fmla="*/ 134877 w 9440778"/>
              <a:gd name="connsiteY1" fmla="*/ 4417851 h 4417851"/>
              <a:gd name="connsiteX2" fmla="*/ 39505 w 9440778"/>
              <a:gd name="connsiteY2" fmla="*/ 4378346 h 4417851"/>
              <a:gd name="connsiteX3" fmla="*/ 1 w 9440778"/>
              <a:gd name="connsiteY3" fmla="*/ 4282973 h 4417851"/>
              <a:gd name="connsiteX4" fmla="*/ 0 w 9440778"/>
              <a:gd name="connsiteY4" fmla="*/ 134877 h 4417851"/>
              <a:gd name="connsiteX5" fmla="*/ 39505 w 9440778"/>
              <a:gd name="connsiteY5" fmla="*/ 39505 h 4417851"/>
              <a:gd name="connsiteX6" fmla="*/ 134878 w 9440778"/>
              <a:gd name="connsiteY6" fmla="*/ 1 h 4417851"/>
              <a:gd name="connsiteX7" fmla="*/ 9305901 w 9440778"/>
              <a:gd name="connsiteY7" fmla="*/ 0 h 4417851"/>
              <a:gd name="connsiteX8" fmla="*/ 9401273 w 9440778"/>
              <a:gd name="connsiteY8" fmla="*/ 39505 h 4417851"/>
              <a:gd name="connsiteX9" fmla="*/ 9440777 w 9440778"/>
              <a:gd name="connsiteY9" fmla="*/ 134878 h 4417851"/>
              <a:gd name="connsiteX10" fmla="*/ 9440778 w 9440778"/>
              <a:gd name="connsiteY10" fmla="*/ 1674461 h 4417851"/>
              <a:gd name="connsiteX0" fmla="*/ 6789713 w 9440778"/>
              <a:gd name="connsiteY0" fmla="*/ 4417851 h 4417851"/>
              <a:gd name="connsiteX1" fmla="*/ 134877 w 9440778"/>
              <a:gd name="connsiteY1" fmla="*/ 4417851 h 4417851"/>
              <a:gd name="connsiteX2" fmla="*/ 39505 w 9440778"/>
              <a:gd name="connsiteY2" fmla="*/ 4378346 h 4417851"/>
              <a:gd name="connsiteX3" fmla="*/ 1 w 9440778"/>
              <a:gd name="connsiteY3" fmla="*/ 4282973 h 4417851"/>
              <a:gd name="connsiteX4" fmla="*/ 0 w 9440778"/>
              <a:gd name="connsiteY4" fmla="*/ 134877 h 4417851"/>
              <a:gd name="connsiteX5" fmla="*/ 39505 w 9440778"/>
              <a:gd name="connsiteY5" fmla="*/ 39505 h 4417851"/>
              <a:gd name="connsiteX6" fmla="*/ 134878 w 9440778"/>
              <a:gd name="connsiteY6" fmla="*/ 1 h 4417851"/>
              <a:gd name="connsiteX7" fmla="*/ 9305901 w 9440778"/>
              <a:gd name="connsiteY7" fmla="*/ 0 h 4417851"/>
              <a:gd name="connsiteX8" fmla="*/ 9401273 w 9440778"/>
              <a:gd name="connsiteY8" fmla="*/ 39505 h 4417851"/>
              <a:gd name="connsiteX9" fmla="*/ 9440777 w 9440778"/>
              <a:gd name="connsiteY9" fmla="*/ 134878 h 4417851"/>
              <a:gd name="connsiteX10" fmla="*/ 9440778 w 9440778"/>
              <a:gd name="connsiteY10" fmla="*/ 1674461 h 44178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440778" h="4417851">
                <a:moveTo>
                  <a:pt x="6789713" y="4417851"/>
                </a:moveTo>
                <a:lnTo>
                  <a:pt x="134877" y="4417851"/>
                </a:lnTo>
                <a:cubicBezTo>
                  <a:pt x="99105" y="4417851"/>
                  <a:pt x="64799" y="4403641"/>
                  <a:pt x="39505" y="4378346"/>
                </a:cubicBezTo>
                <a:cubicBezTo>
                  <a:pt x="14211" y="4353052"/>
                  <a:pt x="0" y="4318745"/>
                  <a:pt x="1" y="4282973"/>
                </a:cubicBezTo>
                <a:cubicBezTo>
                  <a:pt x="1" y="2900274"/>
                  <a:pt x="0" y="1517576"/>
                  <a:pt x="0" y="134877"/>
                </a:cubicBezTo>
                <a:cubicBezTo>
                  <a:pt x="0" y="99105"/>
                  <a:pt x="14210" y="64799"/>
                  <a:pt x="39505" y="39505"/>
                </a:cubicBezTo>
                <a:cubicBezTo>
                  <a:pt x="64799" y="14211"/>
                  <a:pt x="99106" y="1"/>
                  <a:pt x="134878" y="1"/>
                </a:cubicBezTo>
                <a:lnTo>
                  <a:pt x="9305901" y="0"/>
                </a:lnTo>
                <a:cubicBezTo>
                  <a:pt x="9341673" y="0"/>
                  <a:pt x="9375979" y="14210"/>
                  <a:pt x="9401273" y="39505"/>
                </a:cubicBezTo>
                <a:cubicBezTo>
                  <a:pt x="9426567" y="64799"/>
                  <a:pt x="9440777" y="99106"/>
                  <a:pt x="9440777" y="134878"/>
                </a:cubicBezTo>
                <a:cubicBezTo>
                  <a:pt x="9440777" y="1517577"/>
                  <a:pt x="9440778" y="291762"/>
                  <a:pt x="9440778" y="1674461"/>
                </a:cubicBezTo>
              </a:path>
            </a:pathLst>
          </a:custGeom>
          <a:noFill/>
          <a:ln w="28575" cap="flat" cmpd="sng" algn="ctr">
            <a:solidFill>
              <a:schemeClr val="accent3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  <a:cs typeface="Arial" charset="0"/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able of Content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104821909_5_ed.jpg"/>
          <p:cNvPicPr>
            <a:picLocks noChangeAspect="1"/>
          </p:cNvPicPr>
          <p:nvPr userDrawn="1"/>
        </p:nvPicPr>
        <p:blipFill>
          <a:blip r:embed="rId3" cstate="screen"/>
          <a:srcRect l="403" t="351" r="24"/>
          <a:stretch>
            <a:fillRect/>
          </a:stretch>
        </p:blipFill>
        <p:spPr>
          <a:xfrm>
            <a:off x="0" y="2"/>
            <a:ext cx="9906000" cy="6246019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344489" y="0"/>
            <a:ext cx="9561512" cy="1088136"/>
          </a:xfrm>
        </p:spPr>
        <p:txBody>
          <a:bodyPr tIns="0" anchor="ctr" anchorCtr="0"/>
          <a:lstStyle>
            <a:lvl1pPr>
              <a:defRPr b="0" cap="small" baseline="0"/>
            </a:lvl1pPr>
          </a:lstStyle>
          <a:p>
            <a:r>
              <a:rPr lang="en-US" noProof="0" dirty="0"/>
              <a:t>Click to edit title styl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44489" y="1484312"/>
            <a:ext cx="5404104" cy="4645026"/>
          </a:xfrm>
        </p:spPr>
        <p:txBody>
          <a:bodyPr tIns="0" bIns="0"/>
          <a:lstStyle>
            <a:lvl1pPr marL="228600" indent="-228600">
              <a:spcBef>
                <a:spcPts val="600"/>
              </a:spcBef>
              <a:buClr>
                <a:schemeClr val="tx1"/>
              </a:buClr>
              <a:defRPr/>
            </a:lvl1pPr>
            <a:lvl2pPr>
              <a:spcBef>
                <a:spcPts val="600"/>
              </a:spcBef>
              <a:buClr>
                <a:schemeClr val="tx1"/>
              </a:buClr>
              <a:defRPr/>
            </a:lvl2pPr>
            <a:lvl3pPr>
              <a:buNone/>
              <a:defRPr/>
            </a:lvl3pPr>
            <a:lvl4pPr>
              <a:buNone/>
              <a:defRPr/>
            </a:lvl4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</p:txBody>
      </p:sp>
      <p:sp>
        <p:nvSpPr>
          <p:cNvPr id="6" name="Freeform 4"/>
          <p:cNvSpPr>
            <a:spLocks/>
          </p:cNvSpPr>
          <p:nvPr userDrawn="1">
            <p:custDataLst>
              <p:tags r:id="rId1"/>
            </p:custDataLst>
          </p:nvPr>
        </p:nvSpPr>
        <p:spPr bwMode="auto">
          <a:xfrm>
            <a:off x="3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Mas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344489" y="0"/>
            <a:ext cx="9561512" cy="108813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44489" y="1484313"/>
            <a:ext cx="9217025" cy="4645024"/>
          </a:xfrm>
        </p:spPr>
        <p:txBody>
          <a:bodyPr tIns="0" bIns="0"/>
          <a:lstStyle>
            <a:lvl1pPr marL="228600" indent="-228600">
              <a:defRPr sz="2000" baseline="0">
                <a:solidFill>
                  <a:schemeClr val="tx1"/>
                </a:solidFill>
              </a:defRPr>
            </a:lvl1pPr>
            <a:lvl2pPr marL="457200" indent="-228600">
              <a:defRPr sz="1800">
                <a:solidFill>
                  <a:schemeClr val="tx1"/>
                </a:solidFill>
              </a:defRPr>
            </a:lvl2pPr>
            <a:lvl3pPr marL="685800" indent="-228600">
              <a:buClr>
                <a:schemeClr val="tx2"/>
              </a:buClr>
              <a:buFont typeface="Arial" pitchFamily="34" charset="0"/>
              <a:buChar char="–"/>
              <a:defRPr sz="1600">
                <a:solidFill>
                  <a:schemeClr val="tx1"/>
                </a:solidFill>
              </a:defRPr>
            </a:lvl3pPr>
            <a:lvl4pPr marL="914400" indent="-228600">
              <a:spcBef>
                <a:spcPts val="600"/>
              </a:spcBef>
              <a:buClr>
                <a:schemeClr val="accent3"/>
              </a:buClr>
              <a:defRPr sz="1400">
                <a:solidFill>
                  <a:schemeClr val="tx1"/>
                </a:solidFill>
              </a:defRPr>
            </a:lvl4pPr>
            <a:lvl5pPr marL="1143000" indent="-228600">
              <a:spcBef>
                <a:spcPts val="600"/>
              </a:spcBef>
              <a:defRPr sz="1200" baseline="0"/>
            </a:lvl5pPr>
            <a:lvl6pPr>
              <a:buNone/>
              <a:defRPr/>
            </a:lvl6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  <a:p>
            <a:pPr lvl="4"/>
            <a:r>
              <a:rPr lang="en-US" noProof="0" dirty="0"/>
              <a:t>Text style level 5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Master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344489" y="0"/>
            <a:ext cx="9561512" cy="108813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36000" bIns="36000" numCol="1" anchor="ctr" anchorCtr="0" compatLnSpc="1">
            <a:prstTxWarp prst="textNoShape">
              <a:avLst/>
            </a:prstTxWarp>
          </a:bodyPr>
          <a:lstStyle>
            <a:lvl1pPr mar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3200" b="0" kern="120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44487" y="1988840"/>
            <a:ext cx="9217026" cy="417701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714375" rtl="0" eaLnBrk="0" fontAlgn="base" hangingPunct="0">
              <a:spcBef>
                <a:spcPts val="600"/>
              </a:spcBef>
              <a:spcAft>
                <a:spcPct val="0"/>
              </a:spcAft>
              <a:defRPr lang="fr-FR" sz="20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714375" rtl="0" eaLnBrk="0" fontAlgn="base" hangingPunct="0">
              <a:spcBef>
                <a:spcPts val="600"/>
              </a:spcBef>
              <a:spcAft>
                <a:spcPct val="0"/>
              </a:spcAft>
              <a:defRPr lang="fr-FR" sz="18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714375" rtl="0" eaLnBrk="0" fontAlgn="base" hangingPunct="0">
              <a:spcBef>
                <a:spcPts val="600"/>
              </a:spcBef>
              <a:spcAft>
                <a:spcPct val="0"/>
              </a:spcAft>
              <a:defRPr lang="fr-FR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714375" rtl="0" eaLnBrk="0" fontAlgn="base" hangingPunct="0">
              <a:spcBef>
                <a:spcPts val="600"/>
              </a:spcBef>
              <a:spcAft>
                <a:spcPct val="0"/>
              </a:spcAft>
              <a:defRPr lang="fr-FR" sz="14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636588" rtl="0" eaLnBrk="0" fontAlgn="base" hangingPunct="0">
              <a:spcBef>
                <a:spcPts val="600"/>
              </a:spcBef>
              <a:spcAft>
                <a:spcPct val="0"/>
              </a:spcAft>
              <a:defRPr lang="en-US" sz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  <a:p>
            <a:pPr lvl="4"/>
            <a:r>
              <a:rPr lang="en-US" noProof="0" dirty="0"/>
              <a:t>Text style level 5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 hasCustomPrompt="1"/>
          </p:nvPr>
        </p:nvSpPr>
        <p:spPr>
          <a:xfrm>
            <a:off x="344489" y="1484313"/>
            <a:ext cx="9561512" cy="502920"/>
          </a:xfrm>
        </p:spPr>
        <p:txBody>
          <a:bodyPr tIns="0" bIns="0"/>
          <a:lstStyle>
            <a:lvl1pPr marL="0" indent="0">
              <a:buNone/>
              <a:defRPr sz="2200" b="1" baseline="0">
                <a:solidFill>
                  <a:schemeClr val="accent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344489" y="0"/>
            <a:ext cx="9561512" cy="1088136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344489" y="1484315"/>
            <a:ext cx="4500562" cy="4645025"/>
          </a:xfrm>
        </p:spPr>
        <p:txBody>
          <a:bodyPr lIns="0" tIns="0" rIns="0" bIns="0"/>
          <a:lstStyle>
            <a:lvl1pPr>
              <a:defRPr sz="2000" baseline="0"/>
            </a:lvl1pPr>
            <a:lvl2pPr>
              <a:defRPr sz="1800"/>
            </a:lvl2pPr>
            <a:lvl3pPr>
              <a:defRPr sz="1600"/>
            </a:lvl3pPr>
            <a:lvl4pPr marL="1033463" indent="-228600">
              <a:spcBef>
                <a:spcPts val="600"/>
              </a:spcBef>
              <a:defRPr sz="1400" baseline="0"/>
            </a:lvl4pPr>
            <a:lvl5pPr marL="1350963" indent="-1905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 hasCustomPrompt="1"/>
          </p:nvPr>
        </p:nvSpPr>
        <p:spPr>
          <a:xfrm>
            <a:off x="5060951" y="1484315"/>
            <a:ext cx="4500563" cy="4645025"/>
          </a:xfrm>
        </p:spPr>
        <p:txBody>
          <a:bodyPr lIns="0" tIns="0" rIns="0" bIns="0"/>
          <a:lstStyle>
            <a:lvl1pPr marL="228600" indent="-228600">
              <a:defRPr sz="2000"/>
            </a:lvl1pPr>
            <a:lvl2pPr>
              <a:spcBef>
                <a:spcPts val="600"/>
              </a:spcBef>
              <a:defRPr sz="1800"/>
            </a:lvl2pPr>
            <a:lvl3pPr>
              <a:spcBef>
                <a:spcPts val="600"/>
              </a:spcBef>
              <a:defRPr sz="1600"/>
            </a:lvl3pPr>
            <a:lvl4pPr marL="1033463" indent="-222250">
              <a:spcBef>
                <a:spcPts val="600"/>
              </a:spcBef>
              <a:defRPr sz="1400" baseline="0"/>
            </a:lvl4pPr>
            <a:lvl5pPr marL="1350963" indent="-1905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slideLayout" Target="../slideLayouts/slideLayout15.xml"/><Relationship Id="rId7" Type="http://schemas.openxmlformats.org/officeDocument/2006/relationships/tags" Target="../tags/tag11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tags" Target="../tags/tag10.xml"/><Relationship Id="rId5" Type="http://schemas.openxmlformats.org/officeDocument/2006/relationships/vmlDrawing" Target="../drawings/vmlDrawing3.vml"/><Relationship Id="rId4" Type="http://schemas.openxmlformats.org/officeDocument/2006/relationships/theme" Target="../theme/theme2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>
          <a:xfrm>
            <a:off x="0" y="6246000"/>
            <a:ext cx="9906000" cy="612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Rectangle 2"/>
          <p:cNvSpPr>
            <a:spLocks noGrp="1" noChangeArrowheads="1"/>
          </p:cNvSpPr>
          <p:nvPr>
            <p:ph type="title"/>
          </p:nvPr>
        </p:nvSpPr>
        <p:spPr bwMode="black">
          <a:xfrm>
            <a:off x="344489" y="0"/>
            <a:ext cx="9561512" cy="1088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36000" bIns="36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noProof="0" dirty="0"/>
              <a:t>Cliquez pour modifier le style du titre</a:t>
            </a:r>
            <a:endParaRPr lang="en-US" noProof="0" dirty="0"/>
          </a:p>
        </p:txBody>
      </p:sp>
      <p:sp>
        <p:nvSpPr>
          <p:cNvPr id="29" name="Espace réservé du texte 28"/>
          <p:cNvSpPr>
            <a:spLocks noGrp="1"/>
          </p:cNvSpPr>
          <p:nvPr>
            <p:ph type="body" idx="1"/>
          </p:nvPr>
        </p:nvSpPr>
        <p:spPr>
          <a:xfrm>
            <a:off x="344489" y="1484312"/>
            <a:ext cx="9217025" cy="46450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  <a:p>
            <a:pPr lvl="4"/>
            <a:r>
              <a:rPr lang="en-US" noProof="0" dirty="0"/>
              <a:t>Text style level 5</a:t>
            </a:r>
          </a:p>
        </p:txBody>
      </p:sp>
      <p:sp>
        <p:nvSpPr>
          <p:cNvPr id="15" name="ZoneTexte 14"/>
          <p:cNvSpPr txBox="1"/>
          <p:nvPr/>
        </p:nvSpPr>
        <p:spPr>
          <a:xfrm>
            <a:off x="9489504" y="6669360"/>
            <a:ext cx="416496" cy="195814"/>
          </a:xfrm>
          <a:prstGeom prst="rect">
            <a:avLst/>
          </a:prstGeom>
          <a:noFill/>
        </p:spPr>
        <p:txBody>
          <a:bodyPr wrap="square" lIns="36000" tIns="36000" rIns="72000" bIns="36000" rtlCol="0" anchor="b" anchorCtr="0">
            <a:spAutoFit/>
          </a:bodyPr>
          <a:lstStyle/>
          <a:p>
            <a:pPr algn="r"/>
            <a:fld id="{0017CC65-29F3-4DE0-A808-45FF0F33D3D1}" type="slidenum">
              <a:rPr lang="en-US" sz="800" smtClean="0">
                <a:solidFill>
                  <a:schemeClr val="bg1"/>
                </a:solidFill>
              </a:rPr>
              <a:pPr algn="r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3" name="Freeform 4"/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3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cxnSp>
        <p:nvCxnSpPr>
          <p:cNvPr id="21" name="Straight Connector 20"/>
          <p:cNvCxnSpPr/>
          <p:nvPr/>
        </p:nvCxnSpPr>
        <p:spPr>
          <a:xfrm>
            <a:off x="0" y="6246000"/>
            <a:ext cx="990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3" r:id="rId2"/>
    <p:sldLayoutId id="2147483724" r:id="rId3"/>
    <p:sldLayoutId id="2147483663" r:id="rId4"/>
    <p:sldLayoutId id="2147483716" r:id="rId5"/>
    <p:sldLayoutId id="2147483721" r:id="rId6"/>
    <p:sldLayoutId id="2147483664" r:id="rId7"/>
    <p:sldLayoutId id="2147483665" r:id="rId8"/>
    <p:sldLayoutId id="2147483667" r:id="rId9"/>
    <p:sldLayoutId id="2147483670" r:id="rId10"/>
    <p:sldLayoutId id="2147483681" r:id="rId11"/>
    <p:sldLayoutId id="2147483722" r:id="rId12"/>
  </p:sldLayoutIdLst>
  <p:hf hdr="0" ftr="0" dt="0"/>
  <p:txStyles>
    <p:titleStyle>
      <a:lvl1pPr marL="0" indent="0" algn="l" defTabSz="914400" rtl="0" eaLnBrk="1" fontAlgn="base" latinLnBrk="0" hangingPunct="1">
        <a:lnSpc>
          <a:spcPct val="90000"/>
        </a:lnSpc>
        <a:spcBef>
          <a:spcPct val="0"/>
        </a:spcBef>
        <a:spcAft>
          <a:spcPct val="0"/>
        </a:spcAft>
        <a:buNone/>
        <a:defRPr lang="en-US" sz="3200" b="0" kern="1200" noProof="0" dirty="0" smtClean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714375" rtl="0" eaLnBrk="1" fontAlgn="base" latinLnBrk="0" hangingPunct="1">
        <a:spcBef>
          <a:spcPts val="60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 lang="fr-FR" sz="2000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714375" rtl="0" eaLnBrk="1" fontAlgn="base" latinLnBrk="0" hangingPunct="1">
        <a:spcBef>
          <a:spcPts val="600"/>
        </a:spcBef>
        <a:spcAft>
          <a:spcPct val="0"/>
        </a:spcAft>
        <a:buClr>
          <a:schemeClr val="accent1"/>
        </a:buClr>
        <a:buFont typeface="Arial" pitchFamily="34" charset="0"/>
        <a:buChar char="•"/>
        <a:defRPr lang="fr-FR" sz="1800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714375" rtl="0" eaLnBrk="1" fontAlgn="base" latinLnBrk="0" hangingPunct="1">
        <a:spcBef>
          <a:spcPts val="6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lang="fr-FR" sz="16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2250" algn="l" defTabSz="714375" rtl="0" eaLnBrk="1" fontAlgn="base" latinLnBrk="0" hangingPunct="1">
        <a:spcBef>
          <a:spcPct val="20000"/>
        </a:spcBef>
        <a:spcAft>
          <a:spcPct val="0"/>
        </a:spcAft>
        <a:buClr>
          <a:schemeClr val="accent3"/>
        </a:buClr>
        <a:buFont typeface="Courier New" pitchFamily="49" charset="0"/>
        <a:buChar char="o"/>
        <a:defRPr lang="fr-FR" sz="1400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714375" rtl="0" eaLnBrk="1" fontAlgn="base" latinLnBrk="0" hangingPunct="1">
        <a:spcBef>
          <a:spcPct val="20000"/>
        </a:spcBef>
        <a:spcAft>
          <a:spcPct val="0"/>
        </a:spcAft>
        <a:buFont typeface="Arial" pitchFamily="34" charset="0"/>
        <a:buChar char="»"/>
        <a:defRPr lang="en-US" sz="12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0" y="0"/>
            <a:ext cx="9906000" cy="3176972"/>
          </a:xfrm>
          <a:prstGeom prst="rect">
            <a:avLst/>
          </a:prstGeom>
          <a:gradFill>
            <a:gsLst>
              <a:gs pos="0">
                <a:schemeClr val="accent6"/>
              </a:gs>
              <a:gs pos="100000">
                <a:schemeClr val="tx1"/>
              </a:gs>
              <a:gs pos="100000">
                <a:schemeClr val="tx1"/>
              </a:gs>
            </a:gsLst>
            <a:lin ang="18900000" scaled="0"/>
          </a:gradFill>
          <a:ln>
            <a:noFill/>
          </a:ln>
          <a:effectLst>
            <a:outerShdw blurRad="50800" dist="25400" dir="5400000" algn="t" rotWithShape="0">
              <a:schemeClr val="tx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1800" kern="1200" noProof="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8" name="Rectangle 7"/>
          <p:cNvSpPr/>
          <p:nvPr>
            <p:custDataLst>
              <p:tags r:id="rId6"/>
            </p:custDataLst>
          </p:nvPr>
        </p:nvSpPr>
        <p:spPr bwMode="auto">
          <a:xfrm flipV="1">
            <a:off x="2631" y="2628"/>
            <a:ext cx="9905999" cy="5180006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5657661"/>
              <a:gd name="connsiteX1" fmla="*/ 10562846 w 10564100"/>
              <a:gd name="connsiteY1" fmla="*/ 5657661 h 5657661"/>
              <a:gd name="connsiteX2" fmla="*/ 9024256 w 10564100"/>
              <a:gd name="connsiteY2" fmla="*/ 4808920 h 5657661"/>
              <a:gd name="connsiteX3" fmla="*/ 2294717 w 10564100"/>
              <a:gd name="connsiteY3" fmla="*/ 4794064 h 5657661"/>
              <a:gd name="connsiteX4" fmla="*/ 1200045 w 10564100"/>
              <a:gd name="connsiteY4" fmla="*/ 4072264 h 5657661"/>
              <a:gd name="connsiteX5" fmla="*/ 0 w 10564100"/>
              <a:gd name="connsiteY5" fmla="*/ 4798085 h 5657661"/>
              <a:gd name="connsiteX6" fmla="*/ 368583 w 10564100"/>
              <a:gd name="connsiteY6" fmla="*/ 245359 h 5657661"/>
              <a:gd name="connsiteX0" fmla="*/ 10562333 w 10564100"/>
              <a:gd name="connsiteY0" fmla="*/ 0 h 5657661"/>
              <a:gd name="connsiteX1" fmla="*/ 10562846 w 10564100"/>
              <a:gd name="connsiteY1" fmla="*/ 5657661 h 5657661"/>
              <a:gd name="connsiteX2" fmla="*/ 9024256 w 10564100"/>
              <a:gd name="connsiteY2" fmla="*/ 4808920 h 5657661"/>
              <a:gd name="connsiteX3" fmla="*/ 2294717 w 10564100"/>
              <a:gd name="connsiteY3" fmla="*/ 4794064 h 5657661"/>
              <a:gd name="connsiteX4" fmla="*/ 1200045 w 10564100"/>
              <a:gd name="connsiteY4" fmla="*/ 4072264 h 5657661"/>
              <a:gd name="connsiteX5" fmla="*/ 0 w 10564100"/>
              <a:gd name="connsiteY5" fmla="*/ 4798085 h 5657661"/>
              <a:gd name="connsiteX6" fmla="*/ 1253 w 10564100"/>
              <a:gd name="connsiteY6" fmla="*/ 0 h 5657661"/>
              <a:gd name="connsiteX0" fmla="*/ 10562333 w 10564100"/>
              <a:gd name="connsiteY0" fmla="*/ 0 h 5657661"/>
              <a:gd name="connsiteX1" fmla="*/ 10562846 w 10564100"/>
              <a:gd name="connsiteY1" fmla="*/ 5657661 h 5657661"/>
              <a:gd name="connsiteX2" fmla="*/ 9024256 w 10564100"/>
              <a:gd name="connsiteY2" fmla="*/ 4808920 h 5657661"/>
              <a:gd name="connsiteX3" fmla="*/ 2294717 w 10564100"/>
              <a:gd name="connsiteY3" fmla="*/ 4794064 h 5657661"/>
              <a:gd name="connsiteX4" fmla="*/ 1200045 w 10564100"/>
              <a:gd name="connsiteY4" fmla="*/ 4072264 h 5657661"/>
              <a:gd name="connsiteX5" fmla="*/ 0 w 10564100"/>
              <a:gd name="connsiteY5" fmla="*/ 4798085 h 5657661"/>
              <a:gd name="connsiteX6" fmla="*/ 1253 w 10564100"/>
              <a:gd name="connsiteY6" fmla="*/ 0 h 5657661"/>
              <a:gd name="connsiteX0" fmla="*/ 10562333 w 10562846"/>
              <a:gd name="connsiteY0" fmla="*/ 0 h 5657661"/>
              <a:gd name="connsiteX1" fmla="*/ 10562846 w 10562846"/>
              <a:gd name="connsiteY1" fmla="*/ 5657661 h 5657661"/>
              <a:gd name="connsiteX2" fmla="*/ 9024256 w 10562846"/>
              <a:gd name="connsiteY2" fmla="*/ 4808920 h 5657661"/>
              <a:gd name="connsiteX3" fmla="*/ 2294717 w 10562846"/>
              <a:gd name="connsiteY3" fmla="*/ 4794064 h 5657661"/>
              <a:gd name="connsiteX4" fmla="*/ 1200045 w 10562846"/>
              <a:gd name="connsiteY4" fmla="*/ 4072264 h 5657661"/>
              <a:gd name="connsiteX5" fmla="*/ 0 w 10562846"/>
              <a:gd name="connsiteY5" fmla="*/ 4798085 h 5657661"/>
              <a:gd name="connsiteX6" fmla="*/ 1253 w 10562846"/>
              <a:gd name="connsiteY6" fmla="*/ 0 h 56576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2846" h="5657661">
                <a:moveTo>
                  <a:pt x="10562333" y="0"/>
                </a:moveTo>
                <a:lnTo>
                  <a:pt x="10562846" y="5657661"/>
                </a:lnTo>
                <a:cubicBezTo>
                  <a:pt x="10190427" y="4920324"/>
                  <a:pt x="9461842" y="4792975"/>
                  <a:pt x="9024256" y="4808920"/>
                </a:cubicBezTo>
                <a:lnTo>
                  <a:pt x="2294717" y="4794064"/>
                </a:lnTo>
                <a:cubicBezTo>
                  <a:pt x="1854084" y="4794612"/>
                  <a:pt x="1423155" y="4544310"/>
                  <a:pt x="1200045" y="4072264"/>
                </a:cubicBezTo>
                <a:cubicBezTo>
                  <a:pt x="964689" y="4750718"/>
                  <a:pt x="278640" y="4797207"/>
                  <a:pt x="0" y="4798085"/>
                </a:cubicBezTo>
                <a:cubicBezTo>
                  <a:pt x="418" y="3198723"/>
                  <a:pt x="835" y="1599362"/>
                  <a:pt x="1253" y="0"/>
                </a:cubicBezTo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1800" kern="1200" noProof="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4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</p:sldLayoutIdLst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13F0AF-19B9-48BA-9B3F-07CAFA6CA6C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solidFill>
                  <a:schemeClr val="tx1">
                    <a:lumMod val="75000"/>
                  </a:schemeClr>
                </a:solidFill>
              </a:rPr>
              <a:t>CRIME DATA ANALYSI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E430D80-F794-4BF3-82C1-4E757C252BA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>
                <a:solidFill>
                  <a:schemeClr val="accent2">
                    <a:lumMod val="75000"/>
                  </a:schemeClr>
                </a:solidFill>
              </a:rPr>
              <a:t>-</a:t>
            </a:r>
            <a:r>
              <a:rPr lang="en-US" dirty="0" err="1">
                <a:solidFill>
                  <a:schemeClr val="accent2">
                    <a:lumMod val="75000"/>
                  </a:schemeClr>
                </a:solidFill>
              </a:rPr>
              <a:t>Vijji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</a:rPr>
              <a:t>, Mathew &amp; </a:t>
            </a:r>
            <a:r>
              <a:rPr lang="en-US" dirty="0" err="1">
                <a:solidFill>
                  <a:schemeClr val="accent2">
                    <a:lumMod val="75000"/>
                  </a:schemeClr>
                </a:solidFill>
              </a:rPr>
              <a:t>Komala</a:t>
            </a:r>
            <a:endParaRPr lang="en-US" dirty="0">
              <a:solidFill>
                <a:schemeClr val="accent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49180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6E4F59-BE2A-45D2-95C4-F9CD3ED2E1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jectiv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2ADE7EF-4719-4FA5-99DD-C69EB578D00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43600" y="1295400"/>
            <a:ext cx="3532801" cy="439732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99011DD-3C12-4010-B96F-01D738D8209A}"/>
              </a:ext>
            </a:extLst>
          </p:cNvPr>
          <p:cNvSpPr txBox="1"/>
          <p:nvPr/>
        </p:nvSpPr>
        <p:spPr>
          <a:xfrm>
            <a:off x="420739" y="1476184"/>
            <a:ext cx="5742601" cy="42165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As in many major cities, crime remains a significant factor in D.C. with ~70% more homicides compared to the national data.</a:t>
            </a:r>
          </a:p>
          <a:p>
            <a:endParaRPr lang="en-US" sz="1600" dirty="0"/>
          </a:p>
          <a:p>
            <a:r>
              <a:rPr lang="en-US" sz="1600" dirty="0"/>
              <a:t>Analyze 10 years of DC crime data, detect patterns, and answer below</a:t>
            </a:r>
          </a:p>
          <a:p>
            <a:endParaRPr lang="en-US" sz="1600" dirty="0"/>
          </a:p>
          <a:p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What method &amp; type of Crime across years in DC are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During which time of the day crime happe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Which district &amp;quad has the highest level of Crime &amp; what type of Cri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Which weapon is more used Gun or Knif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Homicides using Gun across DC</a:t>
            </a:r>
          </a:p>
        </p:txBody>
      </p:sp>
    </p:spTree>
    <p:extLst>
      <p:ext uri="{BB962C8B-B14F-4D97-AF65-F5344CB8AC3E}">
        <p14:creationId xmlns:p14="http://schemas.microsoft.com/office/powerpoint/2010/main" val="47411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04B7BE-8C71-4B20-B455-E7164FD65C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eps in Analysis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3C2C992B-24A3-4CC5-963E-0DC723CEC09F}"/>
              </a:ext>
            </a:extLst>
          </p:cNvPr>
          <p:cNvSpPr/>
          <p:nvPr/>
        </p:nvSpPr>
        <p:spPr>
          <a:xfrm>
            <a:off x="1981200" y="1524000"/>
            <a:ext cx="2133600" cy="5334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Collection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CEB9C99E-47FC-46D4-9C32-8A871E63E817}"/>
              </a:ext>
            </a:extLst>
          </p:cNvPr>
          <p:cNvSpPr/>
          <p:nvPr/>
        </p:nvSpPr>
        <p:spPr>
          <a:xfrm>
            <a:off x="1981200" y="2362200"/>
            <a:ext cx="2133600" cy="5334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Cleanup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F54F0DF3-A495-47EE-911E-E1551F389607}"/>
              </a:ext>
            </a:extLst>
          </p:cNvPr>
          <p:cNvSpPr/>
          <p:nvPr/>
        </p:nvSpPr>
        <p:spPr>
          <a:xfrm>
            <a:off x="1981200" y="3200400"/>
            <a:ext cx="2133600" cy="5334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lassification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20FEF370-26BA-482D-B8C2-F70265E5211C}"/>
              </a:ext>
            </a:extLst>
          </p:cNvPr>
          <p:cNvSpPr/>
          <p:nvPr/>
        </p:nvSpPr>
        <p:spPr>
          <a:xfrm>
            <a:off x="1981200" y="4059866"/>
            <a:ext cx="2133600" cy="5334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atterns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3D6FAE36-C658-4F85-ABAA-C57472F78E36}"/>
              </a:ext>
            </a:extLst>
          </p:cNvPr>
          <p:cNvSpPr/>
          <p:nvPr/>
        </p:nvSpPr>
        <p:spPr>
          <a:xfrm>
            <a:off x="1981200" y="4953000"/>
            <a:ext cx="2133600" cy="5334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isualization</a:t>
            </a:r>
          </a:p>
        </p:txBody>
      </p:sp>
      <p:sp>
        <p:nvSpPr>
          <p:cNvPr id="9" name="Arrow: Down 8">
            <a:extLst>
              <a:ext uri="{FF2B5EF4-FFF2-40B4-BE49-F238E27FC236}">
                <a16:creationId xmlns:a16="http://schemas.microsoft.com/office/drawing/2014/main" id="{DD9E4F22-43D1-412F-95E5-2F9DEF74B6C0}"/>
              </a:ext>
            </a:extLst>
          </p:cNvPr>
          <p:cNvSpPr/>
          <p:nvPr/>
        </p:nvSpPr>
        <p:spPr>
          <a:xfrm>
            <a:off x="2895600" y="2101701"/>
            <a:ext cx="304800" cy="22860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Arrow: Down 9">
            <a:extLst>
              <a:ext uri="{FF2B5EF4-FFF2-40B4-BE49-F238E27FC236}">
                <a16:creationId xmlns:a16="http://schemas.microsoft.com/office/drawing/2014/main" id="{2D731AFA-2E76-47DF-8F7A-FFC3DE295B9B}"/>
              </a:ext>
            </a:extLst>
          </p:cNvPr>
          <p:cNvSpPr/>
          <p:nvPr/>
        </p:nvSpPr>
        <p:spPr>
          <a:xfrm>
            <a:off x="2895600" y="2938132"/>
            <a:ext cx="304800" cy="22860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Arrow: Down 10">
            <a:extLst>
              <a:ext uri="{FF2B5EF4-FFF2-40B4-BE49-F238E27FC236}">
                <a16:creationId xmlns:a16="http://schemas.microsoft.com/office/drawing/2014/main" id="{7A8C1389-A752-4575-AA0A-384E5F7B631C}"/>
              </a:ext>
            </a:extLst>
          </p:cNvPr>
          <p:cNvSpPr/>
          <p:nvPr/>
        </p:nvSpPr>
        <p:spPr>
          <a:xfrm>
            <a:off x="2895600" y="3788734"/>
            <a:ext cx="304800" cy="22860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Arrow: Down 11">
            <a:extLst>
              <a:ext uri="{FF2B5EF4-FFF2-40B4-BE49-F238E27FC236}">
                <a16:creationId xmlns:a16="http://schemas.microsoft.com/office/drawing/2014/main" id="{289B71F5-8517-48D0-A4CE-05B5631502F9}"/>
              </a:ext>
            </a:extLst>
          </p:cNvPr>
          <p:cNvSpPr/>
          <p:nvPr/>
        </p:nvSpPr>
        <p:spPr>
          <a:xfrm>
            <a:off x="2895600" y="4648200"/>
            <a:ext cx="304800" cy="22860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A0ADA81-427A-40D8-BC54-FF0B6A75AC97}"/>
              </a:ext>
            </a:extLst>
          </p:cNvPr>
          <p:cNvSpPr txBox="1"/>
          <p:nvPr/>
        </p:nvSpPr>
        <p:spPr>
          <a:xfrm>
            <a:off x="5696305" y="1447800"/>
            <a:ext cx="2042547" cy="415498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/>
              <a:t>Tools &amp; Librar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Pytho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/>
              <a:t>panda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 err="1"/>
              <a:t>numpy</a:t>
            </a:r>
            <a:endParaRPr lang="en-US" sz="12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 err="1"/>
              <a:t>matplotlib.pyplot</a:t>
            </a:r>
            <a:endParaRPr lang="en-US" sz="12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/>
              <a:t>seabor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/>
              <a:t>request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/>
              <a:t>tim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 err="1"/>
              <a:t>gmaps</a:t>
            </a:r>
            <a:endParaRPr lang="en-US" sz="12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 err="1"/>
              <a:t>Mplleaflet</a:t>
            </a:r>
            <a:endParaRPr lang="en-US" sz="12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err="1"/>
              <a:t>Jupyter</a:t>
            </a: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Excel (csv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err="1"/>
              <a:t>gmaps</a:t>
            </a:r>
            <a:r>
              <a:rPr lang="en-US" sz="1400" dirty="0"/>
              <a:t> APU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GitHub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31034930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1C14AC-E0B4-415A-97A5-99E7D32542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rime pattern – Type &amp; Method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378D0DB-4AA0-44ED-A308-127475A42051}"/>
              </a:ext>
            </a:extLst>
          </p:cNvPr>
          <p:cNvSpPr txBox="1"/>
          <p:nvPr/>
        </p:nvSpPr>
        <p:spPr>
          <a:xfrm>
            <a:off x="2209800" y="4495800"/>
            <a:ext cx="5396029" cy="16004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Relatively less violent cri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Very high crime rate before year 2009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Number of crimes stayed almost same for 7 yea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Reducing trend of over all and violent crime starting year 2016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112EB19-BBC0-4802-91A2-84320D71DDD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2356" y="1600200"/>
            <a:ext cx="4314444" cy="278014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DDA54B7-E9F0-4523-BA51-70C5C1FAD07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0058" y="1600200"/>
            <a:ext cx="4203586" cy="2619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059228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8119C2-9676-4D8D-AD69-6C4484778E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rime pattern – Time of crim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0464FAD-106C-43C4-BDBD-C6384B89EC9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7800" y="1143000"/>
            <a:ext cx="4445032" cy="239725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A459188-F8B7-4FEE-9280-67B85B77C5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200" y="3293819"/>
            <a:ext cx="5469588" cy="280218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AE64FBEA-49BF-4AE7-BC06-EB89884BD5FD}"/>
              </a:ext>
            </a:extLst>
          </p:cNvPr>
          <p:cNvSpPr txBox="1"/>
          <p:nvPr/>
        </p:nvSpPr>
        <p:spPr>
          <a:xfrm>
            <a:off x="344490" y="1600200"/>
            <a:ext cx="430371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High crime rate is observed during afternoon time, but they are mostly non-violen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CFD0D95-451D-4216-82BC-AC6C3B1F16E8}"/>
              </a:ext>
            </a:extLst>
          </p:cNvPr>
          <p:cNvSpPr txBox="1"/>
          <p:nvPr/>
        </p:nvSpPr>
        <p:spPr>
          <a:xfrm>
            <a:off x="5399120" y="3848876"/>
            <a:ext cx="4303712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Theft is common and most happening crime throughout the da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Violent crimes like Homicide happens past midnight but relatively insignificant during other time of the da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Relatively minimal sexual abuse </a:t>
            </a:r>
          </a:p>
        </p:txBody>
      </p:sp>
    </p:spTree>
    <p:extLst>
      <p:ext uri="{BB962C8B-B14F-4D97-AF65-F5344CB8AC3E}">
        <p14:creationId xmlns:p14="http://schemas.microsoft.com/office/powerpoint/2010/main" val="358252187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FE9B85-2813-408D-9443-43F9B05430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tterns across districts &amp; quad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38D4367-5D1C-4BAA-A661-C6EEB88B35C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0" y="2238510"/>
            <a:ext cx="2672234" cy="200417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175DF7C0-5295-4D12-A3A0-E875AE29EB2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2000" y="4260407"/>
            <a:ext cx="2504049" cy="1858633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E942AAC-C32D-4AB6-B201-5FC029CE0E6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97615" y="1770061"/>
            <a:ext cx="2532619" cy="200253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8D2743E-6D6E-4FA8-853F-157A3212A60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32829" y="1779838"/>
            <a:ext cx="2532888" cy="2019997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5F3E393-6397-4682-A64C-EFFE84607AAB}"/>
              </a:ext>
            </a:extLst>
          </p:cNvPr>
          <p:cNvCxnSpPr/>
          <p:nvPr/>
        </p:nvCxnSpPr>
        <p:spPr>
          <a:xfrm>
            <a:off x="4191000" y="1676400"/>
            <a:ext cx="0" cy="4191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088458F5-14C0-4806-A4D7-5704800F2B40}"/>
              </a:ext>
            </a:extLst>
          </p:cNvPr>
          <p:cNvSpPr txBox="1"/>
          <p:nvPr/>
        </p:nvSpPr>
        <p:spPr>
          <a:xfrm>
            <a:off x="344490" y="1600200"/>
            <a:ext cx="369410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District 6 &amp; 7 have lesser number of crimes, but most of them is Violent crim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CDA9554-906E-4098-B4C3-7FB96437BFE5}"/>
              </a:ext>
            </a:extLst>
          </p:cNvPr>
          <p:cNvSpPr txBox="1"/>
          <p:nvPr/>
        </p:nvSpPr>
        <p:spPr>
          <a:xfrm>
            <a:off x="4724400" y="4114800"/>
            <a:ext cx="4303712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Northeast part of DC is the high crime and unsafe Qua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err="1"/>
              <a:t>SouthWest</a:t>
            </a:r>
            <a:r>
              <a:rPr lang="en-US" sz="1400" dirty="0"/>
              <a:t> has very minimal crimes and the most safe area in entire DC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err="1"/>
              <a:t>NorthWest</a:t>
            </a:r>
            <a:r>
              <a:rPr lang="en-US" sz="1400" dirty="0"/>
              <a:t>, though has significant number of crime, it is mostly non violent</a:t>
            </a:r>
          </a:p>
        </p:txBody>
      </p:sp>
    </p:spTree>
    <p:extLst>
      <p:ext uri="{BB962C8B-B14F-4D97-AF65-F5344CB8AC3E}">
        <p14:creationId xmlns:p14="http://schemas.microsoft.com/office/powerpoint/2010/main" val="245156084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CB3353-B1E3-439A-A470-2A541C00D0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un </a:t>
            </a:r>
            <a:r>
              <a:rPr lang="en-US"/>
              <a:t>Vs Knife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3706073-6F07-416C-970E-BD0C0B76D0F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49489" y="1981200"/>
            <a:ext cx="5751511" cy="2714067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8FBA7C3-EB8A-425E-AB10-7FC766C3E1A6}"/>
              </a:ext>
            </a:extLst>
          </p:cNvPr>
          <p:cNvSpPr txBox="1"/>
          <p:nvPr/>
        </p:nvSpPr>
        <p:spPr>
          <a:xfrm>
            <a:off x="2782888" y="5039380"/>
            <a:ext cx="430371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On an average, across years, Gun is the most used weapon in all crimes</a:t>
            </a:r>
          </a:p>
        </p:txBody>
      </p:sp>
    </p:spTree>
    <p:extLst>
      <p:ext uri="{BB962C8B-B14F-4D97-AF65-F5344CB8AC3E}">
        <p14:creationId xmlns:p14="http://schemas.microsoft.com/office/powerpoint/2010/main" val="43270714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D85CF5-1F84-4895-A990-1CB5256D7C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un Homicid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F1D119E-61F3-4DF9-AE95-2A24B52D0F5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4312" y="2857500"/>
            <a:ext cx="9477375" cy="285750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C40DB37C-EF62-40D9-9A71-CF1E97A4F03C}"/>
              </a:ext>
            </a:extLst>
          </p:cNvPr>
          <p:cNvSpPr txBox="1"/>
          <p:nvPr/>
        </p:nvSpPr>
        <p:spPr>
          <a:xfrm>
            <a:off x="2209800" y="1295400"/>
            <a:ext cx="5867400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Northeast Quad has the most crimes (homicides) with Gu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Very few crime in Southwest Qua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Even in high crime Quads, crime happens mostly on specific areas</a:t>
            </a:r>
          </a:p>
        </p:txBody>
      </p:sp>
    </p:spTree>
    <p:extLst>
      <p:ext uri="{BB962C8B-B14F-4D97-AF65-F5344CB8AC3E}">
        <p14:creationId xmlns:p14="http://schemas.microsoft.com/office/powerpoint/2010/main" val="201899509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EE4FD8E-D99A-4165-A4FC-88540FCF2AEE}"/>
              </a:ext>
            </a:extLst>
          </p:cNvPr>
          <p:cNvSpPr txBox="1"/>
          <p:nvPr/>
        </p:nvSpPr>
        <p:spPr>
          <a:xfrm>
            <a:off x="1905000" y="1676400"/>
            <a:ext cx="5824671" cy="36933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Summary &amp; Conclusion:</a:t>
            </a:r>
          </a:p>
          <a:p>
            <a:endParaRPr lang="en-US" dirty="0"/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High rate of theft/burglary/robber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ortheast is the most unsafe Quad in DC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outhwest is the most safe Quad in DC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High usage of Gun then knife or any other weap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Overall crime is reducing significantly in the past 10 yea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nCrkojv0SGcwHGEYrPF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Cdww2x_kWXwqqw_did_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q26z0rEkWiApiWfpkFX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heme/theme1.xml><?xml version="1.0" encoding="utf-8"?>
<a:theme xmlns:a="http://schemas.openxmlformats.org/drawingml/2006/main" name="BIM LD_ICON Template_v1">
  <a:themeElements>
    <a:clrScheme name="Business Analytics">
      <a:dk1>
        <a:srgbClr val="463A45"/>
      </a:dk1>
      <a:lt1>
        <a:srgbClr val="FFFFFF"/>
      </a:lt1>
      <a:dk2>
        <a:srgbClr val="B7E2E1"/>
      </a:dk2>
      <a:lt2>
        <a:srgbClr val="FFFFFF"/>
      </a:lt2>
      <a:accent1>
        <a:srgbClr val="F3B463"/>
      </a:accent1>
      <a:accent2>
        <a:srgbClr val="E45824"/>
      </a:accent2>
      <a:accent3>
        <a:srgbClr val="C3D42E"/>
      </a:accent3>
      <a:accent4>
        <a:srgbClr val="C42F36"/>
      </a:accent4>
      <a:accent5>
        <a:srgbClr val="B7E2E1"/>
      </a:accent5>
      <a:accent6>
        <a:srgbClr val="1A111C"/>
      </a:accent6>
      <a:hlink>
        <a:srgbClr val="4D740F"/>
      </a:hlink>
      <a:folHlink>
        <a:srgbClr val="0096CC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BIM L&amp;D-ICON Template_closing slides">
  <a:themeElements>
    <a:clrScheme name="Business Analytics">
      <a:dk1>
        <a:srgbClr val="463A45"/>
      </a:dk1>
      <a:lt1>
        <a:srgbClr val="FFFFFF"/>
      </a:lt1>
      <a:dk2>
        <a:srgbClr val="B7E2E1"/>
      </a:dk2>
      <a:lt2>
        <a:srgbClr val="FFFFFF"/>
      </a:lt2>
      <a:accent1>
        <a:srgbClr val="F3B463"/>
      </a:accent1>
      <a:accent2>
        <a:srgbClr val="E45824"/>
      </a:accent2>
      <a:accent3>
        <a:srgbClr val="C3D42E"/>
      </a:accent3>
      <a:accent4>
        <a:srgbClr val="C42F36"/>
      </a:accent4>
      <a:accent5>
        <a:srgbClr val="B7E2E1"/>
      </a:accent5>
      <a:accent6>
        <a:srgbClr val="1A111C"/>
      </a:accent6>
      <a:hlink>
        <a:srgbClr val="4D740F"/>
      </a:hlink>
      <a:folHlink>
        <a:srgbClr val="0096CC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48B182F3EAE34BBFA4D32E35342C3A" ma:contentTypeVersion="0" ma:contentTypeDescription="Create a new document." ma:contentTypeScope="" ma:versionID="a49065153fea45a24750a994a1c7b1c9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c64490b4aec6201516c3a874156f37b2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FA3F83F-D8BD-4389-809A-CC423FE000A6}">
  <ds:schemaRefs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2010ABBF-803D-43C1-867C-6289C32546D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5F626933-1B2A-46A2-BE1B-B746FB78900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IM LD_ICON Template_v1</Template>
  <TotalTime>2526</TotalTime>
  <Words>385</Words>
  <Application>Microsoft Office PowerPoint</Application>
  <PresentationFormat>A4 Paper (210x297 mm)</PresentationFormat>
  <Paragraphs>86</Paragraphs>
  <Slides>9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7" baseType="lpstr">
      <vt:lpstr>Arial</vt:lpstr>
      <vt:lpstr>Arial Narrow</vt:lpstr>
      <vt:lpstr>Calibri</vt:lpstr>
      <vt:lpstr>Courier New</vt:lpstr>
      <vt:lpstr>Wingdings</vt:lpstr>
      <vt:lpstr>BIM LD_ICON Template_v1</vt:lpstr>
      <vt:lpstr>BIM L&amp;D-ICON Template_closing slides</vt:lpstr>
      <vt:lpstr>think-cell Slide</vt:lpstr>
      <vt:lpstr>CRIME DATA ANALYSIS</vt:lpstr>
      <vt:lpstr>Objective</vt:lpstr>
      <vt:lpstr>Steps in Analysis</vt:lpstr>
      <vt:lpstr>Crime pattern – Type &amp; Method</vt:lpstr>
      <vt:lpstr>Crime pattern – Time of crime</vt:lpstr>
      <vt:lpstr>Patterns across districts &amp; quads</vt:lpstr>
      <vt:lpstr>Gun Vs Knife</vt:lpstr>
      <vt:lpstr>Gun Homicide</vt:lpstr>
      <vt:lpstr>PowerPoint Presentation</vt:lpstr>
    </vt:vector>
  </TitlesOfParts>
  <Company>Capgemini India Pvt. Ltd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chine Learning Algorithms</dc:title>
  <dc:creator>Shrikanth Jagannathan</dc:creator>
  <dc:description>An overview of Machine Learning Algorithms, their use, applications and scope. BIM ICON series run by BIM LnD team. Sep 18, 2014</dc:description>
  <cp:lastModifiedBy>Chandran, Komala</cp:lastModifiedBy>
  <cp:revision>273</cp:revision>
  <dcterms:created xsi:type="dcterms:W3CDTF">2014-01-02T05:38:23Z</dcterms:created>
  <dcterms:modified xsi:type="dcterms:W3CDTF">2018-10-18T22:43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148B182F3EAE34BBFA4D32E35342C3A</vt:lpwstr>
  </property>
</Properties>
</file>